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6"/>
    <p:sldMasterId id="2147483672" r:id="rId7"/>
  </p:sldMasterIdLst>
  <p:notesMasterIdLst>
    <p:notesMasterId r:id="rId51"/>
  </p:notesMasterIdLst>
  <p:sldIdLst>
    <p:sldId id="256" r:id="rId8"/>
    <p:sldId id="2147470439" r:id="rId9"/>
    <p:sldId id="2147470440" r:id="rId10"/>
    <p:sldId id="2147470458" r:id="rId11"/>
    <p:sldId id="2147470485" r:id="rId12"/>
    <p:sldId id="2147470484" r:id="rId13"/>
    <p:sldId id="2147470460" r:id="rId14"/>
    <p:sldId id="2147470465" r:id="rId15"/>
    <p:sldId id="2147470486" r:id="rId16"/>
    <p:sldId id="2147470487" r:id="rId17"/>
    <p:sldId id="2147470488" r:id="rId18"/>
    <p:sldId id="2147470489" r:id="rId19"/>
    <p:sldId id="2147470474" r:id="rId20"/>
    <p:sldId id="2147470490" r:id="rId21"/>
    <p:sldId id="2147470491" r:id="rId22"/>
    <p:sldId id="2147470492" r:id="rId23"/>
    <p:sldId id="2147470494" r:id="rId24"/>
    <p:sldId id="2147470496" r:id="rId25"/>
    <p:sldId id="2147470497" r:id="rId26"/>
    <p:sldId id="2147470493" r:id="rId27"/>
    <p:sldId id="2147470495" r:id="rId28"/>
    <p:sldId id="2147470498" r:id="rId29"/>
    <p:sldId id="2147470499" r:id="rId30"/>
    <p:sldId id="2147470500" r:id="rId31"/>
    <p:sldId id="2147470501" r:id="rId32"/>
    <p:sldId id="2147470503" r:id="rId33"/>
    <p:sldId id="2147470502" r:id="rId34"/>
    <p:sldId id="2147470504" r:id="rId35"/>
    <p:sldId id="2147470505" r:id="rId36"/>
    <p:sldId id="2147470506" r:id="rId37"/>
    <p:sldId id="2147470507" r:id="rId38"/>
    <p:sldId id="2147470509" r:id="rId39"/>
    <p:sldId id="2147470508" r:id="rId40"/>
    <p:sldId id="2147470510" r:id="rId41"/>
    <p:sldId id="2147470512" r:id="rId42"/>
    <p:sldId id="2147470513" r:id="rId43"/>
    <p:sldId id="2147470514" r:id="rId44"/>
    <p:sldId id="2147470515" r:id="rId45"/>
    <p:sldId id="2147470516" r:id="rId46"/>
    <p:sldId id="2147470517" r:id="rId47"/>
    <p:sldId id="2147470518" r:id="rId48"/>
    <p:sldId id="2147470519" r:id="rId49"/>
    <p:sldId id="369" r:id="rId50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50032"/>
    <a:srgbClr val="F7E7E8"/>
    <a:srgbClr val="FFFFFF"/>
    <a:srgbClr val="4B2C50"/>
    <a:srgbClr val="006600"/>
    <a:srgbClr val="000000"/>
    <a:srgbClr val="DAEFFE"/>
    <a:srgbClr val="761927"/>
    <a:srgbClr val="002060"/>
    <a:srgbClr val="A1D8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965C011-1063-4CD3-8CA5-A8D35C5C287B}" v="7501" dt="2022-09-15T19:46:30.95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DCAF9ED-07DC-4A11-8D7F-57B35C25682E}" styleName="Estilo medio 1 - Énfasis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002" autoAdjust="0"/>
    <p:restoredTop sz="91783" autoAdjust="0"/>
  </p:normalViewPr>
  <p:slideViewPr>
    <p:cSldViewPr snapToGrid="0" snapToObjects="1">
      <p:cViewPr varScale="1">
        <p:scale>
          <a:sx n="54" d="100"/>
          <a:sy n="54" d="100"/>
        </p:scale>
        <p:origin x="1188" y="4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slide" Target="slides/slide35.xml"/><Relationship Id="rId47" Type="http://schemas.openxmlformats.org/officeDocument/2006/relationships/slide" Target="slides/slide40.xml"/><Relationship Id="rId50" Type="http://schemas.openxmlformats.org/officeDocument/2006/relationships/slide" Target="slides/slide43.xml"/><Relationship Id="rId55" Type="http://schemas.openxmlformats.org/officeDocument/2006/relationships/tableStyles" Target="tableStyles.xml"/><Relationship Id="rId7" Type="http://schemas.openxmlformats.org/officeDocument/2006/relationships/slideMaster" Target="slideMasters/slideMaster2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slide" Target="slides/slide38.xml"/><Relationship Id="rId53" Type="http://schemas.openxmlformats.org/officeDocument/2006/relationships/viewProps" Target="viewProps.xml"/><Relationship Id="rId5" Type="http://schemas.openxmlformats.org/officeDocument/2006/relationships/customXml" Target="../customXml/item5.xml"/><Relationship Id="rId19" Type="http://schemas.openxmlformats.org/officeDocument/2006/relationships/slide" Target="slides/slide12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slide" Target="slides/slide36.xml"/><Relationship Id="rId48" Type="http://schemas.openxmlformats.org/officeDocument/2006/relationships/slide" Target="slides/slide41.xml"/><Relationship Id="rId56" Type="http://schemas.microsoft.com/office/2016/11/relationships/changesInfo" Target="changesInfos/changesInfo1.xml"/><Relationship Id="rId8" Type="http://schemas.openxmlformats.org/officeDocument/2006/relationships/slide" Target="slides/slide1.xml"/><Relationship Id="rId51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slide" Target="slides/slide39.xml"/><Relationship Id="rId20" Type="http://schemas.openxmlformats.org/officeDocument/2006/relationships/slide" Target="slides/slide13.xml"/><Relationship Id="rId41" Type="http://schemas.openxmlformats.org/officeDocument/2006/relationships/slide" Target="slides/slide34.xml"/><Relationship Id="rId54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slide" Target="slides/slide42.xml"/><Relationship Id="rId57" Type="http://schemas.microsoft.com/office/2015/10/relationships/revisionInfo" Target="revisionInfo.xml"/><Relationship Id="rId10" Type="http://schemas.openxmlformats.org/officeDocument/2006/relationships/slide" Target="slides/slide3.xml"/><Relationship Id="rId31" Type="http://schemas.openxmlformats.org/officeDocument/2006/relationships/slide" Target="slides/slide24.xml"/><Relationship Id="rId44" Type="http://schemas.openxmlformats.org/officeDocument/2006/relationships/slide" Target="slides/slide37.xml"/><Relationship Id="rId52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randa Quispe, Bruno Sebastian" userId="5df213b2-8b23-43f1-8137-24ac80ef972a" providerId="ADAL" clId="{E965C011-1063-4CD3-8CA5-A8D35C5C287B}"/>
    <pc:docChg chg="undo redo custSel addSld delSld modSld sldOrd modMainMaster">
      <pc:chgData name="Miranda Quispe, Bruno Sebastian" userId="5df213b2-8b23-43f1-8137-24ac80ef972a" providerId="ADAL" clId="{E965C011-1063-4CD3-8CA5-A8D35C5C287B}" dt="2022-09-15T19:47:13.581" v="34845" actId="20577"/>
      <pc:docMkLst>
        <pc:docMk/>
      </pc:docMkLst>
      <pc:sldChg chg="addSp delSp modSp mod modClrScheme chgLayout">
        <pc:chgData name="Miranda Quispe, Bruno Sebastian" userId="5df213b2-8b23-43f1-8137-24ac80ef972a" providerId="ADAL" clId="{E965C011-1063-4CD3-8CA5-A8D35C5C287B}" dt="2022-09-13T16:37:13.247" v="31789" actId="790"/>
        <pc:sldMkLst>
          <pc:docMk/>
          <pc:sldMk cId="2536678423" sldId="256"/>
        </pc:sldMkLst>
        <pc:spChg chg="add del mod ord">
          <ac:chgData name="Miranda Quispe, Bruno Sebastian" userId="5df213b2-8b23-43f1-8137-24ac80ef972a" providerId="ADAL" clId="{E965C011-1063-4CD3-8CA5-A8D35C5C287B}" dt="2022-07-25T14:29:49.660" v="3" actId="478"/>
          <ac:spMkLst>
            <pc:docMk/>
            <pc:sldMk cId="2536678423" sldId="256"/>
            <ac:spMk id="2" creationId="{C607450B-38FF-9502-7AEC-1AD41AAAA2A8}"/>
          </ac:spMkLst>
        </pc:spChg>
        <pc:spChg chg="add del mod ord">
          <ac:chgData name="Miranda Quispe, Bruno Sebastian" userId="5df213b2-8b23-43f1-8137-24ac80ef972a" providerId="ADAL" clId="{E965C011-1063-4CD3-8CA5-A8D35C5C287B}" dt="2022-09-01T15:28:00.299" v="20289" actId="20577"/>
          <ac:spMkLst>
            <pc:docMk/>
            <pc:sldMk cId="2536678423" sldId="256"/>
            <ac:spMk id="3" creationId="{BCDE45D7-5D3A-E3F2-05E5-56CEA81D2553}"/>
          </ac:spMkLst>
        </pc:spChg>
        <pc:spChg chg="mod">
          <ac:chgData name="Miranda Quispe, Bruno Sebastian" userId="5df213b2-8b23-43f1-8137-24ac80ef972a" providerId="ADAL" clId="{E965C011-1063-4CD3-8CA5-A8D35C5C287B}" dt="2022-09-13T16:37:13.247" v="31789" actId="790"/>
          <ac:spMkLst>
            <pc:docMk/>
            <pc:sldMk cId="2536678423" sldId="256"/>
            <ac:spMk id="5" creationId="{B3126757-104E-4A63-BD41-5A493EA31438}"/>
          </ac:spMkLst>
        </pc:spChg>
        <pc:spChg chg="mod">
          <ac:chgData name="Miranda Quispe, Bruno Sebastian" userId="5df213b2-8b23-43f1-8137-24ac80ef972a" providerId="ADAL" clId="{E965C011-1063-4CD3-8CA5-A8D35C5C287B}" dt="2022-07-25T14:32:09.642" v="50" actId="20577"/>
          <ac:spMkLst>
            <pc:docMk/>
            <pc:sldMk cId="2536678423" sldId="256"/>
            <ac:spMk id="8" creationId="{0BFF3CBA-1115-4585-9AAB-67A6E958F972}"/>
          </ac:spMkLst>
        </pc:spChg>
        <pc:picChg chg="add mod">
          <ac:chgData name="Miranda Quispe, Bruno Sebastian" userId="5df213b2-8b23-43f1-8137-24ac80ef972a" providerId="ADAL" clId="{E965C011-1063-4CD3-8CA5-A8D35C5C287B}" dt="2022-07-25T14:36:53.813" v="87"/>
          <ac:picMkLst>
            <pc:docMk/>
            <pc:sldMk cId="2536678423" sldId="256"/>
            <ac:picMk id="4" creationId="{7CD2572A-37AE-77B8-A994-83B0D698F2BF}"/>
          </ac:picMkLst>
        </pc:picChg>
        <pc:picChg chg="add del mod">
          <ac:chgData name="Miranda Quispe, Bruno Sebastian" userId="5df213b2-8b23-43f1-8137-24ac80ef972a" providerId="ADAL" clId="{E965C011-1063-4CD3-8CA5-A8D35C5C287B}" dt="2022-07-25T14:32:48.842" v="56" actId="478"/>
          <ac:picMkLst>
            <pc:docMk/>
            <pc:sldMk cId="2536678423" sldId="256"/>
            <ac:picMk id="1026" creationId="{F68888FC-12B1-E423-8536-720E5C10E163}"/>
          </ac:picMkLst>
        </pc:picChg>
        <pc:picChg chg="add del mod">
          <ac:chgData name="Miranda Quispe, Bruno Sebastian" userId="5df213b2-8b23-43f1-8137-24ac80ef972a" providerId="ADAL" clId="{E965C011-1063-4CD3-8CA5-A8D35C5C287B}" dt="2022-07-25T14:34:30.012" v="79" actId="478"/>
          <ac:picMkLst>
            <pc:docMk/>
            <pc:sldMk cId="2536678423" sldId="256"/>
            <ac:picMk id="1028" creationId="{302F5A1F-8DD5-B9D8-1406-61E19C8396AC}"/>
          </ac:picMkLst>
        </pc:picChg>
        <pc:picChg chg="del mod ord">
          <ac:chgData name="Miranda Quispe, Bruno Sebastian" userId="5df213b2-8b23-43f1-8137-24ac80ef972a" providerId="ADAL" clId="{E965C011-1063-4CD3-8CA5-A8D35C5C287B}" dt="2022-07-25T14:33:30.474" v="67" actId="478"/>
          <ac:picMkLst>
            <pc:docMk/>
            <pc:sldMk cId="2536678423" sldId="256"/>
            <ac:picMk id="1030" creationId="{05CC4030-799A-4C6E-B07A-114A3F670A61}"/>
          </ac:picMkLst>
        </pc:picChg>
      </pc:sldChg>
      <pc:sldChg chg="modSp add del mod">
        <pc:chgData name="Miranda Quispe, Bruno Sebastian" userId="5df213b2-8b23-43f1-8137-24ac80ef972a" providerId="ADAL" clId="{E965C011-1063-4CD3-8CA5-A8D35C5C287B}" dt="2022-08-29T20:48:36.914" v="18879" actId="47"/>
        <pc:sldMkLst>
          <pc:docMk/>
          <pc:sldMk cId="4258387141" sldId="257"/>
        </pc:sldMkLst>
        <pc:spChg chg="mod">
          <ac:chgData name="Miranda Quispe, Bruno Sebastian" userId="5df213b2-8b23-43f1-8137-24ac80ef972a" providerId="ADAL" clId="{E965C011-1063-4CD3-8CA5-A8D35C5C287B}" dt="2022-08-29T20:35:19.554" v="18756" actId="20577"/>
          <ac:spMkLst>
            <pc:docMk/>
            <pc:sldMk cId="4258387141" sldId="257"/>
            <ac:spMk id="6" creationId="{A36DAF30-8E48-4EF9-ABDF-7D57D423BED0}"/>
          </ac:spMkLst>
        </pc:spChg>
        <pc:spChg chg="mod">
          <ac:chgData name="Miranda Quispe, Bruno Sebastian" userId="5df213b2-8b23-43f1-8137-24ac80ef972a" providerId="ADAL" clId="{E965C011-1063-4CD3-8CA5-A8D35C5C287B}" dt="2022-08-29T20:38:13.515" v="18827" actId="20577"/>
          <ac:spMkLst>
            <pc:docMk/>
            <pc:sldMk cId="4258387141" sldId="257"/>
            <ac:spMk id="7" creationId="{D8270350-639F-4CDF-A290-B025C310FC3F}"/>
          </ac:spMkLst>
        </pc:spChg>
        <pc:spChg chg="mod">
          <ac:chgData name="Miranda Quispe, Bruno Sebastian" userId="5df213b2-8b23-43f1-8137-24ac80ef972a" providerId="ADAL" clId="{E965C011-1063-4CD3-8CA5-A8D35C5C287B}" dt="2022-08-29T20:35:50.584" v="18783" actId="20577"/>
          <ac:spMkLst>
            <pc:docMk/>
            <pc:sldMk cId="4258387141" sldId="257"/>
            <ac:spMk id="8" creationId="{0A806AA3-A4DE-4102-A76B-686CBBCED6B7}"/>
          </ac:spMkLst>
        </pc:spChg>
        <pc:spChg chg="mod">
          <ac:chgData name="Miranda Quispe, Bruno Sebastian" userId="5df213b2-8b23-43f1-8137-24ac80ef972a" providerId="ADAL" clId="{E965C011-1063-4CD3-8CA5-A8D35C5C287B}" dt="2022-08-29T20:38:31.174" v="18829" actId="20577"/>
          <ac:spMkLst>
            <pc:docMk/>
            <pc:sldMk cId="4258387141" sldId="257"/>
            <ac:spMk id="12" creationId="{E34EAD0A-FC80-44F5-8A8B-63DAFFFA5068}"/>
          </ac:spMkLst>
        </pc:spChg>
        <pc:spChg chg="mod">
          <ac:chgData name="Miranda Quispe, Bruno Sebastian" userId="5df213b2-8b23-43f1-8137-24ac80ef972a" providerId="ADAL" clId="{E965C011-1063-4CD3-8CA5-A8D35C5C287B}" dt="2022-08-29T20:38:35.324" v="18834" actId="20577"/>
          <ac:spMkLst>
            <pc:docMk/>
            <pc:sldMk cId="4258387141" sldId="257"/>
            <ac:spMk id="16" creationId="{8A739310-2866-43EA-BAB0-8585945C742C}"/>
          </ac:spMkLst>
        </pc:spChg>
        <pc:spChg chg="mod">
          <ac:chgData name="Miranda Quispe, Bruno Sebastian" userId="5df213b2-8b23-43f1-8137-24ac80ef972a" providerId="ADAL" clId="{E965C011-1063-4CD3-8CA5-A8D35C5C287B}" dt="2022-08-29T20:38:39.654" v="18841" actId="20577"/>
          <ac:spMkLst>
            <pc:docMk/>
            <pc:sldMk cId="4258387141" sldId="257"/>
            <ac:spMk id="18" creationId="{F5D30B0F-E398-4375-A90C-AFAA82CED4D6}"/>
          </ac:spMkLst>
        </pc:spChg>
        <pc:spChg chg="mod">
          <ac:chgData name="Miranda Quispe, Bruno Sebastian" userId="5df213b2-8b23-43f1-8137-24ac80ef972a" providerId="ADAL" clId="{E965C011-1063-4CD3-8CA5-A8D35C5C287B}" dt="2022-08-29T20:38:46.674" v="18857" actId="20577"/>
          <ac:spMkLst>
            <pc:docMk/>
            <pc:sldMk cId="4258387141" sldId="257"/>
            <ac:spMk id="20" creationId="{234D3829-B63E-43ED-ADC9-0CFEE3BDFEEA}"/>
          </ac:spMkLst>
        </pc:spChg>
      </pc:sldChg>
      <pc:sldChg chg="add del">
        <pc:chgData name="Miranda Quispe, Bruno Sebastian" userId="5df213b2-8b23-43f1-8137-24ac80ef972a" providerId="ADAL" clId="{E965C011-1063-4CD3-8CA5-A8D35C5C287B}" dt="2022-07-25T17:29:25.820" v="1530"/>
        <pc:sldMkLst>
          <pc:docMk/>
          <pc:sldMk cId="1576764727" sldId="302"/>
        </pc:sldMkLst>
      </pc:sldChg>
      <pc:sldChg chg="modSp mod">
        <pc:chgData name="Miranda Quispe, Bruno Sebastian" userId="5df213b2-8b23-43f1-8137-24ac80ef972a" providerId="ADAL" clId="{E965C011-1063-4CD3-8CA5-A8D35C5C287B}" dt="2022-07-25T14:37:17.992" v="89" actId="1076"/>
        <pc:sldMkLst>
          <pc:docMk/>
          <pc:sldMk cId="0" sldId="369"/>
        </pc:sldMkLst>
        <pc:grpChg chg="mod">
          <ac:chgData name="Miranda Quispe, Bruno Sebastian" userId="5df213b2-8b23-43f1-8137-24ac80ef972a" providerId="ADAL" clId="{E965C011-1063-4CD3-8CA5-A8D35C5C287B}" dt="2022-07-25T14:37:17.992" v="89" actId="1076"/>
          <ac:grpSpMkLst>
            <pc:docMk/>
            <pc:sldMk cId="0" sldId="369"/>
            <ac:grpSpMk id="3" creationId="{00000000-0000-0000-0000-000000000000}"/>
          </ac:grpSpMkLst>
        </pc:grpChg>
      </pc:sldChg>
      <pc:sldChg chg="modSp add mod modClrScheme chgLayout">
        <pc:chgData name="Miranda Quispe, Bruno Sebastian" userId="5df213b2-8b23-43f1-8137-24ac80ef972a" providerId="ADAL" clId="{E965C011-1063-4CD3-8CA5-A8D35C5C287B}" dt="2022-09-13T16:37:28.066" v="31790" actId="20577"/>
        <pc:sldMkLst>
          <pc:docMk/>
          <pc:sldMk cId="2303781073" sldId="1189"/>
        </pc:sldMkLst>
        <pc:spChg chg="mod ord">
          <ac:chgData name="Miranda Quispe, Bruno Sebastian" userId="5df213b2-8b23-43f1-8137-24ac80ef972a" providerId="ADAL" clId="{E965C011-1063-4CD3-8CA5-A8D35C5C287B}" dt="2022-08-29T19:33:38.226" v="18007" actId="20577"/>
          <ac:spMkLst>
            <pc:docMk/>
            <pc:sldMk cId="2303781073" sldId="1189"/>
            <ac:spMk id="2" creationId="{FC4B82A1-6B09-4119-80C4-99D7BCC87919}"/>
          </ac:spMkLst>
        </pc:spChg>
        <pc:spChg chg="mod ord">
          <ac:chgData name="Miranda Quispe, Bruno Sebastian" userId="5df213b2-8b23-43f1-8137-24ac80ef972a" providerId="ADAL" clId="{E965C011-1063-4CD3-8CA5-A8D35C5C287B}" dt="2022-09-13T16:37:28.066" v="31790" actId="20577"/>
          <ac:spMkLst>
            <pc:docMk/>
            <pc:sldMk cId="2303781073" sldId="1189"/>
            <ac:spMk id="3" creationId="{B2B4F6A5-6F12-4D27-97CF-AFD4F1B07E1C}"/>
          </ac:spMkLst>
        </pc:spChg>
        <pc:spChg chg="mod">
          <ac:chgData name="Miranda Quispe, Bruno Sebastian" userId="5df213b2-8b23-43f1-8137-24ac80ef972a" providerId="ADAL" clId="{E965C011-1063-4CD3-8CA5-A8D35C5C287B}" dt="2022-08-29T19:34:04.114" v="18015" actId="1076"/>
          <ac:spMkLst>
            <pc:docMk/>
            <pc:sldMk cId="2303781073" sldId="1189"/>
            <ac:spMk id="4" creationId="{26B16E88-4634-BA91-4F7F-BA45CCA517B0}"/>
          </ac:spMkLst>
        </pc:spChg>
      </pc:sldChg>
      <pc:sldChg chg="addSp delSp modSp add mod modClrScheme chgLayout">
        <pc:chgData name="Miranda Quispe, Bruno Sebastian" userId="5df213b2-8b23-43f1-8137-24ac80ef972a" providerId="ADAL" clId="{E965C011-1063-4CD3-8CA5-A8D35C5C287B}" dt="2022-08-29T19:34:55.274" v="18023" actId="1076"/>
        <pc:sldMkLst>
          <pc:docMk/>
          <pc:sldMk cId="212522053" sldId="1190"/>
        </pc:sldMkLst>
        <pc:spChg chg="mod ord">
          <ac:chgData name="Miranda Quispe, Bruno Sebastian" userId="5df213b2-8b23-43f1-8137-24ac80ef972a" providerId="ADAL" clId="{E965C011-1063-4CD3-8CA5-A8D35C5C287B}" dt="2022-08-29T19:34:28.374" v="18017" actId="700"/>
          <ac:spMkLst>
            <pc:docMk/>
            <pc:sldMk cId="212522053" sldId="1190"/>
            <ac:spMk id="2" creationId="{BDFF9C3D-4D91-4333-9366-08870850E7D7}"/>
          </ac:spMkLst>
        </pc:spChg>
        <pc:spChg chg="add del mod ord">
          <ac:chgData name="Miranda Quispe, Bruno Sebastian" userId="5df213b2-8b23-43f1-8137-24ac80ef972a" providerId="ADAL" clId="{E965C011-1063-4CD3-8CA5-A8D35C5C287B}" dt="2022-08-29T19:34:32.292" v="18018" actId="478"/>
          <ac:spMkLst>
            <pc:docMk/>
            <pc:sldMk cId="212522053" sldId="1190"/>
            <ac:spMk id="3" creationId="{7A4020CE-31A7-4EA7-2175-2886F7EB0F07}"/>
          </ac:spMkLst>
        </pc:spChg>
        <pc:graphicFrameChg chg="mod modGraphic">
          <ac:chgData name="Miranda Quispe, Bruno Sebastian" userId="5df213b2-8b23-43f1-8137-24ac80ef972a" providerId="ADAL" clId="{E965C011-1063-4CD3-8CA5-A8D35C5C287B}" dt="2022-08-29T19:34:55.274" v="18023" actId="1076"/>
          <ac:graphicFrameMkLst>
            <pc:docMk/>
            <pc:sldMk cId="212522053" sldId="1190"/>
            <ac:graphicFrameMk id="6" creationId="{BB565953-5E57-C0D6-1F5D-0EC01C09B0C8}"/>
          </ac:graphicFrameMkLst>
        </pc:graphicFrameChg>
      </pc:sldChg>
      <pc:sldChg chg="addSp delSp modSp add mod modClrScheme chgLayout">
        <pc:chgData name="Miranda Quispe, Bruno Sebastian" userId="5df213b2-8b23-43f1-8137-24ac80ef972a" providerId="ADAL" clId="{E965C011-1063-4CD3-8CA5-A8D35C5C287B}" dt="2022-08-29T19:35:15.546" v="18027" actId="1076"/>
        <pc:sldMkLst>
          <pc:docMk/>
          <pc:sldMk cId="482305236" sldId="1191"/>
        </pc:sldMkLst>
        <pc:spChg chg="mod ord">
          <ac:chgData name="Miranda Quispe, Bruno Sebastian" userId="5df213b2-8b23-43f1-8137-24ac80ef972a" providerId="ADAL" clId="{E965C011-1063-4CD3-8CA5-A8D35C5C287B}" dt="2022-08-29T19:35:09.664" v="18025" actId="700"/>
          <ac:spMkLst>
            <pc:docMk/>
            <pc:sldMk cId="482305236" sldId="1191"/>
            <ac:spMk id="2" creationId="{A967BC18-DC40-49DF-8280-4D8887AB80DE}"/>
          </ac:spMkLst>
        </pc:spChg>
        <pc:spChg chg="add del mod ord">
          <ac:chgData name="Miranda Quispe, Bruno Sebastian" userId="5df213b2-8b23-43f1-8137-24ac80ef972a" providerId="ADAL" clId="{E965C011-1063-4CD3-8CA5-A8D35C5C287B}" dt="2022-08-29T19:35:12.124" v="18026" actId="478"/>
          <ac:spMkLst>
            <pc:docMk/>
            <pc:sldMk cId="482305236" sldId="1191"/>
            <ac:spMk id="3" creationId="{000E6F25-07DD-97C5-EC11-019E82CCF503}"/>
          </ac:spMkLst>
        </pc:spChg>
        <pc:spChg chg="mod">
          <ac:chgData name="Miranda Quispe, Bruno Sebastian" userId="5df213b2-8b23-43f1-8137-24ac80ef972a" providerId="ADAL" clId="{E965C011-1063-4CD3-8CA5-A8D35C5C287B}" dt="2022-08-29T19:35:15.546" v="18027" actId="1076"/>
          <ac:spMkLst>
            <pc:docMk/>
            <pc:sldMk cId="482305236" sldId="1191"/>
            <ac:spMk id="5" creationId="{58FB771C-A719-12C3-B708-62A498A25D23}"/>
          </ac:spMkLst>
        </pc:spChg>
        <pc:graphicFrameChg chg="modGraphic">
          <ac:chgData name="Miranda Quispe, Bruno Sebastian" userId="5df213b2-8b23-43f1-8137-24ac80ef972a" providerId="ADAL" clId="{E965C011-1063-4CD3-8CA5-A8D35C5C287B}" dt="2022-08-29T19:35:04.555" v="18024"/>
          <ac:graphicFrameMkLst>
            <pc:docMk/>
            <pc:sldMk cId="482305236" sldId="1191"/>
            <ac:graphicFrameMk id="4" creationId="{A907BE8B-64B3-4A5F-97BF-8AFF0A57124B}"/>
          </ac:graphicFrameMkLst>
        </pc:graphicFrameChg>
      </pc:sldChg>
      <pc:sldChg chg="addSp delSp modSp add mod modClrScheme chgLayout">
        <pc:chgData name="Miranda Quispe, Bruno Sebastian" userId="5df213b2-8b23-43f1-8137-24ac80ef972a" providerId="ADAL" clId="{E965C011-1063-4CD3-8CA5-A8D35C5C287B}" dt="2022-08-29T19:35:51.701" v="18040" actId="478"/>
        <pc:sldMkLst>
          <pc:docMk/>
          <pc:sldMk cId="2616676399" sldId="1192"/>
        </pc:sldMkLst>
        <pc:spChg chg="mod ord">
          <ac:chgData name="Miranda Quispe, Bruno Sebastian" userId="5df213b2-8b23-43f1-8137-24ac80ef972a" providerId="ADAL" clId="{E965C011-1063-4CD3-8CA5-A8D35C5C287B}" dt="2022-08-29T19:35:48.514" v="18038" actId="1076"/>
          <ac:spMkLst>
            <pc:docMk/>
            <pc:sldMk cId="2616676399" sldId="1192"/>
            <ac:spMk id="2" creationId="{BCC664B0-FE60-4976-BF76-BA6492894C81}"/>
          </ac:spMkLst>
        </pc:spChg>
        <pc:spChg chg="del mod ord">
          <ac:chgData name="Miranda Quispe, Bruno Sebastian" userId="5df213b2-8b23-43f1-8137-24ac80ef972a" providerId="ADAL" clId="{E965C011-1063-4CD3-8CA5-A8D35C5C287B}" dt="2022-08-29T19:35:45.180" v="18036" actId="478"/>
          <ac:spMkLst>
            <pc:docMk/>
            <pc:sldMk cId="2616676399" sldId="1192"/>
            <ac:spMk id="3" creationId="{3ACBFDF1-E81A-4241-A3DD-6BA7D5222112}"/>
          </ac:spMkLst>
        </pc:spChg>
        <pc:spChg chg="mod">
          <ac:chgData name="Miranda Quispe, Bruno Sebastian" userId="5df213b2-8b23-43f1-8137-24ac80ef972a" providerId="ADAL" clId="{E965C011-1063-4CD3-8CA5-A8D35C5C287B}" dt="2022-08-29T19:35:34.854" v="18031" actId="1076"/>
          <ac:spMkLst>
            <pc:docMk/>
            <pc:sldMk cId="2616676399" sldId="1192"/>
            <ac:spMk id="5" creationId="{5C222658-D081-74F7-3F20-C43FC6847650}"/>
          </ac:spMkLst>
        </pc:spChg>
        <pc:spChg chg="add del mod">
          <ac:chgData name="Miranda Quispe, Bruno Sebastian" userId="5df213b2-8b23-43f1-8137-24ac80ef972a" providerId="ADAL" clId="{E965C011-1063-4CD3-8CA5-A8D35C5C287B}" dt="2022-08-29T19:35:51.701" v="18040" actId="478"/>
          <ac:spMkLst>
            <pc:docMk/>
            <pc:sldMk cId="2616676399" sldId="1192"/>
            <ac:spMk id="6" creationId="{A4D4986E-8CF8-88A9-B162-B8723EA519A7}"/>
          </ac:spMkLst>
        </pc:spChg>
      </pc:sldChg>
      <pc:sldChg chg="addSp delSp modSp add mod modClrScheme chgLayout">
        <pc:chgData name="Miranda Quispe, Bruno Sebastian" userId="5df213b2-8b23-43f1-8137-24ac80ef972a" providerId="ADAL" clId="{E965C011-1063-4CD3-8CA5-A8D35C5C287B}" dt="2022-08-29T19:36:11.444" v="18044" actId="20577"/>
        <pc:sldMkLst>
          <pc:docMk/>
          <pc:sldMk cId="2753060020" sldId="1193"/>
        </pc:sldMkLst>
        <pc:spChg chg="mod ord">
          <ac:chgData name="Miranda Quispe, Bruno Sebastian" userId="5df213b2-8b23-43f1-8137-24ac80ef972a" providerId="ADAL" clId="{E965C011-1063-4CD3-8CA5-A8D35C5C287B}" dt="2022-08-29T19:36:11.444" v="18044" actId="20577"/>
          <ac:spMkLst>
            <pc:docMk/>
            <pc:sldMk cId="2753060020" sldId="1193"/>
            <ac:spMk id="2" creationId="{92AD1383-843F-449B-9554-1D374C66EC34}"/>
          </ac:spMkLst>
        </pc:spChg>
        <pc:spChg chg="add del mod ord">
          <ac:chgData name="Miranda Quispe, Bruno Sebastian" userId="5df213b2-8b23-43f1-8137-24ac80ef972a" providerId="ADAL" clId="{E965C011-1063-4CD3-8CA5-A8D35C5C287B}" dt="2022-08-29T19:36:08.554" v="18043" actId="478"/>
          <ac:spMkLst>
            <pc:docMk/>
            <pc:sldMk cId="2753060020" sldId="1193"/>
            <ac:spMk id="3" creationId="{BC7AAFB8-6E7D-4231-50AB-91F3B848ED1C}"/>
          </ac:spMkLst>
        </pc:spChg>
        <pc:graphicFrameChg chg="modGraphic">
          <ac:chgData name="Miranda Quispe, Bruno Sebastian" userId="5df213b2-8b23-43f1-8137-24ac80ef972a" providerId="ADAL" clId="{E965C011-1063-4CD3-8CA5-A8D35C5C287B}" dt="2022-08-29T19:36:02.863" v="18041"/>
          <ac:graphicFrameMkLst>
            <pc:docMk/>
            <pc:sldMk cId="2753060020" sldId="1193"/>
            <ac:graphicFrameMk id="5" creationId="{186E54FC-F968-C5FA-0912-5DE3F3EEA15F}"/>
          </ac:graphicFrameMkLst>
        </pc:graphicFrameChg>
      </pc:sldChg>
      <pc:sldChg chg="modSp add del mod ord">
        <pc:chgData name="Miranda Quispe, Bruno Sebastian" userId="5df213b2-8b23-43f1-8137-24ac80ef972a" providerId="ADAL" clId="{E965C011-1063-4CD3-8CA5-A8D35C5C287B}" dt="2022-08-29T20:48:26.699" v="18875" actId="47"/>
        <pc:sldMkLst>
          <pc:docMk/>
          <pc:sldMk cId="897861666" sldId="1551"/>
        </pc:sldMkLst>
        <pc:spChg chg="mod">
          <ac:chgData name="Miranda Quispe, Bruno Sebastian" userId="5df213b2-8b23-43f1-8137-24ac80ef972a" providerId="ADAL" clId="{E965C011-1063-4CD3-8CA5-A8D35C5C287B}" dt="2022-08-29T20:15:48.376" v="18303" actId="20577"/>
          <ac:spMkLst>
            <pc:docMk/>
            <pc:sldMk cId="897861666" sldId="1551"/>
            <ac:spMk id="16" creationId="{F0967BFA-423C-42AE-82A0-1C773C5E81E2}"/>
          </ac:spMkLst>
        </pc:spChg>
        <pc:spChg chg="mod">
          <ac:chgData name="Miranda Quispe, Bruno Sebastian" userId="5df213b2-8b23-43f1-8137-24ac80ef972a" providerId="ADAL" clId="{E965C011-1063-4CD3-8CA5-A8D35C5C287B}" dt="2022-08-29T20:15:52.462" v="18309" actId="20577"/>
          <ac:spMkLst>
            <pc:docMk/>
            <pc:sldMk cId="897861666" sldId="1551"/>
            <ac:spMk id="97" creationId="{184BE9ED-F1A0-41B2-B636-46B3DA2E6CF5}"/>
          </ac:spMkLst>
        </pc:spChg>
        <pc:spChg chg="mod">
          <ac:chgData name="Miranda Quispe, Bruno Sebastian" userId="5df213b2-8b23-43f1-8137-24ac80ef972a" providerId="ADAL" clId="{E965C011-1063-4CD3-8CA5-A8D35C5C287B}" dt="2022-08-29T20:32:23.624" v="18691" actId="20577"/>
          <ac:spMkLst>
            <pc:docMk/>
            <pc:sldMk cId="897861666" sldId="1551"/>
            <ac:spMk id="108" creationId="{9AED77F1-DEDA-4F6C-9FDE-FF197CEB6B2A}"/>
          </ac:spMkLst>
        </pc:spChg>
        <pc:spChg chg="mod">
          <ac:chgData name="Miranda Quispe, Bruno Sebastian" userId="5df213b2-8b23-43f1-8137-24ac80ef972a" providerId="ADAL" clId="{E965C011-1063-4CD3-8CA5-A8D35C5C287B}" dt="2022-08-29T20:31:25.784" v="18564" actId="20577"/>
          <ac:spMkLst>
            <pc:docMk/>
            <pc:sldMk cId="897861666" sldId="1551"/>
            <ac:spMk id="111" creationId="{D528FB93-FEB1-49AC-9C6F-62C7346CDA7B}"/>
          </ac:spMkLst>
        </pc:spChg>
        <pc:spChg chg="mod">
          <ac:chgData name="Miranda Quispe, Bruno Sebastian" userId="5df213b2-8b23-43f1-8137-24ac80ef972a" providerId="ADAL" clId="{E965C011-1063-4CD3-8CA5-A8D35C5C287B}" dt="2022-08-29T20:26:13.479" v="18541" actId="20577"/>
          <ac:spMkLst>
            <pc:docMk/>
            <pc:sldMk cId="897861666" sldId="1551"/>
            <ac:spMk id="124" creationId="{27BD815A-223F-4BCB-B5AC-C2A7AA99473A}"/>
          </ac:spMkLst>
        </pc:spChg>
      </pc:sldChg>
      <pc:sldChg chg="add">
        <pc:chgData name="Miranda Quispe, Bruno Sebastian" userId="5df213b2-8b23-43f1-8137-24ac80ef972a" providerId="ADAL" clId="{E965C011-1063-4CD3-8CA5-A8D35C5C287B}" dt="2022-08-29T19:33:11.835" v="18005"/>
        <pc:sldMkLst>
          <pc:docMk/>
          <pc:sldMk cId="4012204806" sldId="9277"/>
        </pc:sldMkLst>
      </pc:sldChg>
      <pc:sldChg chg="modSp add mod modClrScheme chgLayout">
        <pc:chgData name="Miranda Quispe, Bruno Sebastian" userId="5df213b2-8b23-43f1-8137-24ac80ef972a" providerId="ADAL" clId="{E965C011-1063-4CD3-8CA5-A8D35C5C287B}" dt="2022-08-29T19:34:15.144" v="18016" actId="700"/>
        <pc:sldMkLst>
          <pc:docMk/>
          <pc:sldMk cId="2144735951" sldId="9278"/>
        </pc:sldMkLst>
        <pc:spChg chg="mod ord">
          <ac:chgData name="Miranda Quispe, Bruno Sebastian" userId="5df213b2-8b23-43f1-8137-24ac80ef972a" providerId="ADAL" clId="{E965C011-1063-4CD3-8CA5-A8D35C5C287B}" dt="2022-08-29T19:34:15.144" v="18016" actId="700"/>
          <ac:spMkLst>
            <pc:docMk/>
            <pc:sldMk cId="2144735951" sldId="9278"/>
            <ac:spMk id="2" creationId="{96278E5F-FAFC-D8D5-2A46-98FD011941B9}"/>
          </ac:spMkLst>
        </pc:spChg>
        <pc:spChg chg="mod ord">
          <ac:chgData name="Miranda Quispe, Bruno Sebastian" userId="5df213b2-8b23-43f1-8137-24ac80ef972a" providerId="ADAL" clId="{E965C011-1063-4CD3-8CA5-A8D35C5C287B}" dt="2022-08-29T19:34:15.144" v="18016" actId="700"/>
          <ac:spMkLst>
            <pc:docMk/>
            <pc:sldMk cId="2144735951" sldId="9278"/>
            <ac:spMk id="5" creationId="{18E53AE6-39B3-7A9E-0367-A932E70D5D0C}"/>
          </ac:spMkLst>
        </pc:spChg>
      </pc:sldChg>
      <pc:sldChg chg="add">
        <pc:chgData name="Miranda Quispe, Bruno Sebastian" userId="5df213b2-8b23-43f1-8137-24ac80ef972a" providerId="ADAL" clId="{E965C011-1063-4CD3-8CA5-A8D35C5C287B}" dt="2022-08-29T19:33:11.835" v="18005"/>
        <pc:sldMkLst>
          <pc:docMk/>
          <pc:sldMk cId="4154153105" sldId="9279"/>
        </pc:sldMkLst>
      </pc:sldChg>
      <pc:sldChg chg="addSp delSp modSp add mod setBg modClrScheme chgLayout">
        <pc:chgData name="Miranda Quispe, Bruno Sebastian" userId="5df213b2-8b23-43f1-8137-24ac80ef972a" providerId="ADAL" clId="{E965C011-1063-4CD3-8CA5-A8D35C5C287B}" dt="2022-08-10T16:58:17.562" v="12524" actId="20577"/>
        <pc:sldMkLst>
          <pc:docMk/>
          <pc:sldMk cId="114668362" sldId="11578"/>
        </pc:sldMkLst>
        <pc:spChg chg="mod ord">
          <ac:chgData name="Miranda Quispe, Bruno Sebastian" userId="5df213b2-8b23-43f1-8137-24ac80ef972a" providerId="ADAL" clId="{E965C011-1063-4CD3-8CA5-A8D35C5C287B}" dt="2022-07-25T20:00:44.762" v="2084" actId="700"/>
          <ac:spMkLst>
            <pc:docMk/>
            <pc:sldMk cId="114668362" sldId="11578"/>
            <ac:spMk id="2" creationId="{B63B30D6-BCCD-65D3-88B8-DF3BD89098D6}"/>
          </ac:spMkLst>
        </pc:spChg>
        <pc:spChg chg="add del mod ord">
          <ac:chgData name="Miranda Quispe, Bruno Sebastian" userId="5df213b2-8b23-43f1-8137-24ac80ef972a" providerId="ADAL" clId="{E965C011-1063-4CD3-8CA5-A8D35C5C287B}" dt="2022-07-25T20:00:53.678" v="2088" actId="478"/>
          <ac:spMkLst>
            <pc:docMk/>
            <pc:sldMk cId="114668362" sldId="11578"/>
            <ac:spMk id="3" creationId="{27A2CAD1-FC26-21C8-5F54-C9EDA8F80A14}"/>
          </ac:spMkLst>
        </pc:spChg>
        <pc:spChg chg="mod">
          <ac:chgData name="Miranda Quispe, Bruno Sebastian" userId="5df213b2-8b23-43f1-8137-24ac80ef972a" providerId="ADAL" clId="{E965C011-1063-4CD3-8CA5-A8D35C5C287B}" dt="2022-08-10T16:58:17.562" v="12524" actId="20577"/>
          <ac:spMkLst>
            <pc:docMk/>
            <pc:sldMk cId="114668362" sldId="11578"/>
            <ac:spMk id="8" creationId="{6D4CD6E8-26E0-CDEE-33EF-E851A6BA8588}"/>
          </ac:spMkLst>
        </pc:spChg>
        <pc:picChg chg="del mod">
          <ac:chgData name="Miranda Quispe, Bruno Sebastian" userId="5df213b2-8b23-43f1-8137-24ac80ef972a" providerId="ADAL" clId="{E965C011-1063-4CD3-8CA5-A8D35C5C287B}" dt="2022-07-25T20:00:50.273" v="2087" actId="478"/>
          <ac:picMkLst>
            <pc:docMk/>
            <pc:sldMk cId="114668362" sldId="11578"/>
            <ac:picMk id="5" creationId="{316E43CF-DB66-44B8-7D8B-FAD4B44D9B8F}"/>
          </ac:picMkLst>
        </pc:picChg>
        <pc:picChg chg="mod">
          <ac:chgData name="Miranda Quispe, Bruno Sebastian" userId="5df213b2-8b23-43f1-8137-24ac80ef972a" providerId="ADAL" clId="{E965C011-1063-4CD3-8CA5-A8D35C5C287B}" dt="2022-07-25T20:18:20.336" v="2098" actId="1076"/>
          <ac:picMkLst>
            <pc:docMk/>
            <pc:sldMk cId="114668362" sldId="11578"/>
            <ac:picMk id="6" creationId="{DCDF5687-9E54-539F-344C-DCB1259B23E1}"/>
          </ac:picMkLst>
        </pc:picChg>
        <pc:picChg chg="add mod">
          <ac:chgData name="Miranda Quispe, Bruno Sebastian" userId="5df213b2-8b23-43f1-8137-24ac80ef972a" providerId="ADAL" clId="{E965C011-1063-4CD3-8CA5-A8D35C5C287B}" dt="2022-07-25T20:18:36.168" v="2101" actId="1076"/>
          <ac:picMkLst>
            <pc:docMk/>
            <pc:sldMk cId="114668362" sldId="11578"/>
            <ac:picMk id="7" creationId="{84C86A46-C811-5310-3E37-55DFC0058A29}"/>
          </ac:picMkLst>
        </pc:picChg>
        <pc:picChg chg="add del mod">
          <ac:chgData name="Miranda Quispe, Bruno Sebastian" userId="5df213b2-8b23-43f1-8137-24ac80ef972a" providerId="ADAL" clId="{E965C011-1063-4CD3-8CA5-A8D35C5C287B}" dt="2022-07-25T20:19:06.184" v="2103"/>
          <ac:picMkLst>
            <pc:docMk/>
            <pc:sldMk cId="114668362" sldId="11578"/>
            <ac:picMk id="9" creationId="{99F8013C-8C99-9244-7235-07B66000FF43}"/>
          </ac:picMkLst>
        </pc:picChg>
        <pc:picChg chg="add del mod">
          <ac:chgData name="Miranda Quispe, Bruno Sebastian" userId="5df213b2-8b23-43f1-8137-24ac80ef972a" providerId="ADAL" clId="{E965C011-1063-4CD3-8CA5-A8D35C5C287B}" dt="2022-07-25T20:19:13.576" v="2105" actId="21"/>
          <ac:picMkLst>
            <pc:docMk/>
            <pc:sldMk cId="114668362" sldId="11578"/>
            <ac:picMk id="10" creationId="{04AD38D0-0017-A747-F2B5-EF02CBDDAECF}"/>
          </ac:picMkLst>
        </pc:picChg>
      </pc:sldChg>
      <pc:sldChg chg="addSp delSp modSp add mod modClrScheme chgLayout">
        <pc:chgData name="Miranda Quispe, Bruno Sebastian" userId="5df213b2-8b23-43f1-8137-24ac80ef972a" providerId="ADAL" clId="{E965C011-1063-4CD3-8CA5-A8D35C5C287B}" dt="2022-07-25T20:51:03.013" v="2124" actId="20577"/>
        <pc:sldMkLst>
          <pc:docMk/>
          <pc:sldMk cId="1116342376" sldId="11582"/>
        </pc:sldMkLst>
        <pc:spChg chg="mod ord">
          <ac:chgData name="Miranda Quispe, Bruno Sebastian" userId="5df213b2-8b23-43f1-8137-24ac80ef972a" providerId="ADAL" clId="{E965C011-1063-4CD3-8CA5-A8D35C5C287B}" dt="2022-07-25T20:26:55.857" v="2123" actId="1076"/>
          <ac:spMkLst>
            <pc:docMk/>
            <pc:sldMk cId="1116342376" sldId="11582"/>
            <ac:spMk id="2" creationId="{1F313981-4CB6-8FF2-BCE7-1B093E15D198}"/>
          </ac:spMkLst>
        </pc:spChg>
        <pc:spChg chg="mod">
          <ac:chgData name="Miranda Quispe, Bruno Sebastian" userId="5df213b2-8b23-43f1-8137-24ac80ef972a" providerId="ADAL" clId="{E965C011-1063-4CD3-8CA5-A8D35C5C287B}" dt="2022-07-25T20:51:03.013" v="2124" actId="20577"/>
          <ac:spMkLst>
            <pc:docMk/>
            <pc:sldMk cId="1116342376" sldId="11582"/>
            <ac:spMk id="3" creationId="{E15CBAA7-4F34-5AE1-F26B-88A1E317708F}"/>
          </ac:spMkLst>
        </pc:spChg>
        <pc:spChg chg="add del mod ord">
          <ac:chgData name="Miranda Quispe, Bruno Sebastian" userId="5df213b2-8b23-43f1-8137-24ac80ef972a" providerId="ADAL" clId="{E965C011-1063-4CD3-8CA5-A8D35C5C287B}" dt="2022-07-25T20:24:17.229" v="2111" actId="478"/>
          <ac:spMkLst>
            <pc:docMk/>
            <pc:sldMk cId="1116342376" sldId="11582"/>
            <ac:spMk id="4" creationId="{30E559B2-9D7D-B44E-F928-70A83F4BEE71}"/>
          </ac:spMkLst>
        </pc:spChg>
        <pc:picChg chg="mod">
          <ac:chgData name="Miranda Quispe, Bruno Sebastian" userId="5df213b2-8b23-43f1-8137-24ac80ef972a" providerId="ADAL" clId="{E965C011-1063-4CD3-8CA5-A8D35C5C287B}" dt="2022-07-25T20:24:18.394" v="2112" actId="1076"/>
          <ac:picMkLst>
            <pc:docMk/>
            <pc:sldMk cId="1116342376" sldId="11582"/>
            <ac:picMk id="1028" creationId="{0EA2EBEB-658B-FFEF-779D-ACECD185BEAA}"/>
          </ac:picMkLst>
        </pc:picChg>
      </pc:sldChg>
      <pc:sldChg chg="del">
        <pc:chgData name="Miranda Quispe, Bruno Sebastian" userId="5df213b2-8b23-43f1-8137-24ac80ef972a" providerId="ADAL" clId="{E965C011-1063-4CD3-8CA5-A8D35C5C287B}" dt="2022-07-25T20:24:37.428" v="2117" actId="47"/>
        <pc:sldMkLst>
          <pc:docMk/>
          <pc:sldMk cId="678356737" sldId="13085"/>
        </pc:sldMkLst>
      </pc:sldChg>
      <pc:sldChg chg="del">
        <pc:chgData name="Miranda Quispe, Bruno Sebastian" userId="5df213b2-8b23-43f1-8137-24ac80ef972a" providerId="ADAL" clId="{E965C011-1063-4CD3-8CA5-A8D35C5C287B}" dt="2022-07-25T20:24:35.288" v="2115" actId="47"/>
        <pc:sldMkLst>
          <pc:docMk/>
          <pc:sldMk cId="1471226787" sldId="2147470436"/>
        </pc:sldMkLst>
      </pc:sldChg>
      <pc:sldChg chg="del">
        <pc:chgData name="Miranda Quispe, Bruno Sebastian" userId="5df213b2-8b23-43f1-8137-24ac80ef972a" providerId="ADAL" clId="{E965C011-1063-4CD3-8CA5-A8D35C5C287B}" dt="2022-07-25T20:24:38.181" v="2118" actId="47"/>
        <pc:sldMkLst>
          <pc:docMk/>
          <pc:sldMk cId="3775048530" sldId="2147470437"/>
        </pc:sldMkLst>
      </pc:sldChg>
      <pc:sldChg chg="del">
        <pc:chgData name="Miranda Quispe, Bruno Sebastian" userId="5df213b2-8b23-43f1-8137-24ac80ef972a" providerId="ADAL" clId="{E965C011-1063-4CD3-8CA5-A8D35C5C287B}" dt="2022-07-25T20:24:36.095" v="2116" actId="47"/>
        <pc:sldMkLst>
          <pc:docMk/>
          <pc:sldMk cId="407482592" sldId="2147470438"/>
        </pc:sldMkLst>
      </pc:sldChg>
      <pc:sldChg chg="addSp delSp modSp new mod modClrScheme chgLayout">
        <pc:chgData name="Miranda Quispe, Bruno Sebastian" userId="5df213b2-8b23-43f1-8137-24ac80ef972a" providerId="ADAL" clId="{E965C011-1063-4CD3-8CA5-A8D35C5C287B}" dt="2022-08-10T17:12:08.309" v="12536" actId="11530"/>
        <pc:sldMkLst>
          <pc:docMk/>
          <pc:sldMk cId="1039821489" sldId="2147470439"/>
        </pc:sldMkLst>
        <pc:spChg chg="del mod ord">
          <ac:chgData name="Miranda Quispe, Bruno Sebastian" userId="5df213b2-8b23-43f1-8137-24ac80ef972a" providerId="ADAL" clId="{E965C011-1063-4CD3-8CA5-A8D35C5C287B}" dt="2022-07-25T14:38:19.153" v="92" actId="700"/>
          <ac:spMkLst>
            <pc:docMk/>
            <pc:sldMk cId="1039821489" sldId="2147470439"/>
            <ac:spMk id="2" creationId="{D27D31A9-954A-C00E-DD26-9DE300CB3F2B}"/>
          </ac:spMkLst>
        </pc:spChg>
        <pc:spChg chg="mod ord">
          <ac:chgData name="Miranda Quispe, Bruno Sebastian" userId="5df213b2-8b23-43f1-8137-24ac80ef972a" providerId="ADAL" clId="{E965C011-1063-4CD3-8CA5-A8D35C5C287B}" dt="2022-07-25T14:39:27.840" v="167" actId="26606"/>
          <ac:spMkLst>
            <pc:docMk/>
            <pc:sldMk cId="1039821489" sldId="2147470439"/>
            <ac:spMk id="3" creationId="{73C26C85-3319-E4DF-0B88-1311BDCFB875}"/>
          </ac:spMkLst>
        </pc:spChg>
        <pc:spChg chg="add mod ord">
          <ac:chgData name="Miranda Quispe, Bruno Sebastian" userId="5df213b2-8b23-43f1-8137-24ac80ef972a" providerId="ADAL" clId="{E965C011-1063-4CD3-8CA5-A8D35C5C287B}" dt="2022-07-25T15:11:44.610" v="341" actId="1076"/>
          <ac:spMkLst>
            <pc:docMk/>
            <pc:sldMk cId="1039821489" sldId="2147470439"/>
            <ac:spMk id="5" creationId="{3B62D8A6-822F-AAFA-4009-C7C73877A1D6}"/>
          </ac:spMkLst>
        </pc:spChg>
        <pc:spChg chg="add del mod ord">
          <ac:chgData name="Miranda Quispe, Bruno Sebastian" userId="5df213b2-8b23-43f1-8137-24ac80ef972a" providerId="ADAL" clId="{E965C011-1063-4CD3-8CA5-A8D35C5C287B}" dt="2022-07-25T14:44:26.601" v="193" actId="478"/>
          <ac:spMkLst>
            <pc:docMk/>
            <pc:sldMk cId="1039821489" sldId="2147470439"/>
            <ac:spMk id="6" creationId="{CCEC3E6C-1DFB-42B7-C275-B07F69999156}"/>
          </ac:spMkLst>
        </pc:spChg>
        <pc:spChg chg="mod">
          <ac:chgData name="Miranda Quispe, Bruno Sebastian" userId="5df213b2-8b23-43f1-8137-24ac80ef972a" providerId="ADAL" clId="{E965C011-1063-4CD3-8CA5-A8D35C5C287B}" dt="2022-07-25T14:51:55.828" v="199" actId="27803"/>
          <ac:spMkLst>
            <pc:docMk/>
            <pc:sldMk cId="1039821489" sldId="2147470439"/>
            <ac:spMk id="10" creationId="{12221B0A-FCFA-99CF-AAC3-2F583E48E196}"/>
          </ac:spMkLst>
        </pc:spChg>
        <pc:spChg chg="mod">
          <ac:chgData name="Miranda Quispe, Bruno Sebastian" userId="5df213b2-8b23-43f1-8137-24ac80ef972a" providerId="ADAL" clId="{E965C011-1063-4CD3-8CA5-A8D35C5C287B}" dt="2022-07-25T14:51:55.828" v="199" actId="27803"/>
          <ac:spMkLst>
            <pc:docMk/>
            <pc:sldMk cId="1039821489" sldId="2147470439"/>
            <ac:spMk id="11" creationId="{98224360-A77F-3BE8-12B1-2E3B9D050BFC}"/>
          </ac:spMkLst>
        </pc:spChg>
        <pc:spChg chg="mod">
          <ac:chgData name="Miranda Quispe, Bruno Sebastian" userId="5df213b2-8b23-43f1-8137-24ac80ef972a" providerId="ADAL" clId="{E965C011-1063-4CD3-8CA5-A8D35C5C287B}" dt="2022-07-25T14:52:03.345" v="203" actId="27803"/>
          <ac:spMkLst>
            <pc:docMk/>
            <pc:sldMk cId="1039821489" sldId="2147470439"/>
            <ac:spMk id="13" creationId="{E07F0C1D-25C1-927A-3F69-6DB930905AF2}"/>
          </ac:spMkLst>
        </pc:spChg>
        <pc:spChg chg="mod">
          <ac:chgData name="Miranda Quispe, Bruno Sebastian" userId="5df213b2-8b23-43f1-8137-24ac80ef972a" providerId="ADAL" clId="{E965C011-1063-4CD3-8CA5-A8D35C5C287B}" dt="2022-07-25T14:52:03.345" v="203" actId="27803"/>
          <ac:spMkLst>
            <pc:docMk/>
            <pc:sldMk cId="1039821489" sldId="2147470439"/>
            <ac:spMk id="14" creationId="{2C811CD5-F9CF-30CB-22B7-C8359A35FA3E}"/>
          </ac:spMkLst>
        </pc:spChg>
        <pc:grpChg chg="mod">
          <ac:chgData name="Miranda Quispe, Bruno Sebastian" userId="5df213b2-8b23-43f1-8137-24ac80ef972a" providerId="ADAL" clId="{E965C011-1063-4CD3-8CA5-A8D35C5C287B}" dt="2022-07-25T14:51:55.828" v="199" actId="27803"/>
          <ac:grpSpMkLst>
            <pc:docMk/>
            <pc:sldMk cId="1039821489" sldId="2147470439"/>
            <ac:grpSpMk id="9" creationId="{FD0EE54B-9418-4793-C273-C0D5624589B1}"/>
          </ac:grpSpMkLst>
        </pc:grpChg>
        <pc:grpChg chg="mod">
          <ac:chgData name="Miranda Quispe, Bruno Sebastian" userId="5df213b2-8b23-43f1-8137-24ac80ef972a" providerId="ADAL" clId="{E965C011-1063-4CD3-8CA5-A8D35C5C287B}" dt="2022-07-25T14:52:05.251" v="205" actId="14100"/>
          <ac:grpSpMkLst>
            <pc:docMk/>
            <pc:sldMk cId="1039821489" sldId="2147470439"/>
            <ac:grpSpMk id="12" creationId="{1112FEAC-5746-EC06-B7F5-AE4BF335512F}"/>
          </ac:grpSpMkLst>
        </pc:grpChg>
        <pc:grpChg chg="add mod">
          <ac:chgData name="Miranda Quispe, Bruno Sebastian" userId="5df213b2-8b23-43f1-8137-24ac80ef972a" providerId="ADAL" clId="{E965C011-1063-4CD3-8CA5-A8D35C5C287B}" dt="2022-07-27T15:48:19.913" v="6506" actId="14826"/>
          <ac:grpSpMkLst>
            <pc:docMk/>
            <pc:sldMk cId="1039821489" sldId="2147470439"/>
            <ac:grpSpMk id="19" creationId="{1F6A253B-176E-B884-E8A5-EAEAF1E2D6BC}"/>
          </ac:grpSpMkLst>
        </pc:grpChg>
        <pc:graphicFrameChg chg="add mod modGraphic">
          <ac:chgData name="Miranda Quispe, Bruno Sebastian" userId="5df213b2-8b23-43f1-8137-24ac80ef972a" providerId="ADAL" clId="{E965C011-1063-4CD3-8CA5-A8D35C5C287B}" dt="2022-08-10T17:12:08.309" v="12536" actId="11530"/>
          <ac:graphicFrameMkLst>
            <pc:docMk/>
            <pc:sldMk cId="1039821489" sldId="2147470439"/>
            <ac:graphicFrameMk id="4" creationId="{61B55E45-E69E-FCA9-8F59-CA3C3D7A11B8}"/>
          </ac:graphicFrameMkLst>
        </pc:graphicFrameChg>
        <pc:picChg chg="add del mod">
          <ac:chgData name="Miranda Quispe, Bruno Sebastian" userId="5df213b2-8b23-43f1-8137-24ac80ef972a" providerId="ADAL" clId="{E965C011-1063-4CD3-8CA5-A8D35C5C287B}" dt="2022-07-25T14:52:07.195" v="209" actId="931"/>
          <ac:picMkLst>
            <pc:docMk/>
            <pc:sldMk cId="1039821489" sldId="2147470439"/>
            <ac:picMk id="8" creationId="{7C4AF9A9-A04A-6028-7169-15F562FC161C}"/>
          </ac:picMkLst>
        </pc:picChg>
        <pc:picChg chg="add mod">
          <ac:chgData name="Miranda Quispe, Bruno Sebastian" userId="5df213b2-8b23-43f1-8137-24ac80ef972a" providerId="ADAL" clId="{E965C011-1063-4CD3-8CA5-A8D35C5C287B}" dt="2022-07-27T15:48:19.913" v="6506" actId="14826"/>
          <ac:picMkLst>
            <pc:docMk/>
            <pc:sldMk cId="1039821489" sldId="2147470439"/>
            <ac:picMk id="16" creationId="{EF17BF1D-6D48-AC24-92A0-3819AE06082B}"/>
          </ac:picMkLst>
        </pc:picChg>
        <pc:picChg chg="add mod">
          <ac:chgData name="Miranda Quispe, Bruno Sebastian" userId="5df213b2-8b23-43f1-8137-24ac80ef972a" providerId="ADAL" clId="{E965C011-1063-4CD3-8CA5-A8D35C5C287B}" dt="2022-08-10T17:11:32.399" v="12529" actId="1076"/>
          <ac:picMkLst>
            <pc:docMk/>
            <pc:sldMk cId="1039821489" sldId="2147470439"/>
            <ac:picMk id="17" creationId="{6D95FA32-AF24-8827-882D-D8012D78A1AE}"/>
          </ac:picMkLst>
        </pc:picChg>
        <pc:picChg chg="add mod">
          <ac:chgData name="Miranda Quispe, Bruno Sebastian" userId="5df213b2-8b23-43f1-8137-24ac80ef972a" providerId="ADAL" clId="{E965C011-1063-4CD3-8CA5-A8D35C5C287B}" dt="2022-08-10T17:11:38.695" v="12531" actId="1076"/>
          <ac:picMkLst>
            <pc:docMk/>
            <pc:sldMk cId="1039821489" sldId="2147470439"/>
            <ac:picMk id="18" creationId="{29601D9D-94AD-2328-AB6C-B8600311342A}"/>
          </ac:picMkLst>
        </pc:picChg>
        <pc:picChg chg="add mod">
          <ac:chgData name="Miranda Quispe, Bruno Sebastian" userId="5df213b2-8b23-43f1-8137-24ac80ef972a" providerId="ADAL" clId="{E965C011-1063-4CD3-8CA5-A8D35C5C287B}" dt="2022-07-25T15:12:21.942" v="345" actId="1076"/>
          <ac:picMkLst>
            <pc:docMk/>
            <pc:sldMk cId="1039821489" sldId="2147470439"/>
            <ac:picMk id="3074" creationId="{E9584CBF-82C6-D25A-D76F-02846F8EF5E2}"/>
          </ac:picMkLst>
        </pc:picChg>
      </pc:sldChg>
      <pc:sldChg chg="addSp delSp modSp new mod setBg modClrScheme chgLayout">
        <pc:chgData name="Miranda Quispe, Bruno Sebastian" userId="5df213b2-8b23-43f1-8137-24ac80ef972a" providerId="ADAL" clId="{E965C011-1063-4CD3-8CA5-A8D35C5C287B}" dt="2022-07-25T17:32:21.044" v="1561" actId="20577"/>
        <pc:sldMkLst>
          <pc:docMk/>
          <pc:sldMk cId="3572404631" sldId="2147470440"/>
        </pc:sldMkLst>
        <pc:spChg chg="mod ord modVis">
          <ac:chgData name="Miranda Quispe, Bruno Sebastian" userId="5df213b2-8b23-43f1-8137-24ac80ef972a" providerId="ADAL" clId="{E965C011-1063-4CD3-8CA5-A8D35C5C287B}" dt="2022-07-25T15:02:18.047" v="292" actId="26606"/>
          <ac:spMkLst>
            <pc:docMk/>
            <pc:sldMk cId="3572404631" sldId="2147470440"/>
            <ac:spMk id="2" creationId="{378960E8-FF8C-4A84-CFD3-EE28CCB7F53E}"/>
          </ac:spMkLst>
        </pc:spChg>
        <pc:spChg chg="del mod ord">
          <ac:chgData name="Miranda Quispe, Bruno Sebastian" userId="5df213b2-8b23-43f1-8137-24ac80ef972a" providerId="ADAL" clId="{E965C011-1063-4CD3-8CA5-A8D35C5C287B}" dt="2022-07-25T15:01:28.415" v="237" actId="700"/>
          <ac:spMkLst>
            <pc:docMk/>
            <pc:sldMk cId="3572404631" sldId="2147470440"/>
            <ac:spMk id="3" creationId="{F7E923B9-FAB7-7CB0-6B26-E92B52A3EC47}"/>
          </ac:spMkLst>
        </pc:spChg>
        <pc:spChg chg="del mod ord">
          <ac:chgData name="Miranda Quispe, Bruno Sebastian" userId="5df213b2-8b23-43f1-8137-24ac80ef972a" providerId="ADAL" clId="{E965C011-1063-4CD3-8CA5-A8D35C5C287B}" dt="2022-07-25T15:01:28.415" v="237" actId="700"/>
          <ac:spMkLst>
            <pc:docMk/>
            <pc:sldMk cId="3572404631" sldId="2147470440"/>
            <ac:spMk id="4" creationId="{12FA2000-2108-34B0-184E-69B18EB7ED32}"/>
          </ac:spMkLst>
        </pc:spChg>
        <pc:spChg chg="add del mod ord">
          <ac:chgData name="Miranda Quispe, Bruno Sebastian" userId="5df213b2-8b23-43f1-8137-24ac80ef972a" providerId="ADAL" clId="{E965C011-1063-4CD3-8CA5-A8D35C5C287B}" dt="2022-07-25T15:01:36.058" v="238" actId="700"/>
          <ac:spMkLst>
            <pc:docMk/>
            <pc:sldMk cId="3572404631" sldId="2147470440"/>
            <ac:spMk id="5" creationId="{DA43279B-4E37-7004-1798-10642C59E7F1}"/>
          </ac:spMkLst>
        </pc:spChg>
        <pc:spChg chg="add del mod ord">
          <ac:chgData name="Miranda Quispe, Bruno Sebastian" userId="5df213b2-8b23-43f1-8137-24ac80ef972a" providerId="ADAL" clId="{E965C011-1063-4CD3-8CA5-A8D35C5C287B}" dt="2022-07-25T15:01:36.058" v="238" actId="700"/>
          <ac:spMkLst>
            <pc:docMk/>
            <pc:sldMk cId="3572404631" sldId="2147470440"/>
            <ac:spMk id="6" creationId="{3FA2214D-D247-F638-D8EB-B3F044878B77}"/>
          </ac:spMkLst>
        </pc:spChg>
        <pc:spChg chg="add mod ord">
          <ac:chgData name="Miranda Quispe, Bruno Sebastian" userId="5df213b2-8b23-43f1-8137-24ac80ef972a" providerId="ADAL" clId="{E965C011-1063-4CD3-8CA5-A8D35C5C287B}" dt="2022-07-25T15:17:03.288" v="381" actId="207"/>
          <ac:spMkLst>
            <pc:docMk/>
            <pc:sldMk cId="3572404631" sldId="2147470440"/>
            <ac:spMk id="7" creationId="{834DE61B-69D4-648C-09CD-329073E45B01}"/>
          </ac:spMkLst>
        </pc:spChg>
        <pc:spChg chg="add del mod ord">
          <ac:chgData name="Miranda Quispe, Bruno Sebastian" userId="5df213b2-8b23-43f1-8137-24ac80ef972a" providerId="ADAL" clId="{E965C011-1063-4CD3-8CA5-A8D35C5C287B}" dt="2022-07-25T17:32:21.044" v="1561" actId="20577"/>
          <ac:spMkLst>
            <pc:docMk/>
            <pc:sldMk cId="3572404631" sldId="2147470440"/>
            <ac:spMk id="8" creationId="{E6971E8D-A4BA-1641-A29A-4E7A935C21F1}"/>
          </ac:spMkLst>
        </pc:spChg>
        <pc:spChg chg="add del mod">
          <ac:chgData name="Miranda Quispe, Bruno Sebastian" userId="5df213b2-8b23-43f1-8137-24ac80ef972a" providerId="ADAL" clId="{E965C011-1063-4CD3-8CA5-A8D35C5C287B}" dt="2022-07-25T15:02:18.047" v="292" actId="26606"/>
          <ac:spMkLst>
            <pc:docMk/>
            <pc:sldMk cId="3572404631" sldId="2147470440"/>
            <ac:spMk id="13" creationId="{7BD5A87E-5261-892D-16EF-FF216550302F}"/>
          </ac:spMkLst>
        </pc:spChg>
        <pc:spChg chg="add del mod">
          <ac:chgData name="Miranda Quispe, Bruno Sebastian" userId="5df213b2-8b23-43f1-8137-24ac80ef972a" providerId="ADAL" clId="{E965C011-1063-4CD3-8CA5-A8D35C5C287B}" dt="2022-07-25T17:25:38.663" v="1475"/>
          <ac:spMkLst>
            <pc:docMk/>
            <pc:sldMk cId="3572404631" sldId="2147470440"/>
            <ac:spMk id="19" creationId="{22CDA076-F743-2096-E055-855BEF514C1C}"/>
          </ac:spMkLst>
        </pc:spChg>
        <pc:picChg chg="add del mod">
          <ac:chgData name="Miranda Quispe, Bruno Sebastian" userId="5df213b2-8b23-43f1-8137-24ac80ef972a" providerId="ADAL" clId="{E965C011-1063-4CD3-8CA5-A8D35C5C287B}" dt="2022-07-25T15:13:11.782" v="357" actId="478"/>
          <ac:picMkLst>
            <pc:docMk/>
            <pc:sldMk cId="3572404631" sldId="2147470440"/>
            <ac:picMk id="11" creationId="{A23D5FD0-B762-19F6-DFA4-A26A5B335D4C}"/>
          </ac:picMkLst>
        </pc:picChg>
        <pc:picChg chg="add del mod">
          <ac:chgData name="Miranda Quispe, Bruno Sebastian" userId="5df213b2-8b23-43f1-8137-24ac80ef972a" providerId="ADAL" clId="{E965C011-1063-4CD3-8CA5-A8D35C5C287B}" dt="2022-07-25T15:14:55.253" v="373" actId="478"/>
          <ac:picMkLst>
            <pc:docMk/>
            <pc:sldMk cId="3572404631" sldId="2147470440"/>
            <ac:picMk id="12" creationId="{86223912-5E84-632D-E637-73BBE466EED6}"/>
          </ac:picMkLst>
        </pc:picChg>
        <pc:picChg chg="add del mod">
          <ac:chgData name="Miranda Quispe, Bruno Sebastian" userId="5df213b2-8b23-43f1-8137-24ac80ef972a" providerId="ADAL" clId="{E965C011-1063-4CD3-8CA5-A8D35C5C287B}" dt="2022-07-25T15:23:17.856" v="402" actId="478"/>
          <ac:picMkLst>
            <pc:docMk/>
            <pc:sldMk cId="3572404631" sldId="2147470440"/>
            <ac:picMk id="14" creationId="{C43E3E10-1B84-96D4-D7A7-E801677BEF81}"/>
          </ac:picMkLst>
        </pc:picChg>
        <pc:picChg chg="add del mod">
          <ac:chgData name="Miranda Quispe, Bruno Sebastian" userId="5df213b2-8b23-43f1-8137-24ac80ef972a" providerId="ADAL" clId="{E965C011-1063-4CD3-8CA5-A8D35C5C287B}" dt="2022-07-25T15:06:30.093" v="296" actId="478"/>
          <ac:picMkLst>
            <pc:docMk/>
            <pc:sldMk cId="3572404631" sldId="2147470440"/>
            <ac:picMk id="2050" creationId="{883E5D2A-AD9D-F783-315D-FB2591C84525}"/>
          </ac:picMkLst>
        </pc:picChg>
        <pc:picChg chg="add del mod">
          <ac:chgData name="Miranda Quispe, Bruno Sebastian" userId="5df213b2-8b23-43f1-8137-24ac80ef972a" providerId="ADAL" clId="{E965C011-1063-4CD3-8CA5-A8D35C5C287B}" dt="2022-07-25T15:22:23.581" v="392" actId="478"/>
          <ac:picMkLst>
            <pc:docMk/>
            <pc:sldMk cId="3572404631" sldId="2147470440"/>
            <ac:picMk id="2052" creationId="{6E47FF51-C244-21A8-DB19-D0A30F4D750C}"/>
          </ac:picMkLst>
        </pc:picChg>
        <pc:picChg chg="add del">
          <ac:chgData name="Miranda Quispe, Bruno Sebastian" userId="5df213b2-8b23-43f1-8137-24ac80ef972a" providerId="ADAL" clId="{E965C011-1063-4CD3-8CA5-A8D35C5C287B}" dt="2022-07-25T15:26:20.672" v="404" actId="478"/>
          <ac:picMkLst>
            <pc:docMk/>
            <pc:sldMk cId="3572404631" sldId="2147470440"/>
            <ac:picMk id="2054" creationId="{AA633738-12AB-11DF-F044-176640DF01E1}"/>
          </ac:picMkLst>
        </pc:picChg>
        <pc:picChg chg="add del mod">
          <ac:chgData name="Miranda Quispe, Bruno Sebastian" userId="5df213b2-8b23-43f1-8137-24ac80ef972a" providerId="ADAL" clId="{E965C011-1063-4CD3-8CA5-A8D35C5C287B}" dt="2022-07-25T15:26:52.634" v="414"/>
          <ac:picMkLst>
            <pc:docMk/>
            <pc:sldMk cId="3572404631" sldId="2147470440"/>
            <ac:picMk id="2056" creationId="{9D32262A-7418-C8BE-E84B-B83FF262FEC4}"/>
          </ac:picMkLst>
        </pc:picChg>
        <pc:picChg chg="add del mod">
          <ac:chgData name="Miranda Quispe, Bruno Sebastian" userId="5df213b2-8b23-43f1-8137-24ac80ef972a" providerId="ADAL" clId="{E965C011-1063-4CD3-8CA5-A8D35C5C287B}" dt="2022-07-25T15:26:51.665" v="412"/>
          <ac:picMkLst>
            <pc:docMk/>
            <pc:sldMk cId="3572404631" sldId="2147470440"/>
            <ac:picMk id="2058" creationId="{A603C090-FD2B-F702-3B19-6D64E80B2F1C}"/>
          </ac:picMkLst>
        </pc:picChg>
        <pc:picChg chg="add mod">
          <ac:chgData name="Miranda Quispe, Bruno Sebastian" userId="5df213b2-8b23-43f1-8137-24ac80ef972a" providerId="ADAL" clId="{E965C011-1063-4CD3-8CA5-A8D35C5C287B}" dt="2022-07-25T15:33:10.542" v="620" actId="1076"/>
          <ac:picMkLst>
            <pc:docMk/>
            <pc:sldMk cId="3572404631" sldId="2147470440"/>
            <ac:picMk id="2060" creationId="{64009C4B-A332-5E33-8D76-8C575FB38D0F}"/>
          </ac:picMkLst>
        </pc:picChg>
      </pc:sldChg>
      <pc:sldChg chg="addSp delSp modSp new mod modClrScheme chgLayout">
        <pc:chgData name="Miranda Quispe, Bruno Sebastian" userId="5df213b2-8b23-43f1-8137-24ac80ef972a" providerId="ADAL" clId="{E965C011-1063-4CD3-8CA5-A8D35C5C287B}" dt="2022-09-05T16:32:16.439" v="23148" actId="20577"/>
        <pc:sldMkLst>
          <pc:docMk/>
          <pc:sldMk cId="435619531" sldId="2147470441"/>
        </pc:sldMkLst>
        <pc:spChg chg="del mod ord">
          <ac:chgData name="Miranda Quispe, Bruno Sebastian" userId="5df213b2-8b23-43f1-8137-24ac80ef972a" providerId="ADAL" clId="{E965C011-1063-4CD3-8CA5-A8D35C5C287B}" dt="2022-07-25T15:35:54.125" v="671" actId="700"/>
          <ac:spMkLst>
            <pc:docMk/>
            <pc:sldMk cId="435619531" sldId="2147470441"/>
            <ac:spMk id="2" creationId="{25718AD4-6E86-048B-876C-83ECF2EABEC7}"/>
          </ac:spMkLst>
        </pc:spChg>
        <pc:spChg chg="del mod ord">
          <ac:chgData name="Miranda Quispe, Bruno Sebastian" userId="5df213b2-8b23-43f1-8137-24ac80ef972a" providerId="ADAL" clId="{E965C011-1063-4CD3-8CA5-A8D35C5C287B}" dt="2022-07-25T15:35:54.125" v="671" actId="700"/>
          <ac:spMkLst>
            <pc:docMk/>
            <pc:sldMk cId="435619531" sldId="2147470441"/>
            <ac:spMk id="3" creationId="{E118FFD9-C211-FE4D-EABD-1E0813498F0B}"/>
          </ac:spMkLst>
        </pc:spChg>
        <pc:spChg chg="add del mod ord">
          <ac:chgData name="Miranda Quispe, Bruno Sebastian" userId="5df213b2-8b23-43f1-8137-24ac80ef972a" providerId="ADAL" clId="{E965C011-1063-4CD3-8CA5-A8D35C5C287B}" dt="2022-07-25T15:36:03.268" v="672" actId="700"/>
          <ac:spMkLst>
            <pc:docMk/>
            <pc:sldMk cId="435619531" sldId="2147470441"/>
            <ac:spMk id="4" creationId="{CF53523D-F3EF-3F27-0D62-22FCAA1EE8A8}"/>
          </ac:spMkLst>
        </pc:spChg>
        <pc:spChg chg="add del mod ord">
          <ac:chgData name="Miranda Quispe, Bruno Sebastian" userId="5df213b2-8b23-43f1-8137-24ac80ef972a" providerId="ADAL" clId="{E965C011-1063-4CD3-8CA5-A8D35C5C287B}" dt="2022-07-25T15:36:03.268" v="672" actId="700"/>
          <ac:spMkLst>
            <pc:docMk/>
            <pc:sldMk cId="435619531" sldId="2147470441"/>
            <ac:spMk id="5" creationId="{5E638275-9731-ABC6-6AA8-3BC169AC7D9C}"/>
          </ac:spMkLst>
        </pc:spChg>
        <pc:spChg chg="add mod ord">
          <ac:chgData name="Miranda Quispe, Bruno Sebastian" userId="5df213b2-8b23-43f1-8137-24ac80ef972a" providerId="ADAL" clId="{E965C011-1063-4CD3-8CA5-A8D35C5C287B}" dt="2022-07-25T15:38:06.458" v="716" actId="700"/>
          <ac:spMkLst>
            <pc:docMk/>
            <pc:sldMk cId="435619531" sldId="2147470441"/>
            <ac:spMk id="6" creationId="{F4CD7451-E5D2-F328-2091-031360BDF5A7}"/>
          </ac:spMkLst>
        </pc:spChg>
        <pc:spChg chg="add del mod ord">
          <ac:chgData name="Miranda Quispe, Bruno Sebastian" userId="5df213b2-8b23-43f1-8137-24ac80ef972a" providerId="ADAL" clId="{E965C011-1063-4CD3-8CA5-A8D35C5C287B}" dt="2022-07-25T15:37:29.387" v="713" actId="478"/>
          <ac:spMkLst>
            <pc:docMk/>
            <pc:sldMk cId="435619531" sldId="2147470441"/>
            <ac:spMk id="7" creationId="{D205A510-7A01-DB26-E567-218FB4875229}"/>
          </ac:spMkLst>
        </pc:spChg>
        <pc:spChg chg="mod">
          <ac:chgData name="Miranda Quispe, Bruno Sebastian" userId="5df213b2-8b23-43f1-8137-24ac80ef972a" providerId="ADAL" clId="{E965C011-1063-4CD3-8CA5-A8D35C5C287B}" dt="2022-07-25T15:37:30.895" v="714"/>
          <ac:spMkLst>
            <pc:docMk/>
            <pc:sldMk cId="435619531" sldId="2147470441"/>
            <ac:spMk id="10" creationId="{8AFD6283-1501-4E9E-2DFA-156B6414549C}"/>
          </ac:spMkLst>
        </pc:spChg>
        <pc:spChg chg="mod">
          <ac:chgData name="Miranda Quispe, Bruno Sebastian" userId="5df213b2-8b23-43f1-8137-24ac80ef972a" providerId="ADAL" clId="{E965C011-1063-4CD3-8CA5-A8D35C5C287B}" dt="2022-07-25T15:37:30.895" v="714"/>
          <ac:spMkLst>
            <pc:docMk/>
            <pc:sldMk cId="435619531" sldId="2147470441"/>
            <ac:spMk id="11" creationId="{97FCEDFA-4B3C-A9ED-806A-CBC86BBF5EC3}"/>
          </ac:spMkLst>
        </pc:spChg>
        <pc:spChg chg="mod">
          <ac:chgData name="Miranda Quispe, Bruno Sebastian" userId="5df213b2-8b23-43f1-8137-24ac80ef972a" providerId="ADAL" clId="{E965C011-1063-4CD3-8CA5-A8D35C5C287B}" dt="2022-07-25T15:37:30.895" v="714"/>
          <ac:spMkLst>
            <pc:docMk/>
            <pc:sldMk cId="435619531" sldId="2147470441"/>
            <ac:spMk id="12" creationId="{0E390548-93BF-913C-AB3D-71814C9C7D99}"/>
          </ac:spMkLst>
        </pc:spChg>
        <pc:spChg chg="mod">
          <ac:chgData name="Miranda Quispe, Bruno Sebastian" userId="5df213b2-8b23-43f1-8137-24ac80ef972a" providerId="ADAL" clId="{E965C011-1063-4CD3-8CA5-A8D35C5C287B}" dt="2022-07-25T15:37:30.895" v="714"/>
          <ac:spMkLst>
            <pc:docMk/>
            <pc:sldMk cId="435619531" sldId="2147470441"/>
            <ac:spMk id="13" creationId="{F3A6A0A6-2DF1-179D-E37D-3D8F607FFCEF}"/>
          </ac:spMkLst>
        </pc:spChg>
        <pc:spChg chg="mod">
          <ac:chgData name="Miranda Quispe, Bruno Sebastian" userId="5df213b2-8b23-43f1-8137-24ac80ef972a" providerId="ADAL" clId="{E965C011-1063-4CD3-8CA5-A8D35C5C287B}" dt="2022-07-25T15:37:46.116" v="715"/>
          <ac:spMkLst>
            <pc:docMk/>
            <pc:sldMk cId="435619531" sldId="2147470441"/>
            <ac:spMk id="16" creationId="{996A0CB3-1CF1-958F-20F5-DAB061513B34}"/>
          </ac:spMkLst>
        </pc:spChg>
        <pc:spChg chg="mod">
          <ac:chgData name="Miranda Quispe, Bruno Sebastian" userId="5df213b2-8b23-43f1-8137-24ac80ef972a" providerId="ADAL" clId="{E965C011-1063-4CD3-8CA5-A8D35C5C287B}" dt="2022-07-25T15:37:46.116" v="715"/>
          <ac:spMkLst>
            <pc:docMk/>
            <pc:sldMk cId="435619531" sldId="2147470441"/>
            <ac:spMk id="17" creationId="{6EB52784-16E3-066E-C84B-8275F18B2687}"/>
          </ac:spMkLst>
        </pc:spChg>
        <pc:spChg chg="mod">
          <ac:chgData name="Miranda Quispe, Bruno Sebastian" userId="5df213b2-8b23-43f1-8137-24ac80ef972a" providerId="ADAL" clId="{E965C011-1063-4CD3-8CA5-A8D35C5C287B}" dt="2022-07-25T15:37:46.116" v="715"/>
          <ac:spMkLst>
            <pc:docMk/>
            <pc:sldMk cId="435619531" sldId="2147470441"/>
            <ac:spMk id="18" creationId="{DD97EC93-713D-75A7-A5D2-7BE0A2052C55}"/>
          </ac:spMkLst>
        </pc:spChg>
        <pc:spChg chg="mod">
          <ac:chgData name="Miranda Quispe, Bruno Sebastian" userId="5df213b2-8b23-43f1-8137-24ac80ef972a" providerId="ADAL" clId="{E965C011-1063-4CD3-8CA5-A8D35C5C287B}" dt="2022-07-25T15:37:46.116" v="715"/>
          <ac:spMkLst>
            <pc:docMk/>
            <pc:sldMk cId="435619531" sldId="2147470441"/>
            <ac:spMk id="19" creationId="{80AC6C21-0E2C-A6D3-DB11-3D263357A62C}"/>
          </ac:spMkLst>
        </pc:spChg>
        <pc:spChg chg="add del mod ord">
          <ac:chgData name="Miranda Quispe, Bruno Sebastian" userId="5df213b2-8b23-43f1-8137-24ac80ef972a" providerId="ADAL" clId="{E965C011-1063-4CD3-8CA5-A8D35C5C287B}" dt="2022-07-25T15:38:08.904" v="717" actId="478"/>
          <ac:spMkLst>
            <pc:docMk/>
            <pc:sldMk cId="435619531" sldId="2147470441"/>
            <ac:spMk id="20" creationId="{4EC4E8C4-1871-7883-8D71-A024A5A08AD3}"/>
          </ac:spMkLst>
        </pc:spChg>
        <pc:grpChg chg="add mod">
          <ac:chgData name="Miranda Quispe, Bruno Sebastian" userId="5df213b2-8b23-43f1-8137-24ac80ef972a" providerId="ADAL" clId="{E965C011-1063-4CD3-8CA5-A8D35C5C287B}" dt="2022-07-25T15:37:30.895" v="714"/>
          <ac:grpSpMkLst>
            <pc:docMk/>
            <pc:sldMk cId="435619531" sldId="2147470441"/>
            <ac:grpSpMk id="8" creationId="{3DCBB27B-B87E-E322-78A4-C7DCCC6C2E3B}"/>
          </ac:grpSpMkLst>
        </pc:grpChg>
        <pc:grpChg chg="add mod">
          <ac:chgData name="Miranda Quispe, Bruno Sebastian" userId="5df213b2-8b23-43f1-8137-24ac80ef972a" providerId="ADAL" clId="{E965C011-1063-4CD3-8CA5-A8D35C5C287B}" dt="2022-07-25T15:37:46.116" v="715"/>
          <ac:grpSpMkLst>
            <pc:docMk/>
            <pc:sldMk cId="435619531" sldId="2147470441"/>
            <ac:grpSpMk id="14" creationId="{D7994C51-BCE2-E50A-3968-73A9262DF421}"/>
          </ac:grpSpMkLst>
        </pc:grpChg>
        <pc:graphicFrameChg chg="mod modGraphic">
          <ac:chgData name="Miranda Quispe, Bruno Sebastian" userId="5df213b2-8b23-43f1-8137-24ac80ef972a" providerId="ADAL" clId="{E965C011-1063-4CD3-8CA5-A8D35C5C287B}" dt="2022-08-29T21:09:06.703" v="18962"/>
          <ac:graphicFrameMkLst>
            <pc:docMk/>
            <pc:sldMk cId="435619531" sldId="2147470441"/>
            <ac:graphicFrameMk id="9" creationId="{C92EB1DA-E436-4E5E-6063-A52E69EE45FE}"/>
          </ac:graphicFrameMkLst>
        </pc:graphicFrameChg>
        <pc:graphicFrameChg chg="mod modGraphic">
          <ac:chgData name="Miranda Quispe, Bruno Sebastian" userId="5df213b2-8b23-43f1-8137-24ac80ef972a" providerId="ADAL" clId="{E965C011-1063-4CD3-8CA5-A8D35C5C287B}" dt="2022-09-05T16:32:16.439" v="23148" actId="20577"/>
          <ac:graphicFrameMkLst>
            <pc:docMk/>
            <pc:sldMk cId="435619531" sldId="2147470441"/>
            <ac:graphicFrameMk id="15" creationId="{C5BFC43B-56E0-F5DD-3731-3B0B561F1E5C}"/>
          </ac:graphicFrameMkLst>
        </pc:graphicFrameChg>
      </pc:sldChg>
      <pc:sldChg chg="new del">
        <pc:chgData name="Miranda Quispe, Bruno Sebastian" userId="5df213b2-8b23-43f1-8137-24ac80ef972a" providerId="ADAL" clId="{E965C011-1063-4CD3-8CA5-A8D35C5C287B}" dt="2022-07-25T15:31:41.493" v="443" actId="680"/>
        <pc:sldMkLst>
          <pc:docMk/>
          <pc:sldMk cId="2252053616" sldId="2147470441"/>
        </pc:sldMkLst>
      </pc:sldChg>
      <pc:sldChg chg="addSp delSp modSp new mod">
        <pc:chgData name="Miranda Quispe, Bruno Sebastian" userId="5df213b2-8b23-43f1-8137-24ac80ef972a" providerId="ADAL" clId="{E965C011-1063-4CD3-8CA5-A8D35C5C287B}" dt="2022-07-25T15:51:37.315" v="758" actId="1076"/>
        <pc:sldMkLst>
          <pc:docMk/>
          <pc:sldMk cId="1310895184" sldId="2147470442"/>
        </pc:sldMkLst>
        <pc:spChg chg="mod">
          <ac:chgData name="Miranda Quispe, Bruno Sebastian" userId="5df213b2-8b23-43f1-8137-24ac80ef972a" providerId="ADAL" clId="{E965C011-1063-4CD3-8CA5-A8D35C5C287B}" dt="2022-07-25T15:51:09.892" v="750" actId="20577"/>
          <ac:spMkLst>
            <pc:docMk/>
            <pc:sldMk cId="1310895184" sldId="2147470442"/>
            <ac:spMk id="3" creationId="{E38F89CB-F0D0-B0B7-ED68-15F04CA265F9}"/>
          </ac:spMkLst>
        </pc:spChg>
        <pc:spChg chg="del">
          <ac:chgData name="Miranda Quispe, Bruno Sebastian" userId="5df213b2-8b23-43f1-8137-24ac80ef972a" providerId="ADAL" clId="{E965C011-1063-4CD3-8CA5-A8D35C5C287B}" dt="2022-07-25T15:51:13.566" v="751" actId="478"/>
          <ac:spMkLst>
            <pc:docMk/>
            <pc:sldMk cId="1310895184" sldId="2147470442"/>
            <ac:spMk id="4" creationId="{32A03CD5-E8EB-983A-98D2-2A61EFD64624}"/>
          </ac:spMkLst>
        </pc:spChg>
        <pc:spChg chg="mod">
          <ac:chgData name="Miranda Quispe, Bruno Sebastian" userId="5df213b2-8b23-43f1-8137-24ac80ef972a" providerId="ADAL" clId="{E965C011-1063-4CD3-8CA5-A8D35C5C287B}" dt="2022-07-25T15:51:26.514" v="754"/>
          <ac:spMkLst>
            <pc:docMk/>
            <pc:sldMk cId="1310895184" sldId="2147470442"/>
            <ac:spMk id="10" creationId="{195EAAD8-42C0-68FC-D170-CA3B4A61E07A}"/>
          </ac:spMkLst>
        </pc:spChg>
        <pc:spChg chg="mod">
          <ac:chgData name="Miranda Quispe, Bruno Sebastian" userId="5df213b2-8b23-43f1-8137-24ac80ef972a" providerId="ADAL" clId="{E965C011-1063-4CD3-8CA5-A8D35C5C287B}" dt="2022-07-25T15:51:26.514" v="754"/>
          <ac:spMkLst>
            <pc:docMk/>
            <pc:sldMk cId="1310895184" sldId="2147470442"/>
            <ac:spMk id="11" creationId="{679656A9-4A68-40D3-E52C-9D3BB5555F4D}"/>
          </ac:spMkLst>
        </pc:spChg>
        <pc:grpChg chg="add mod">
          <ac:chgData name="Miranda Quispe, Bruno Sebastian" userId="5df213b2-8b23-43f1-8137-24ac80ef972a" providerId="ADAL" clId="{E965C011-1063-4CD3-8CA5-A8D35C5C287B}" dt="2022-07-25T15:51:37.315" v="758" actId="1076"/>
          <ac:grpSpMkLst>
            <pc:docMk/>
            <pc:sldMk cId="1310895184" sldId="2147470442"/>
            <ac:grpSpMk id="6" creationId="{FCD07EFC-C0CA-4D01-F3D3-753951FE8D93}"/>
          </ac:grpSpMkLst>
        </pc:grpChg>
        <pc:grpChg chg="mod">
          <ac:chgData name="Miranda Quispe, Bruno Sebastian" userId="5df213b2-8b23-43f1-8137-24ac80ef972a" providerId="ADAL" clId="{E965C011-1063-4CD3-8CA5-A8D35C5C287B}" dt="2022-07-25T15:51:26.514" v="754"/>
          <ac:grpSpMkLst>
            <pc:docMk/>
            <pc:sldMk cId="1310895184" sldId="2147470442"/>
            <ac:grpSpMk id="7" creationId="{BE0DD04A-F101-4B48-10C6-D484A41D600F}"/>
          </ac:grpSpMkLst>
        </pc:grpChg>
        <pc:picChg chg="add del mod">
          <ac:chgData name="Miranda Quispe, Bruno Sebastian" userId="5df213b2-8b23-43f1-8137-24ac80ef972a" providerId="ADAL" clId="{E965C011-1063-4CD3-8CA5-A8D35C5C287B}" dt="2022-07-25T15:51:19.917" v="753" actId="478"/>
          <ac:picMkLst>
            <pc:docMk/>
            <pc:sldMk cId="1310895184" sldId="2147470442"/>
            <ac:picMk id="5" creationId="{B6D88B32-AC07-D694-D568-9E8A2A8CA4B2}"/>
          </ac:picMkLst>
        </pc:picChg>
        <pc:picChg chg="mod">
          <ac:chgData name="Miranda Quispe, Bruno Sebastian" userId="5df213b2-8b23-43f1-8137-24ac80ef972a" providerId="ADAL" clId="{E965C011-1063-4CD3-8CA5-A8D35C5C287B}" dt="2022-07-25T15:51:26.514" v="754"/>
          <ac:picMkLst>
            <pc:docMk/>
            <pc:sldMk cId="1310895184" sldId="2147470442"/>
            <ac:picMk id="9" creationId="{21435AA8-6FDF-4DA4-E5F2-72ECABB06FE8}"/>
          </ac:picMkLst>
        </pc:picChg>
        <pc:cxnChg chg="mod">
          <ac:chgData name="Miranda Quispe, Bruno Sebastian" userId="5df213b2-8b23-43f1-8137-24ac80ef972a" providerId="ADAL" clId="{E965C011-1063-4CD3-8CA5-A8D35C5C287B}" dt="2022-07-25T15:51:26.514" v="754"/>
          <ac:cxnSpMkLst>
            <pc:docMk/>
            <pc:sldMk cId="1310895184" sldId="2147470442"/>
            <ac:cxnSpMk id="8" creationId="{D22C9042-3CE1-1573-296F-D62ABFE9F18A}"/>
          </ac:cxnSpMkLst>
        </pc:cxnChg>
      </pc:sldChg>
      <pc:sldChg chg="addSp delSp modSp new mod modClrScheme chgLayout">
        <pc:chgData name="Miranda Quispe, Bruno Sebastian" userId="5df213b2-8b23-43f1-8137-24ac80ef972a" providerId="ADAL" clId="{E965C011-1063-4CD3-8CA5-A8D35C5C287B}" dt="2022-08-11T17:29:29.640" v="15123" actId="13822"/>
        <pc:sldMkLst>
          <pc:docMk/>
          <pc:sldMk cId="2757201866" sldId="2147470443"/>
        </pc:sldMkLst>
        <pc:spChg chg="mod ord">
          <ac:chgData name="Miranda Quispe, Bruno Sebastian" userId="5df213b2-8b23-43f1-8137-24ac80ef972a" providerId="ADAL" clId="{E965C011-1063-4CD3-8CA5-A8D35C5C287B}" dt="2022-07-25T16:22:49.013" v="760" actId="700"/>
          <ac:spMkLst>
            <pc:docMk/>
            <pc:sldMk cId="2757201866" sldId="2147470443"/>
            <ac:spMk id="2" creationId="{BA9BBC80-83D3-F83D-1D2F-2A194D343741}"/>
          </ac:spMkLst>
        </pc:spChg>
        <pc:spChg chg="del">
          <ac:chgData name="Miranda Quispe, Bruno Sebastian" userId="5df213b2-8b23-43f1-8137-24ac80ef972a" providerId="ADAL" clId="{E965C011-1063-4CD3-8CA5-A8D35C5C287B}" dt="2022-07-25T16:22:49.013" v="760" actId="700"/>
          <ac:spMkLst>
            <pc:docMk/>
            <pc:sldMk cId="2757201866" sldId="2147470443"/>
            <ac:spMk id="3" creationId="{BE62B66A-9F57-9918-A77A-1D14581C249B}"/>
          </ac:spMkLst>
        </pc:spChg>
        <pc:spChg chg="del mod ord">
          <ac:chgData name="Miranda Quispe, Bruno Sebastian" userId="5df213b2-8b23-43f1-8137-24ac80ef972a" providerId="ADAL" clId="{E965C011-1063-4CD3-8CA5-A8D35C5C287B}" dt="2022-07-25T16:22:49.013" v="760" actId="700"/>
          <ac:spMkLst>
            <pc:docMk/>
            <pc:sldMk cId="2757201866" sldId="2147470443"/>
            <ac:spMk id="4" creationId="{7CE685AC-668D-A1F2-8170-DA667948E5E4}"/>
          </ac:spMkLst>
        </pc:spChg>
        <pc:spChg chg="add mod ord">
          <ac:chgData name="Miranda Quispe, Bruno Sebastian" userId="5df213b2-8b23-43f1-8137-24ac80ef972a" providerId="ADAL" clId="{E965C011-1063-4CD3-8CA5-A8D35C5C287B}" dt="2022-07-25T16:22:59.116" v="793" actId="20577"/>
          <ac:spMkLst>
            <pc:docMk/>
            <pc:sldMk cId="2757201866" sldId="2147470443"/>
            <ac:spMk id="5" creationId="{FE09F5BA-278A-94CD-2272-B8A426186E21}"/>
          </ac:spMkLst>
        </pc:spChg>
        <pc:spChg chg="mod ord topLvl">
          <ac:chgData name="Miranda Quispe, Bruno Sebastian" userId="5df213b2-8b23-43f1-8137-24ac80ef972a" providerId="ADAL" clId="{E965C011-1063-4CD3-8CA5-A8D35C5C287B}" dt="2022-07-25T16:25:30.584" v="815" actId="164"/>
          <ac:spMkLst>
            <pc:docMk/>
            <pc:sldMk cId="2757201866" sldId="2147470443"/>
            <ac:spMk id="9" creationId="{5B960476-36AC-CCA1-5DA7-46D43F64E9B0}"/>
          </ac:spMkLst>
        </pc:spChg>
        <pc:spChg chg="mod">
          <ac:chgData name="Miranda Quispe, Bruno Sebastian" userId="5df213b2-8b23-43f1-8137-24ac80ef972a" providerId="ADAL" clId="{E965C011-1063-4CD3-8CA5-A8D35C5C287B}" dt="2022-08-10T17:12:28.751" v="12539" actId="14100"/>
          <ac:spMkLst>
            <pc:docMk/>
            <pc:sldMk cId="2757201866" sldId="2147470443"/>
            <ac:spMk id="12" creationId="{4CFDAE0F-E078-45BB-A301-9AE557F55C5E}"/>
          </ac:spMkLst>
        </pc:spChg>
        <pc:spChg chg="add del mod">
          <ac:chgData name="Miranda Quispe, Bruno Sebastian" userId="5df213b2-8b23-43f1-8137-24ac80ef972a" providerId="ADAL" clId="{E965C011-1063-4CD3-8CA5-A8D35C5C287B}" dt="2022-07-25T16:25:04.928" v="807"/>
          <ac:spMkLst>
            <pc:docMk/>
            <pc:sldMk cId="2757201866" sldId="2147470443"/>
            <ac:spMk id="13" creationId="{F22A2FCD-068B-7412-EE9B-FF8DD1D7F0C9}"/>
          </ac:spMkLst>
        </pc:spChg>
        <pc:spChg chg="add mod">
          <ac:chgData name="Miranda Quispe, Bruno Sebastian" userId="5df213b2-8b23-43f1-8137-24ac80ef972a" providerId="ADAL" clId="{E965C011-1063-4CD3-8CA5-A8D35C5C287B}" dt="2022-07-25T16:42:15.792" v="1075" actId="1076"/>
          <ac:spMkLst>
            <pc:docMk/>
            <pc:sldMk cId="2757201866" sldId="2147470443"/>
            <ac:spMk id="17" creationId="{E6E3C68F-A397-204B-0ECE-EB88F2205ACD}"/>
          </ac:spMkLst>
        </pc:spChg>
        <pc:spChg chg="add mod">
          <ac:chgData name="Miranda Quispe, Bruno Sebastian" userId="5df213b2-8b23-43f1-8137-24ac80ef972a" providerId="ADAL" clId="{E965C011-1063-4CD3-8CA5-A8D35C5C287B}" dt="2022-07-25T16:42:15.792" v="1075" actId="1076"/>
          <ac:spMkLst>
            <pc:docMk/>
            <pc:sldMk cId="2757201866" sldId="2147470443"/>
            <ac:spMk id="18" creationId="{889C0D9A-6B3C-BA1B-B887-D1C25A08A477}"/>
          </ac:spMkLst>
        </pc:spChg>
        <pc:spChg chg="add mod">
          <ac:chgData name="Miranda Quispe, Bruno Sebastian" userId="5df213b2-8b23-43f1-8137-24ac80ef972a" providerId="ADAL" clId="{E965C011-1063-4CD3-8CA5-A8D35C5C287B}" dt="2022-08-11T17:25:29.454" v="15119" actId="20577"/>
          <ac:spMkLst>
            <pc:docMk/>
            <pc:sldMk cId="2757201866" sldId="2147470443"/>
            <ac:spMk id="19" creationId="{B463160D-17A7-09D5-F4B7-F6049223FEE4}"/>
          </ac:spMkLst>
        </pc:spChg>
        <pc:spChg chg="add del mod">
          <ac:chgData name="Miranda Quispe, Bruno Sebastian" userId="5df213b2-8b23-43f1-8137-24ac80ef972a" providerId="ADAL" clId="{E965C011-1063-4CD3-8CA5-A8D35C5C287B}" dt="2022-07-25T16:40:33.308" v="1010" actId="478"/>
          <ac:spMkLst>
            <pc:docMk/>
            <pc:sldMk cId="2757201866" sldId="2147470443"/>
            <ac:spMk id="20" creationId="{83EC7D69-1B2C-A82C-6EC2-FB7CBDFD583C}"/>
          </ac:spMkLst>
        </pc:spChg>
        <pc:spChg chg="add mod">
          <ac:chgData name="Miranda Quispe, Bruno Sebastian" userId="5df213b2-8b23-43f1-8137-24ac80ef972a" providerId="ADAL" clId="{E965C011-1063-4CD3-8CA5-A8D35C5C287B}" dt="2022-07-25T16:40:38.900" v="1011" actId="1076"/>
          <ac:spMkLst>
            <pc:docMk/>
            <pc:sldMk cId="2757201866" sldId="2147470443"/>
            <ac:spMk id="21" creationId="{30F02C2B-9B00-21F6-2F3C-F99911176DD6}"/>
          </ac:spMkLst>
        </pc:spChg>
        <pc:spChg chg="add del mod">
          <ac:chgData name="Miranda Quispe, Bruno Sebastian" userId="5df213b2-8b23-43f1-8137-24ac80ef972a" providerId="ADAL" clId="{E965C011-1063-4CD3-8CA5-A8D35C5C287B}" dt="2022-07-25T16:41:39.947" v="1043" actId="478"/>
          <ac:spMkLst>
            <pc:docMk/>
            <pc:sldMk cId="2757201866" sldId="2147470443"/>
            <ac:spMk id="22" creationId="{20452E59-8193-211D-F0B3-DD6AAE82BEE6}"/>
          </ac:spMkLst>
        </pc:spChg>
        <pc:spChg chg="add mod">
          <ac:chgData name="Miranda Quispe, Bruno Sebastian" userId="5df213b2-8b23-43f1-8137-24ac80ef972a" providerId="ADAL" clId="{E965C011-1063-4CD3-8CA5-A8D35C5C287B}" dt="2022-07-25T16:43:14.514" v="1138" actId="113"/>
          <ac:spMkLst>
            <pc:docMk/>
            <pc:sldMk cId="2757201866" sldId="2147470443"/>
            <ac:spMk id="23" creationId="{F46F56C1-C562-5955-0C0C-74F9F46E7B68}"/>
          </ac:spMkLst>
        </pc:spChg>
        <pc:grpChg chg="add del mod">
          <ac:chgData name="Miranda Quispe, Bruno Sebastian" userId="5df213b2-8b23-43f1-8137-24ac80ef972a" providerId="ADAL" clId="{E965C011-1063-4CD3-8CA5-A8D35C5C287B}" dt="2022-07-25T16:25:04.926" v="805" actId="478"/>
          <ac:grpSpMkLst>
            <pc:docMk/>
            <pc:sldMk cId="2757201866" sldId="2147470443"/>
            <ac:grpSpMk id="7" creationId="{8AAC5AAC-ACDD-CDC9-28B4-8627A5A150AE}"/>
          </ac:grpSpMkLst>
        </pc:grpChg>
        <pc:grpChg chg="add mod">
          <ac:chgData name="Miranda Quispe, Bruno Sebastian" userId="5df213b2-8b23-43f1-8137-24ac80ef972a" providerId="ADAL" clId="{E965C011-1063-4CD3-8CA5-A8D35C5C287B}" dt="2022-08-11T17:27:18.673" v="15122" actId="1076"/>
          <ac:grpSpMkLst>
            <pc:docMk/>
            <pc:sldMk cId="2757201866" sldId="2147470443"/>
            <ac:grpSpMk id="10" creationId="{C1F2C430-EE7C-9EED-FB9C-FDD68AA490EB}"/>
          </ac:grpSpMkLst>
        </pc:grpChg>
        <pc:grpChg chg="add mod">
          <ac:chgData name="Miranda Quispe, Bruno Sebastian" userId="5df213b2-8b23-43f1-8137-24ac80ef972a" providerId="ADAL" clId="{E965C011-1063-4CD3-8CA5-A8D35C5C287B}" dt="2022-07-25T17:01:37.226" v="1189" actId="1076"/>
          <ac:grpSpMkLst>
            <pc:docMk/>
            <pc:sldMk cId="2757201866" sldId="2147470443"/>
            <ac:grpSpMk id="16" creationId="{AB22F153-80A7-5BB5-5195-08CA7B2168BD}"/>
          </ac:grpSpMkLst>
        </pc:grpChg>
        <pc:picChg chg="add del mod">
          <ac:chgData name="Miranda Quispe, Bruno Sebastian" userId="5df213b2-8b23-43f1-8137-24ac80ef972a" providerId="ADAL" clId="{E965C011-1063-4CD3-8CA5-A8D35C5C287B}" dt="2022-07-25T16:23:14.321" v="795"/>
          <ac:picMkLst>
            <pc:docMk/>
            <pc:sldMk cId="2757201866" sldId="2147470443"/>
            <ac:picMk id="6" creationId="{0CFA470C-133B-67C0-5784-F9A87EA0E7DC}"/>
          </ac:picMkLst>
        </pc:picChg>
        <pc:picChg chg="del mod topLvl">
          <ac:chgData name="Miranda Quispe, Bruno Sebastian" userId="5df213b2-8b23-43f1-8137-24ac80ef972a" providerId="ADAL" clId="{E965C011-1063-4CD3-8CA5-A8D35C5C287B}" dt="2022-07-25T16:25:04.926" v="805" actId="478"/>
          <ac:picMkLst>
            <pc:docMk/>
            <pc:sldMk cId="2757201866" sldId="2147470443"/>
            <ac:picMk id="8" creationId="{BF9E0232-6B71-336A-B7F5-6BAC567ADF48}"/>
          </ac:picMkLst>
        </pc:picChg>
        <pc:picChg chg="mod">
          <ac:chgData name="Miranda Quispe, Bruno Sebastian" userId="5df213b2-8b23-43f1-8137-24ac80ef972a" providerId="ADAL" clId="{E965C011-1063-4CD3-8CA5-A8D35C5C287B}" dt="2022-07-25T16:23:41.633" v="802" actId="1076"/>
          <ac:picMkLst>
            <pc:docMk/>
            <pc:sldMk cId="2757201866" sldId="2147470443"/>
            <ac:picMk id="11" creationId="{808AFB0B-07BC-3FED-DC1A-FB45EA29C8F5}"/>
          </ac:picMkLst>
        </pc:picChg>
        <pc:picChg chg="add mod">
          <ac:chgData name="Miranda Quispe, Bruno Sebastian" userId="5df213b2-8b23-43f1-8137-24ac80ef972a" providerId="ADAL" clId="{E965C011-1063-4CD3-8CA5-A8D35C5C287B}" dt="2022-07-25T16:25:30.584" v="815" actId="164"/>
          <ac:picMkLst>
            <pc:docMk/>
            <pc:sldMk cId="2757201866" sldId="2147470443"/>
            <ac:picMk id="15" creationId="{A24150C2-0BDD-DDB6-0913-95598C55A496}"/>
          </ac:picMkLst>
        </pc:picChg>
        <pc:cxnChg chg="add mod">
          <ac:chgData name="Miranda Quispe, Bruno Sebastian" userId="5df213b2-8b23-43f1-8137-24ac80ef972a" providerId="ADAL" clId="{E965C011-1063-4CD3-8CA5-A8D35C5C287B}" dt="2022-08-11T17:29:29.640" v="15123" actId="13822"/>
          <ac:cxnSpMkLst>
            <pc:docMk/>
            <pc:sldMk cId="2757201866" sldId="2147470443"/>
            <ac:cxnSpMk id="4" creationId="{77EBF455-39E0-E088-D5AC-9B8482052C61}"/>
          </ac:cxnSpMkLst>
        </pc:cxnChg>
      </pc:sldChg>
      <pc:sldChg chg="addSp delSp modSp new mod setBg">
        <pc:chgData name="Miranda Quispe, Bruno Sebastian" userId="5df213b2-8b23-43f1-8137-24ac80ef972a" providerId="ADAL" clId="{E965C011-1063-4CD3-8CA5-A8D35C5C287B}" dt="2022-08-11T17:04:20.767" v="15099" actId="14734"/>
        <pc:sldMkLst>
          <pc:docMk/>
          <pc:sldMk cId="2560200188" sldId="2147470444"/>
        </pc:sldMkLst>
        <pc:spChg chg="mod">
          <ac:chgData name="Miranda Quispe, Bruno Sebastian" userId="5df213b2-8b23-43f1-8137-24ac80ef972a" providerId="ADAL" clId="{E965C011-1063-4CD3-8CA5-A8D35C5C287B}" dt="2022-07-25T16:58:32.394" v="1182" actId="20577"/>
          <ac:spMkLst>
            <pc:docMk/>
            <pc:sldMk cId="2560200188" sldId="2147470444"/>
            <ac:spMk id="3" creationId="{0B089B5B-9622-5466-D32F-391FE469E833}"/>
          </ac:spMkLst>
        </pc:spChg>
        <pc:spChg chg="del">
          <ac:chgData name="Miranda Quispe, Bruno Sebastian" userId="5df213b2-8b23-43f1-8137-24ac80ef972a" providerId="ADAL" clId="{E965C011-1063-4CD3-8CA5-A8D35C5C287B}" dt="2022-07-25T16:59:21.034" v="1183" actId="478"/>
          <ac:spMkLst>
            <pc:docMk/>
            <pc:sldMk cId="2560200188" sldId="2147470444"/>
            <ac:spMk id="4" creationId="{F2B7156A-4A3E-3BFB-C328-EF92C7193F04}"/>
          </ac:spMkLst>
        </pc:spChg>
        <pc:spChg chg="add mod">
          <ac:chgData name="Miranda Quispe, Bruno Sebastian" userId="5df213b2-8b23-43f1-8137-24ac80ef972a" providerId="ADAL" clId="{E965C011-1063-4CD3-8CA5-A8D35C5C287B}" dt="2022-07-25T17:17:42.346" v="1204" actId="14100"/>
          <ac:spMkLst>
            <pc:docMk/>
            <pc:sldMk cId="2560200188" sldId="2147470444"/>
            <ac:spMk id="6" creationId="{8123D89E-49D6-C2B0-5D28-4FD093B68050}"/>
          </ac:spMkLst>
        </pc:spChg>
        <pc:spChg chg="add mod">
          <ac:chgData name="Miranda Quispe, Bruno Sebastian" userId="5df213b2-8b23-43f1-8137-24ac80ef972a" providerId="ADAL" clId="{E965C011-1063-4CD3-8CA5-A8D35C5C287B}" dt="2022-07-25T17:18:56.763" v="1219" actId="164"/>
          <ac:spMkLst>
            <pc:docMk/>
            <pc:sldMk cId="2560200188" sldId="2147470444"/>
            <ac:spMk id="7" creationId="{C9727F00-6D12-A28D-104D-65BBE35364C6}"/>
          </ac:spMkLst>
        </pc:spChg>
        <pc:spChg chg="add mod">
          <ac:chgData name="Miranda Quispe, Bruno Sebastian" userId="5df213b2-8b23-43f1-8137-24ac80ef972a" providerId="ADAL" clId="{E965C011-1063-4CD3-8CA5-A8D35C5C287B}" dt="2022-07-25T17:18:56.763" v="1219" actId="164"/>
          <ac:spMkLst>
            <pc:docMk/>
            <pc:sldMk cId="2560200188" sldId="2147470444"/>
            <ac:spMk id="8" creationId="{26CB41D4-5A68-671B-EE29-AD531894C636}"/>
          </ac:spMkLst>
        </pc:spChg>
        <pc:spChg chg="add del">
          <ac:chgData name="Miranda Quispe, Bruno Sebastian" userId="5df213b2-8b23-43f1-8137-24ac80ef972a" providerId="ADAL" clId="{E965C011-1063-4CD3-8CA5-A8D35C5C287B}" dt="2022-07-25T17:18:31.025" v="1214" actId="478"/>
          <ac:spMkLst>
            <pc:docMk/>
            <pc:sldMk cId="2560200188" sldId="2147470444"/>
            <ac:spMk id="9" creationId="{19271172-5623-E79F-D1E6-4AECEDBACFDD}"/>
          </ac:spMkLst>
        </pc:spChg>
        <pc:spChg chg="add mod">
          <ac:chgData name="Miranda Quispe, Bruno Sebastian" userId="5df213b2-8b23-43f1-8137-24ac80ef972a" providerId="ADAL" clId="{E965C011-1063-4CD3-8CA5-A8D35C5C287B}" dt="2022-07-25T17:19:52.001" v="1243" actId="1076"/>
          <ac:spMkLst>
            <pc:docMk/>
            <pc:sldMk cId="2560200188" sldId="2147470444"/>
            <ac:spMk id="11" creationId="{4CB0D86A-9C81-BC43-D749-13EFDB7CB2EA}"/>
          </ac:spMkLst>
        </pc:spChg>
        <pc:spChg chg="add mod">
          <ac:chgData name="Miranda Quispe, Bruno Sebastian" userId="5df213b2-8b23-43f1-8137-24ac80ef972a" providerId="ADAL" clId="{E965C011-1063-4CD3-8CA5-A8D35C5C287B}" dt="2022-07-25T17:20:08.191" v="1269" actId="20577"/>
          <ac:spMkLst>
            <pc:docMk/>
            <pc:sldMk cId="2560200188" sldId="2147470444"/>
            <ac:spMk id="12" creationId="{64AF9C71-B9F9-DDC4-4DA4-F6987C27A79C}"/>
          </ac:spMkLst>
        </pc:spChg>
        <pc:spChg chg="add del mod">
          <ac:chgData name="Miranda Quispe, Bruno Sebastian" userId="5df213b2-8b23-43f1-8137-24ac80ef972a" providerId="ADAL" clId="{E965C011-1063-4CD3-8CA5-A8D35C5C287B}" dt="2022-07-25T17:20:42.987" v="1280" actId="478"/>
          <ac:spMkLst>
            <pc:docMk/>
            <pc:sldMk cId="2560200188" sldId="2147470444"/>
            <ac:spMk id="13" creationId="{924F94B2-2508-5857-6EA6-8AF92DB40290}"/>
          </ac:spMkLst>
        </pc:spChg>
        <pc:spChg chg="add mod">
          <ac:chgData name="Miranda Quispe, Bruno Sebastian" userId="5df213b2-8b23-43f1-8137-24ac80ef972a" providerId="ADAL" clId="{E965C011-1063-4CD3-8CA5-A8D35C5C287B}" dt="2022-07-25T17:23:11.873" v="1457" actId="1076"/>
          <ac:spMkLst>
            <pc:docMk/>
            <pc:sldMk cId="2560200188" sldId="2147470444"/>
            <ac:spMk id="14" creationId="{3FD74BC0-DC6B-3DC8-3118-930DFDD95498}"/>
          </ac:spMkLst>
        </pc:spChg>
        <pc:grpChg chg="add mod">
          <ac:chgData name="Miranda Quispe, Bruno Sebastian" userId="5df213b2-8b23-43f1-8137-24ac80ef972a" providerId="ADAL" clId="{E965C011-1063-4CD3-8CA5-A8D35C5C287B}" dt="2022-07-25T17:19:00.659" v="1221" actId="1076"/>
          <ac:grpSpMkLst>
            <pc:docMk/>
            <pc:sldMk cId="2560200188" sldId="2147470444"/>
            <ac:grpSpMk id="10" creationId="{4E4E48BF-2FA1-A3A2-6332-6AB784B5B58B}"/>
          </ac:grpSpMkLst>
        </pc:grpChg>
        <pc:graphicFrameChg chg="add mod modGraphic">
          <ac:chgData name="Miranda Quispe, Bruno Sebastian" userId="5df213b2-8b23-43f1-8137-24ac80ef972a" providerId="ADAL" clId="{E965C011-1063-4CD3-8CA5-A8D35C5C287B}" dt="2022-08-11T17:04:20.767" v="15099" actId="14734"/>
          <ac:graphicFrameMkLst>
            <pc:docMk/>
            <pc:sldMk cId="2560200188" sldId="2147470444"/>
            <ac:graphicFrameMk id="5" creationId="{6B8574F8-552E-4DB3-3F35-4F9E64FDF4F8}"/>
          </ac:graphicFrameMkLst>
        </pc:graphicFrameChg>
      </pc:sldChg>
      <pc:sldChg chg="addSp delSp modSp new mod modClrScheme chgLayout">
        <pc:chgData name="Miranda Quispe, Bruno Sebastian" userId="5df213b2-8b23-43f1-8137-24ac80ef972a" providerId="ADAL" clId="{E965C011-1063-4CD3-8CA5-A8D35C5C287B}" dt="2022-09-12T19:57:04.681" v="28381" actId="14100"/>
        <pc:sldMkLst>
          <pc:docMk/>
          <pc:sldMk cId="389537927" sldId="2147470445"/>
        </pc:sldMkLst>
        <pc:spChg chg="del mod ord">
          <ac:chgData name="Miranda Quispe, Bruno Sebastian" userId="5df213b2-8b23-43f1-8137-24ac80ef972a" providerId="ADAL" clId="{E965C011-1063-4CD3-8CA5-A8D35C5C287B}" dt="2022-07-25T17:25:08.414" v="1459" actId="700"/>
          <ac:spMkLst>
            <pc:docMk/>
            <pc:sldMk cId="389537927" sldId="2147470445"/>
            <ac:spMk id="2" creationId="{724807A1-CCAF-681A-D7D8-5E95D59818BF}"/>
          </ac:spMkLst>
        </pc:spChg>
        <pc:spChg chg="mod ord">
          <ac:chgData name="Miranda Quispe, Bruno Sebastian" userId="5df213b2-8b23-43f1-8137-24ac80ef972a" providerId="ADAL" clId="{E965C011-1063-4CD3-8CA5-A8D35C5C287B}" dt="2022-07-25T17:25:08.414" v="1459" actId="700"/>
          <ac:spMkLst>
            <pc:docMk/>
            <pc:sldMk cId="389537927" sldId="2147470445"/>
            <ac:spMk id="3" creationId="{5F7526F1-80A8-2227-7D75-03DF26D50F20}"/>
          </ac:spMkLst>
        </pc:spChg>
        <pc:spChg chg="add mod ord">
          <ac:chgData name="Miranda Quispe, Bruno Sebastian" userId="5df213b2-8b23-43f1-8137-24ac80ef972a" providerId="ADAL" clId="{E965C011-1063-4CD3-8CA5-A8D35C5C287B}" dt="2022-07-25T17:25:14.808" v="1473" actId="20577"/>
          <ac:spMkLst>
            <pc:docMk/>
            <pc:sldMk cId="389537927" sldId="2147470445"/>
            <ac:spMk id="4" creationId="{7A31DDAF-D0A2-4183-D09E-5E4A456328AA}"/>
          </ac:spMkLst>
        </pc:spChg>
        <pc:spChg chg="add del mod ord">
          <ac:chgData name="Miranda Quispe, Bruno Sebastian" userId="5df213b2-8b23-43f1-8137-24ac80ef972a" providerId="ADAL" clId="{E965C011-1063-4CD3-8CA5-A8D35C5C287B}" dt="2022-07-25T17:25:42.356" v="1477" actId="478"/>
          <ac:spMkLst>
            <pc:docMk/>
            <pc:sldMk cId="389537927" sldId="2147470445"/>
            <ac:spMk id="5" creationId="{674F254C-74D2-EF8F-C35B-5C08A68E8F73}"/>
          </ac:spMkLst>
        </pc:spChg>
        <pc:spChg chg="add mod">
          <ac:chgData name="Miranda Quispe, Bruno Sebastian" userId="5df213b2-8b23-43f1-8137-24ac80ef972a" providerId="ADAL" clId="{E965C011-1063-4CD3-8CA5-A8D35C5C287B}" dt="2022-09-12T19:57:04.681" v="28381" actId="14100"/>
          <ac:spMkLst>
            <pc:docMk/>
            <pc:sldMk cId="389537927" sldId="2147470445"/>
            <ac:spMk id="6" creationId="{E707F866-D927-F690-3DA4-3131047B05C2}"/>
          </ac:spMkLst>
        </pc:spChg>
        <pc:spChg chg="add mod">
          <ac:chgData name="Miranda Quispe, Bruno Sebastian" userId="5df213b2-8b23-43f1-8137-24ac80ef972a" providerId="ADAL" clId="{E965C011-1063-4CD3-8CA5-A8D35C5C287B}" dt="2022-07-25T17:29:37.040" v="1532" actId="1076"/>
          <ac:spMkLst>
            <pc:docMk/>
            <pc:sldMk cId="389537927" sldId="2147470445"/>
            <ac:spMk id="7" creationId="{B8735454-0F14-0F17-B55C-732182FA8969}"/>
          </ac:spMkLst>
        </pc:spChg>
        <pc:spChg chg="add mod">
          <ac:chgData name="Miranda Quispe, Bruno Sebastian" userId="5df213b2-8b23-43f1-8137-24ac80ef972a" providerId="ADAL" clId="{E965C011-1063-4CD3-8CA5-A8D35C5C287B}" dt="2022-07-25T17:29:51.453" v="1535" actId="1076"/>
          <ac:spMkLst>
            <pc:docMk/>
            <pc:sldMk cId="389537927" sldId="2147470445"/>
            <ac:spMk id="11" creationId="{D2128EF5-E56A-87B7-5A4F-25654FF60F23}"/>
          </ac:spMkLst>
        </pc:spChg>
        <pc:spChg chg="add mod">
          <ac:chgData name="Miranda Quispe, Bruno Sebastian" userId="5df213b2-8b23-43f1-8137-24ac80ef972a" providerId="ADAL" clId="{E965C011-1063-4CD3-8CA5-A8D35C5C287B}" dt="2022-07-25T17:29:55.629" v="1536" actId="1076"/>
          <ac:spMkLst>
            <pc:docMk/>
            <pc:sldMk cId="389537927" sldId="2147470445"/>
            <ac:spMk id="12" creationId="{8F107455-6638-CC69-FA5B-BA378278107E}"/>
          </ac:spMkLst>
        </pc:spChg>
        <pc:spChg chg="add mod">
          <ac:chgData name="Miranda Quispe, Bruno Sebastian" userId="5df213b2-8b23-43f1-8137-24ac80ef972a" providerId="ADAL" clId="{E965C011-1063-4CD3-8CA5-A8D35C5C287B}" dt="2022-07-25T17:30:00.748" v="1537" actId="1076"/>
          <ac:spMkLst>
            <pc:docMk/>
            <pc:sldMk cId="389537927" sldId="2147470445"/>
            <ac:spMk id="13" creationId="{2D2D6726-C30A-0048-B28A-7C8A16C17B3F}"/>
          </ac:spMkLst>
        </pc:spChg>
        <pc:picChg chg="add mod">
          <ac:chgData name="Miranda Quispe, Bruno Sebastian" userId="5df213b2-8b23-43f1-8137-24ac80ef972a" providerId="ADAL" clId="{E965C011-1063-4CD3-8CA5-A8D35C5C287B}" dt="2022-07-25T17:29:47.032" v="1534" actId="1076"/>
          <ac:picMkLst>
            <pc:docMk/>
            <pc:sldMk cId="389537927" sldId="2147470445"/>
            <ac:picMk id="8" creationId="{DF1DA200-4E16-4918-0F0F-796AC4C18916}"/>
          </ac:picMkLst>
        </pc:picChg>
        <pc:picChg chg="add mod">
          <ac:chgData name="Miranda Quispe, Bruno Sebastian" userId="5df213b2-8b23-43f1-8137-24ac80ef972a" providerId="ADAL" clId="{E965C011-1063-4CD3-8CA5-A8D35C5C287B}" dt="2022-07-25T17:29:47.032" v="1534" actId="1076"/>
          <ac:picMkLst>
            <pc:docMk/>
            <pc:sldMk cId="389537927" sldId="2147470445"/>
            <ac:picMk id="9" creationId="{39FE19C3-DE67-6224-0D0B-04DA0162FC45}"/>
          </ac:picMkLst>
        </pc:picChg>
        <pc:picChg chg="add mod">
          <ac:chgData name="Miranda Quispe, Bruno Sebastian" userId="5df213b2-8b23-43f1-8137-24ac80ef972a" providerId="ADAL" clId="{E965C011-1063-4CD3-8CA5-A8D35C5C287B}" dt="2022-07-25T17:29:47.032" v="1534" actId="1076"/>
          <ac:picMkLst>
            <pc:docMk/>
            <pc:sldMk cId="389537927" sldId="2147470445"/>
            <ac:picMk id="10" creationId="{4D36E36D-8EFC-B7AC-9696-EE6D4E60FEA0}"/>
          </ac:picMkLst>
        </pc:picChg>
        <pc:picChg chg="add mod">
          <ac:chgData name="Miranda Quispe, Bruno Sebastian" userId="5df213b2-8b23-43f1-8137-24ac80ef972a" providerId="ADAL" clId="{E965C011-1063-4CD3-8CA5-A8D35C5C287B}" dt="2022-07-25T17:31:04.102" v="1546" actId="1076"/>
          <ac:picMkLst>
            <pc:docMk/>
            <pc:sldMk cId="389537927" sldId="2147470445"/>
            <ac:picMk id="15" creationId="{EA2990E0-A6F7-B34E-12AE-F4C0F1197EEC}"/>
          </ac:picMkLst>
        </pc:picChg>
      </pc:sldChg>
      <pc:sldChg chg="addSp delSp modSp new mod">
        <pc:chgData name="Miranda Quispe, Bruno Sebastian" userId="5df213b2-8b23-43f1-8137-24ac80ef972a" providerId="ADAL" clId="{E965C011-1063-4CD3-8CA5-A8D35C5C287B}" dt="2022-08-10T15:14:02.544" v="12149" actId="1076"/>
        <pc:sldMkLst>
          <pc:docMk/>
          <pc:sldMk cId="11149359" sldId="2147470446"/>
        </pc:sldMkLst>
        <pc:spChg chg="mod">
          <ac:chgData name="Miranda Quispe, Bruno Sebastian" userId="5df213b2-8b23-43f1-8137-24ac80ef972a" providerId="ADAL" clId="{E965C011-1063-4CD3-8CA5-A8D35C5C287B}" dt="2022-07-25T17:42:15.599" v="1571" actId="20577"/>
          <ac:spMkLst>
            <pc:docMk/>
            <pc:sldMk cId="11149359" sldId="2147470446"/>
            <ac:spMk id="3" creationId="{7D9F3F59-456B-35D6-201B-42477907667A}"/>
          </ac:spMkLst>
        </pc:spChg>
        <pc:spChg chg="del">
          <ac:chgData name="Miranda Quispe, Bruno Sebastian" userId="5df213b2-8b23-43f1-8137-24ac80ef972a" providerId="ADAL" clId="{E965C011-1063-4CD3-8CA5-A8D35C5C287B}" dt="2022-07-25T17:42:19.574" v="1572" actId="478"/>
          <ac:spMkLst>
            <pc:docMk/>
            <pc:sldMk cId="11149359" sldId="2147470446"/>
            <ac:spMk id="4" creationId="{1DB83D26-6D15-43B2-F612-310C5DBB4885}"/>
          </ac:spMkLst>
        </pc:spChg>
        <pc:spChg chg="add mod">
          <ac:chgData name="Miranda Quispe, Bruno Sebastian" userId="5df213b2-8b23-43f1-8137-24ac80ef972a" providerId="ADAL" clId="{E965C011-1063-4CD3-8CA5-A8D35C5C287B}" dt="2022-07-25T17:43:32.812" v="1590" actId="164"/>
          <ac:spMkLst>
            <pc:docMk/>
            <pc:sldMk cId="11149359" sldId="2147470446"/>
            <ac:spMk id="8" creationId="{59AA7535-730A-28A1-5295-13A20C889617}"/>
          </ac:spMkLst>
        </pc:spChg>
        <pc:spChg chg="add mod">
          <ac:chgData name="Miranda Quispe, Bruno Sebastian" userId="5df213b2-8b23-43f1-8137-24ac80ef972a" providerId="ADAL" clId="{E965C011-1063-4CD3-8CA5-A8D35C5C287B}" dt="2022-07-25T17:43:32.812" v="1590" actId="164"/>
          <ac:spMkLst>
            <pc:docMk/>
            <pc:sldMk cId="11149359" sldId="2147470446"/>
            <ac:spMk id="9" creationId="{E0627C4E-5671-3CA0-A796-682BCCB2245C}"/>
          </ac:spMkLst>
        </pc:spChg>
        <pc:spChg chg="add mod">
          <ac:chgData name="Miranda Quispe, Bruno Sebastian" userId="5df213b2-8b23-43f1-8137-24ac80ef972a" providerId="ADAL" clId="{E965C011-1063-4CD3-8CA5-A8D35C5C287B}" dt="2022-07-25T17:43:32.812" v="1590" actId="164"/>
          <ac:spMkLst>
            <pc:docMk/>
            <pc:sldMk cId="11149359" sldId="2147470446"/>
            <ac:spMk id="10" creationId="{6D9F9631-3700-D26E-9650-C119749479A4}"/>
          </ac:spMkLst>
        </pc:spChg>
        <pc:spChg chg="add mod">
          <ac:chgData name="Miranda Quispe, Bruno Sebastian" userId="5df213b2-8b23-43f1-8137-24ac80ef972a" providerId="ADAL" clId="{E965C011-1063-4CD3-8CA5-A8D35C5C287B}" dt="2022-07-25T17:43:32.812" v="1590" actId="164"/>
          <ac:spMkLst>
            <pc:docMk/>
            <pc:sldMk cId="11149359" sldId="2147470446"/>
            <ac:spMk id="11" creationId="{11AB16E6-11C0-F2CC-0F9D-D9FA23EBD39B}"/>
          </ac:spMkLst>
        </pc:spChg>
        <pc:spChg chg="add mod">
          <ac:chgData name="Miranda Quispe, Bruno Sebastian" userId="5df213b2-8b23-43f1-8137-24ac80ef972a" providerId="ADAL" clId="{E965C011-1063-4CD3-8CA5-A8D35C5C287B}" dt="2022-07-25T17:43:32.812" v="1590" actId="164"/>
          <ac:spMkLst>
            <pc:docMk/>
            <pc:sldMk cId="11149359" sldId="2147470446"/>
            <ac:spMk id="12" creationId="{2DAF9D7F-C69E-2E61-9AA6-6EA726DF70B3}"/>
          </ac:spMkLst>
        </pc:spChg>
        <pc:spChg chg="add mod">
          <ac:chgData name="Miranda Quispe, Bruno Sebastian" userId="5df213b2-8b23-43f1-8137-24ac80ef972a" providerId="ADAL" clId="{E965C011-1063-4CD3-8CA5-A8D35C5C287B}" dt="2022-07-25T17:43:32.812" v="1590" actId="164"/>
          <ac:spMkLst>
            <pc:docMk/>
            <pc:sldMk cId="11149359" sldId="2147470446"/>
            <ac:spMk id="13" creationId="{17F5769D-AED8-D68C-9421-F38BBE4963BD}"/>
          </ac:spMkLst>
        </pc:spChg>
        <pc:spChg chg="add mod">
          <ac:chgData name="Miranda Quispe, Bruno Sebastian" userId="5df213b2-8b23-43f1-8137-24ac80ef972a" providerId="ADAL" clId="{E965C011-1063-4CD3-8CA5-A8D35C5C287B}" dt="2022-07-25T17:43:32.812" v="1590" actId="164"/>
          <ac:spMkLst>
            <pc:docMk/>
            <pc:sldMk cId="11149359" sldId="2147470446"/>
            <ac:spMk id="14" creationId="{780ACBA4-7E73-F13E-4B21-32D9B56530F0}"/>
          </ac:spMkLst>
        </pc:spChg>
        <pc:spChg chg="add mod">
          <ac:chgData name="Miranda Quispe, Bruno Sebastian" userId="5df213b2-8b23-43f1-8137-24ac80ef972a" providerId="ADAL" clId="{E965C011-1063-4CD3-8CA5-A8D35C5C287B}" dt="2022-07-25T17:43:32.812" v="1590" actId="164"/>
          <ac:spMkLst>
            <pc:docMk/>
            <pc:sldMk cId="11149359" sldId="2147470446"/>
            <ac:spMk id="15" creationId="{C6AE5899-91CA-2AB2-A3AE-EF4A4FB22974}"/>
          </ac:spMkLst>
        </pc:spChg>
        <pc:spChg chg="add mod">
          <ac:chgData name="Miranda Quispe, Bruno Sebastian" userId="5df213b2-8b23-43f1-8137-24ac80ef972a" providerId="ADAL" clId="{E965C011-1063-4CD3-8CA5-A8D35C5C287B}" dt="2022-07-25T17:50:50.448" v="2021" actId="1076"/>
          <ac:spMkLst>
            <pc:docMk/>
            <pc:sldMk cId="11149359" sldId="2147470446"/>
            <ac:spMk id="18" creationId="{AC38E4D0-B074-A027-D014-E3E2E3CA9E3B}"/>
          </ac:spMkLst>
        </pc:spChg>
        <pc:spChg chg="add mod">
          <ac:chgData name="Miranda Quispe, Bruno Sebastian" userId="5df213b2-8b23-43f1-8137-24ac80ef972a" providerId="ADAL" clId="{E965C011-1063-4CD3-8CA5-A8D35C5C287B}" dt="2022-07-25T19:58:22.271" v="2025" actId="20577"/>
          <ac:spMkLst>
            <pc:docMk/>
            <pc:sldMk cId="11149359" sldId="2147470446"/>
            <ac:spMk id="20" creationId="{14AD0275-6B46-9D4D-9C34-12282D59772B}"/>
          </ac:spMkLst>
        </pc:spChg>
        <pc:spChg chg="add mod">
          <ac:chgData name="Miranda Quispe, Bruno Sebastian" userId="5df213b2-8b23-43f1-8137-24ac80ef972a" providerId="ADAL" clId="{E965C011-1063-4CD3-8CA5-A8D35C5C287B}" dt="2022-07-25T17:50:10.047" v="2019" actId="1076"/>
          <ac:spMkLst>
            <pc:docMk/>
            <pc:sldMk cId="11149359" sldId="2147470446"/>
            <ac:spMk id="21" creationId="{854E1F4C-2D12-7BBF-0D81-47A6E4F59CA3}"/>
          </ac:spMkLst>
        </pc:spChg>
        <pc:spChg chg="add mod">
          <ac:chgData name="Miranda Quispe, Bruno Sebastian" userId="5df213b2-8b23-43f1-8137-24ac80ef972a" providerId="ADAL" clId="{E965C011-1063-4CD3-8CA5-A8D35C5C287B}" dt="2022-07-25T19:59:30.335" v="2030" actId="207"/>
          <ac:spMkLst>
            <pc:docMk/>
            <pc:sldMk cId="11149359" sldId="2147470446"/>
            <ac:spMk id="23" creationId="{A300A814-2F22-392B-588E-68BFB74A14DD}"/>
          </ac:spMkLst>
        </pc:spChg>
        <pc:spChg chg="add mod">
          <ac:chgData name="Miranda Quispe, Bruno Sebastian" userId="5df213b2-8b23-43f1-8137-24ac80ef972a" providerId="ADAL" clId="{E965C011-1063-4CD3-8CA5-A8D35C5C287B}" dt="2022-07-25T19:59:36.059" v="2032" actId="1076"/>
          <ac:spMkLst>
            <pc:docMk/>
            <pc:sldMk cId="11149359" sldId="2147470446"/>
            <ac:spMk id="24" creationId="{37074CBC-4B8B-9A74-9EC4-266F32A15B0A}"/>
          </ac:spMkLst>
        </pc:spChg>
        <pc:spChg chg="add mod">
          <ac:chgData name="Miranda Quispe, Bruno Sebastian" userId="5df213b2-8b23-43f1-8137-24ac80ef972a" providerId="ADAL" clId="{E965C011-1063-4CD3-8CA5-A8D35C5C287B}" dt="2022-08-10T15:14:02.544" v="12149" actId="1076"/>
          <ac:spMkLst>
            <pc:docMk/>
            <pc:sldMk cId="11149359" sldId="2147470446"/>
            <ac:spMk id="25" creationId="{7F42F0D8-85D3-4B91-0A38-21287C6D2E53}"/>
          </ac:spMkLst>
        </pc:spChg>
        <pc:grpChg chg="add mod">
          <ac:chgData name="Miranda Quispe, Bruno Sebastian" userId="5df213b2-8b23-43f1-8137-24ac80ef972a" providerId="ADAL" clId="{E965C011-1063-4CD3-8CA5-A8D35C5C287B}" dt="2022-07-25T17:51:00.396" v="2023" actId="1076"/>
          <ac:grpSpMkLst>
            <pc:docMk/>
            <pc:sldMk cId="11149359" sldId="2147470446"/>
            <ac:grpSpMk id="16" creationId="{7DE66A3C-41C5-3397-B628-F44A25524B1A}"/>
          </ac:grpSpMkLst>
        </pc:grpChg>
        <pc:graphicFrameChg chg="add del">
          <ac:chgData name="Miranda Quispe, Bruno Sebastian" userId="5df213b2-8b23-43f1-8137-24ac80ef972a" providerId="ADAL" clId="{E965C011-1063-4CD3-8CA5-A8D35C5C287B}" dt="2022-07-25T19:59:13.945" v="2027" actId="478"/>
          <ac:graphicFrameMkLst>
            <pc:docMk/>
            <pc:sldMk cId="11149359" sldId="2147470446"/>
            <ac:graphicFrameMk id="22" creationId="{0978BCF5-8427-24D7-34EF-A6E008512291}"/>
          </ac:graphicFrameMkLst>
        </pc:graphicFrameChg>
        <pc:picChg chg="add mod">
          <ac:chgData name="Miranda Quispe, Bruno Sebastian" userId="5df213b2-8b23-43f1-8137-24ac80ef972a" providerId="ADAL" clId="{E965C011-1063-4CD3-8CA5-A8D35C5C287B}" dt="2022-07-25T17:43:32.812" v="1590" actId="164"/>
          <ac:picMkLst>
            <pc:docMk/>
            <pc:sldMk cId="11149359" sldId="2147470446"/>
            <ac:picMk id="5" creationId="{EB08E661-0083-17CD-4FB8-BFF91DD142FC}"/>
          </ac:picMkLst>
        </pc:picChg>
        <pc:picChg chg="add mod">
          <ac:chgData name="Miranda Quispe, Bruno Sebastian" userId="5df213b2-8b23-43f1-8137-24ac80ef972a" providerId="ADAL" clId="{E965C011-1063-4CD3-8CA5-A8D35C5C287B}" dt="2022-07-25T17:43:32.812" v="1590" actId="164"/>
          <ac:picMkLst>
            <pc:docMk/>
            <pc:sldMk cId="11149359" sldId="2147470446"/>
            <ac:picMk id="6" creationId="{65862A6A-D179-4D59-8EC3-EB36670868D0}"/>
          </ac:picMkLst>
        </pc:picChg>
        <pc:picChg chg="add mod">
          <ac:chgData name="Miranda Quispe, Bruno Sebastian" userId="5df213b2-8b23-43f1-8137-24ac80ef972a" providerId="ADAL" clId="{E965C011-1063-4CD3-8CA5-A8D35C5C287B}" dt="2022-07-25T17:43:32.812" v="1590" actId="164"/>
          <ac:picMkLst>
            <pc:docMk/>
            <pc:sldMk cId="11149359" sldId="2147470446"/>
            <ac:picMk id="7" creationId="{F4B64789-373B-8507-524D-EC84233C6521}"/>
          </ac:picMkLst>
        </pc:picChg>
        <pc:picChg chg="add mod">
          <ac:chgData name="Miranda Quispe, Bruno Sebastian" userId="5df213b2-8b23-43f1-8137-24ac80ef972a" providerId="ADAL" clId="{E965C011-1063-4CD3-8CA5-A8D35C5C287B}" dt="2022-07-25T17:44:26.551" v="1599" actId="14100"/>
          <ac:picMkLst>
            <pc:docMk/>
            <pc:sldMk cId="11149359" sldId="2147470446"/>
            <ac:picMk id="17" creationId="{154CD8F0-4FF4-CCD8-9256-7FA387E9FF97}"/>
          </ac:picMkLst>
        </pc:picChg>
        <pc:picChg chg="add mod">
          <ac:chgData name="Miranda Quispe, Bruno Sebastian" userId="5df213b2-8b23-43f1-8137-24ac80ef972a" providerId="ADAL" clId="{E965C011-1063-4CD3-8CA5-A8D35C5C287B}" dt="2022-07-25T17:46:37.063" v="1685" actId="1076"/>
          <ac:picMkLst>
            <pc:docMk/>
            <pc:sldMk cId="11149359" sldId="2147470446"/>
            <ac:picMk id="19" creationId="{057DA51B-E2DD-2C8D-F2EC-095786FA3F7A}"/>
          </ac:picMkLst>
        </pc:picChg>
      </pc:sldChg>
      <pc:sldChg chg="addSp delSp modSp new mod setBg">
        <pc:chgData name="Miranda Quispe, Bruno Sebastian" userId="5df213b2-8b23-43f1-8137-24ac80ef972a" providerId="ADAL" clId="{E965C011-1063-4CD3-8CA5-A8D35C5C287B}" dt="2022-09-13T16:29:56.383" v="31785" actId="478"/>
        <pc:sldMkLst>
          <pc:docMk/>
          <pc:sldMk cId="4063361073" sldId="2147470447"/>
        </pc:sldMkLst>
        <pc:spChg chg="mod">
          <ac:chgData name="Miranda Quispe, Bruno Sebastian" userId="5df213b2-8b23-43f1-8137-24ac80ef972a" providerId="ADAL" clId="{E965C011-1063-4CD3-8CA5-A8D35C5C287B}" dt="2022-07-25T20:51:37.002" v="2160" actId="20577"/>
          <ac:spMkLst>
            <pc:docMk/>
            <pc:sldMk cId="4063361073" sldId="2147470447"/>
            <ac:spMk id="3" creationId="{40DB3EB9-6DFC-43B1-B4D9-C64198AB3B47}"/>
          </ac:spMkLst>
        </pc:spChg>
        <pc:spChg chg="del">
          <ac:chgData name="Miranda Quispe, Bruno Sebastian" userId="5df213b2-8b23-43f1-8137-24ac80ef972a" providerId="ADAL" clId="{E965C011-1063-4CD3-8CA5-A8D35C5C287B}" dt="2022-07-25T20:51:40.445" v="2161" actId="478"/>
          <ac:spMkLst>
            <pc:docMk/>
            <pc:sldMk cId="4063361073" sldId="2147470447"/>
            <ac:spMk id="4" creationId="{E45EC0A3-DB97-7B25-A397-14C3D77EE6DB}"/>
          </ac:spMkLst>
        </pc:spChg>
        <pc:spChg chg="add mod">
          <ac:chgData name="Miranda Quispe, Bruno Sebastian" userId="5df213b2-8b23-43f1-8137-24ac80ef972a" providerId="ADAL" clId="{E965C011-1063-4CD3-8CA5-A8D35C5C287B}" dt="2022-08-10T16:26:25.287" v="12508" actId="207"/>
          <ac:spMkLst>
            <pc:docMk/>
            <pc:sldMk cId="4063361073" sldId="2147470447"/>
            <ac:spMk id="5" creationId="{9D58770F-B30D-569B-159B-802C7BB618C8}"/>
          </ac:spMkLst>
        </pc:spChg>
        <pc:spChg chg="add mod">
          <ac:chgData name="Miranda Quispe, Bruno Sebastian" userId="5df213b2-8b23-43f1-8137-24ac80ef972a" providerId="ADAL" clId="{E965C011-1063-4CD3-8CA5-A8D35C5C287B}" dt="2022-08-10T16:26:27.768" v="12509" actId="207"/>
          <ac:spMkLst>
            <pc:docMk/>
            <pc:sldMk cId="4063361073" sldId="2147470447"/>
            <ac:spMk id="6" creationId="{E5200AEC-4A48-914B-3120-D770D8B6C04E}"/>
          </ac:spMkLst>
        </pc:spChg>
        <pc:spChg chg="add mod">
          <ac:chgData name="Miranda Quispe, Bruno Sebastian" userId="5df213b2-8b23-43f1-8137-24ac80ef972a" providerId="ADAL" clId="{E965C011-1063-4CD3-8CA5-A8D35C5C287B}" dt="2022-08-10T16:26:30.471" v="12510" actId="207"/>
          <ac:spMkLst>
            <pc:docMk/>
            <pc:sldMk cId="4063361073" sldId="2147470447"/>
            <ac:spMk id="7" creationId="{321BEDA9-7F21-AF6E-C99E-354CAF68E4FD}"/>
          </ac:spMkLst>
        </pc:spChg>
        <pc:spChg chg="add mod">
          <ac:chgData name="Miranda Quispe, Bruno Sebastian" userId="5df213b2-8b23-43f1-8137-24ac80ef972a" providerId="ADAL" clId="{E965C011-1063-4CD3-8CA5-A8D35C5C287B}" dt="2022-07-26T17:08:44.064" v="6438" actId="20577"/>
          <ac:spMkLst>
            <pc:docMk/>
            <pc:sldMk cId="4063361073" sldId="2147470447"/>
            <ac:spMk id="8" creationId="{13683FCA-2592-72EC-73BC-2C65B7822987}"/>
          </ac:spMkLst>
        </pc:spChg>
        <pc:spChg chg="add del mod">
          <ac:chgData name="Miranda Quispe, Bruno Sebastian" userId="5df213b2-8b23-43f1-8137-24ac80ef972a" providerId="ADAL" clId="{E965C011-1063-4CD3-8CA5-A8D35C5C287B}" dt="2022-09-13T16:29:35.755" v="31781" actId="478"/>
          <ac:spMkLst>
            <pc:docMk/>
            <pc:sldMk cId="4063361073" sldId="2147470447"/>
            <ac:spMk id="9" creationId="{D94ABEB5-015C-6296-7092-805BCB4F8B3E}"/>
          </ac:spMkLst>
        </pc:spChg>
        <pc:spChg chg="add del mod">
          <ac:chgData name="Miranda Quispe, Bruno Sebastian" userId="5df213b2-8b23-43f1-8137-24ac80ef972a" providerId="ADAL" clId="{E965C011-1063-4CD3-8CA5-A8D35C5C287B}" dt="2022-07-25T20:52:22.039" v="2195" actId="478"/>
          <ac:spMkLst>
            <pc:docMk/>
            <pc:sldMk cId="4063361073" sldId="2147470447"/>
            <ac:spMk id="9" creationId="{DDEB1F7E-9BF7-F068-4AC7-D50E2FBA5D02}"/>
          </ac:spMkLst>
        </pc:spChg>
        <pc:spChg chg="add mod">
          <ac:chgData name="Miranda Quispe, Bruno Sebastian" userId="5df213b2-8b23-43f1-8137-24ac80ef972a" providerId="ADAL" clId="{E965C011-1063-4CD3-8CA5-A8D35C5C287B}" dt="2022-07-25T20:53:16.806" v="2277" actId="207"/>
          <ac:spMkLst>
            <pc:docMk/>
            <pc:sldMk cId="4063361073" sldId="2147470447"/>
            <ac:spMk id="10" creationId="{48C48C51-E21C-09E9-7395-73590AC71F60}"/>
          </ac:spMkLst>
        </pc:spChg>
        <pc:spChg chg="add del mod">
          <ac:chgData name="Miranda Quispe, Bruno Sebastian" userId="5df213b2-8b23-43f1-8137-24ac80ef972a" providerId="ADAL" clId="{E965C011-1063-4CD3-8CA5-A8D35C5C287B}" dt="2022-09-13T16:29:56.383" v="31785" actId="478"/>
          <ac:spMkLst>
            <pc:docMk/>
            <pc:sldMk cId="4063361073" sldId="2147470447"/>
            <ac:spMk id="11" creationId="{C32C9031-F13B-B635-C284-E0A857F1D278}"/>
          </ac:spMkLst>
        </pc:spChg>
        <pc:spChg chg="add del mod">
          <ac:chgData name="Miranda Quispe, Bruno Sebastian" userId="5df213b2-8b23-43f1-8137-24ac80ef972a" providerId="ADAL" clId="{E965C011-1063-4CD3-8CA5-A8D35C5C287B}" dt="2022-07-25T20:51:59.340" v="2163" actId="478"/>
          <ac:spMkLst>
            <pc:docMk/>
            <pc:sldMk cId="4063361073" sldId="2147470447"/>
            <ac:spMk id="11" creationId="{EB88CE19-36F5-D328-0FE9-C73C5A53E0EA}"/>
          </ac:spMkLst>
        </pc:spChg>
        <pc:spChg chg="add mod">
          <ac:chgData name="Miranda Quispe, Bruno Sebastian" userId="5df213b2-8b23-43f1-8137-24ac80ef972a" providerId="ADAL" clId="{E965C011-1063-4CD3-8CA5-A8D35C5C287B}" dt="2022-07-25T20:59:26.332" v="2319" actId="1076"/>
          <ac:spMkLst>
            <pc:docMk/>
            <pc:sldMk cId="4063361073" sldId="2147470447"/>
            <ac:spMk id="12" creationId="{BE3B6E9D-7202-14AE-54E2-A4633B2DD9CC}"/>
          </ac:spMkLst>
        </pc:spChg>
        <pc:spChg chg="add del mod">
          <ac:chgData name="Miranda Quispe, Bruno Sebastian" userId="5df213b2-8b23-43f1-8137-24ac80ef972a" providerId="ADAL" clId="{E965C011-1063-4CD3-8CA5-A8D35C5C287B}" dt="2022-07-25T20:52:38.387" v="2221" actId="478"/>
          <ac:spMkLst>
            <pc:docMk/>
            <pc:sldMk cId="4063361073" sldId="2147470447"/>
            <ac:spMk id="13" creationId="{15C0E6F5-1D6C-5C4B-CB7B-8D563594125C}"/>
          </ac:spMkLst>
        </pc:spChg>
      </pc:sldChg>
      <pc:sldChg chg="addSp delSp modSp add mod ord setBg">
        <pc:chgData name="Miranda Quispe, Bruno Sebastian" userId="5df213b2-8b23-43f1-8137-24ac80ef972a" providerId="ADAL" clId="{E965C011-1063-4CD3-8CA5-A8D35C5C287B}" dt="2022-08-10T16:17:55.774" v="12317"/>
        <pc:sldMkLst>
          <pc:docMk/>
          <pc:sldMk cId="3018816364" sldId="2147470448"/>
        </pc:sldMkLst>
        <pc:spChg chg="mod">
          <ac:chgData name="Miranda Quispe, Bruno Sebastian" userId="5df213b2-8b23-43f1-8137-24ac80ef972a" providerId="ADAL" clId="{E965C011-1063-4CD3-8CA5-A8D35C5C287B}" dt="2022-07-25T21:05:11.120" v="2467" actId="20577"/>
          <ac:spMkLst>
            <pc:docMk/>
            <pc:sldMk cId="3018816364" sldId="2147470448"/>
            <ac:spMk id="7" creationId="{834DE61B-69D4-648C-09CD-329073E45B01}"/>
          </ac:spMkLst>
        </pc:spChg>
        <pc:spChg chg="mod">
          <ac:chgData name="Miranda Quispe, Bruno Sebastian" userId="5df213b2-8b23-43f1-8137-24ac80ef972a" providerId="ADAL" clId="{E965C011-1063-4CD3-8CA5-A8D35C5C287B}" dt="2022-07-25T21:05:27.590" v="2513" actId="20577"/>
          <ac:spMkLst>
            <pc:docMk/>
            <pc:sldMk cId="3018816364" sldId="2147470448"/>
            <ac:spMk id="8" creationId="{E6971E8D-A4BA-1641-A29A-4E7A935C21F1}"/>
          </ac:spMkLst>
        </pc:spChg>
        <pc:picChg chg="del">
          <ac:chgData name="Miranda Quispe, Bruno Sebastian" userId="5df213b2-8b23-43f1-8137-24ac80ef972a" providerId="ADAL" clId="{E965C011-1063-4CD3-8CA5-A8D35C5C287B}" dt="2022-07-25T21:33:28.339" v="2538" actId="478"/>
          <ac:picMkLst>
            <pc:docMk/>
            <pc:sldMk cId="3018816364" sldId="2147470448"/>
            <ac:picMk id="2060" creationId="{64009C4B-A332-5E33-8D76-8C575FB38D0F}"/>
          </ac:picMkLst>
        </pc:picChg>
        <pc:picChg chg="add mod">
          <ac:chgData name="Miranda Quispe, Bruno Sebastian" userId="5df213b2-8b23-43f1-8137-24ac80ef972a" providerId="ADAL" clId="{E965C011-1063-4CD3-8CA5-A8D35C5C287B}" dt="2022-07-25T21:33:32.538" v="2539" actId="1076"/>
          <ac:picMkLst>
            <pc:docMk/>
            <pc:sldMk cId="3018816364" sldId="2147470448"/>
            <ac:picMk id="4098" creationId="{DF7DBC55-D07B-3E14-B80E-28D12ED09E76}"/>
          </ac:picMkLst>
        </pc:picChg>
      </pc:sldChg>
      <pc:sldChg chg="addSp delSp modSp new mod">
        <pc:chgData name="Miranda Quispe, Bruno Sebastian" userId="5df213b2-8b23-43f1-8137-24ac80ef972a" providerId="ADAL" clId="{E965C011-1063-4CD3-8CA5-A8D35C5C287B}" dt="2022-07-26T16:08:27.298" v="4234" actId="123"/>
        <pc:sldMkLst>
          <pc:docMk/>
          <pc:sldMk cId="2394821687" sldId="2147470449"/>
        </pc:sldMkLst>
        <pc:spChg chg="mod">
          <ac:chgData name="Miranda Quispe, Bruno Sebastian" userId="5df213b2-8b23-43f1-8137-24ac80ef972a" providerId="ADAL" clId="{E965C011-1063-4CD3-8CA5-A8D35C5C287B}" dt="2022-07-25T21:16:49.200" v="2526" actId="20577"/>
          <ac:spMkLst>
            <pc:docMk/>
            <pc:sldMk cId="2394821687" sldId="2147470449"/>
            <ac:spMk id="3" creationId="{1AFBEA53-E9AF-C25E-25AC-9306BCF7B793}"/>
          </ac:spMkLst>
        </pc:spChg>
        <pc:spChg chg="del">
          <ac:chgData name="Miranda Quispe, Bruno Sebastian" userId="5df213b2-8b23-43f1-8137-24ac80ef972a" providerId="ADAL" clId="{E965C011-1063-4CD3-8CA5-A8D35C5C287B}" dt="2022-07-25T21:16:51.305" v="2527" actId="478"/>
          <ac:spMkLst>
            <pc:docMk/>
            <pc:sldMk cId="2394821687" sldId="2147470449"/>
            <ac:spMk id="4" creationId="{08845D35-738B-1BE4-FC94-947313AB3065}"/>
          </ac:spMkLst>
        </pc:spChg>
        <pc:spChg chg="add mod">
          <ac:chgData name="Miranda Quispe, Bruno Sebastian" userId="5df213b2-8b23-43f1-8137-24ac80ef972a" providerId="ADAL" clId="{E965C011-1063-4CD3-8CA5-A8D35C5C287B}" dt="2022-07-26T16:08:27.298" v="4234" actId="123"/>
          <ac:spMkLst>
            <pc:docMk/>
            <pc:sldMk cId="2394821687" sldId="2147470449"/>
            <ac:spMk id="5" creationId="{E9A853C6-D358-5D37-8509-11927A3B60DE}"/>
          </ac:spMkLst>
        </pc:spChg>
        <pc:picChg chg="add del mod">
          <ac:chgData name="Miranda Quispe, Bruno Sebastian" userId="5df213b2-8b23-43f1-8137-24ac80ef972a" providerId="ADAL" clId="{E965C011-1063-4CD3-8CA5-A8D35C5C287B}" dt="2022-07-25T21:39:55.067" v="2557" actId="478"/>
          <ac:picMkLst>
            <pc:docMk/>
            <pc:sldMk cId="2394821687" sldId="2147470449"/>
            <ac:picMk id="6" creationId="{E24FA36D-D2E4-8318-FE11-6D410D4FAA02}"/>
          </ac:picMkLst>
        </pc:picChg>
        <pc:picChg chg="add mod">
          <ac:chgData name="Miranda Quispe, Bruno Sebastian" userId="5df213b2-8b23-43f1-8137-24ac80ef972a" providerId="ADAL" clId="{E965C011-1063-4CD3-8CA5-A8D35C5C287B}" dt="2022-07-26T16:07:21.035" v="4044" actId="1076"/>
          <ac:picMkLst>
            <pc:docMk/>
            <pc:sldMk cId="2394821687" sldId="2147470449"/>
            <ac:picMk id="5122" creationId="{C116424B-3F83-416D-B33F-D3D2F6FA0347}"/>
          </ac:picMkLst>
        </pc:picChg>
      </pc:sldChg>
      <pc:sldChg chg="addSp delSp modSp new mod ord modClrScheme chgLayout">
        <pc:chgData name="Miranda Quispe, Bruno Sebastian" userId="5df213b2-8b23-43f1-8137-24ac80ef972a" providerId="ADAL" clId="{E965C011-1063-4CD3-8CA5-A8D35C5C287B}" dt="2022-08-15T19:28:47.061" v="16287" actId="20577"/>
        <pc:sldMkLst>
          <pc:docMk/>
          <pc:sldMk cId="2126893423" sldId="2147470450"/>
        </pc:sldMkLst>
        <pc:spChg chg="del mod ord">
          <ac:chgData name="Miranda Quispe, Bruno Sebastian" userId="5df213b2-8b23-43f1-8137-24ac80ef972a" providerId="ADAL" clId="{E965C011-1063-4CD3-8CA5-A8D35C5C287B}" dt="2022-07-25T21:33:45.897" v="2541" actId="700"/>
          <ac:spMkLst>
            <pc:docMk/>
            <pc:sldMk cId="2126893423" sldId="2147470450"/>
            <ac:spMk id="2" creationId="{B38EAE2A-BDC3-DEDB-2CBD-9052D34D583D}"/>
          </ac:spMkLst>
        </pc:spChg>
        <pc:spChg chg="del mod ord">
          <ac:chgData name="Miranda Quispe, Bruno Sebastian" userId="5df213b2-8b23-43f1-8137-24ac80ef972a" providerId="ADAL" clId="{E965C011-1063-4CD3-8CA5-A8D35C5C287B}" dt="2022-07-25T21:33:45.897" v="2541" actId="700"/>
          <ac:spMkLst>
            <pc:docMk/>
            <pc:sldMk cId="2126893423" sldId="2147470450"/>
            <ac:spMk id="3" creationId="{F7ABF1BA-D4B3-2DA2-6E5B-0C52AEE527B0}"/>
          </ac:spMkLst>
        </pc:spChg>
        <pc:spChg chg="add mod ord">
          <ac:chgData name="Miranda Quispe, Bruno Sebastian" userId="5df213b2-8b23-43f1-8137-24ac80ef972a" providerId="ADAL" clId="{E965C011-1063-4CD3-8CA5-A8D35C5C287B}" dt="2022-08-15T19:28:47.061" v="16287" actId="20577"/>
          <ac:spMkLst>
            <pc:docMk/>
            <pc:sldMk cId="2126893423" sldId="2147470450"/>
            <ac:spMk id="4" creationId="{3A79E9AB-E71C-688D-09BF-42D632948DCB}"/>
          </ac:spMkLst>
        </pc:spChg>
        <pc:spChg chg="add del mod ord">
          <ac:chgData name="Miranda Quispe, Bruno Sebastian" userId="5df213b2-8b23-43f1-8137-24ac80ef972a" providerId="ADAL" clId="{E965C011-1063-4CD3-8CA5-A8D35C5C287B}" dt="2022-07-25T21:38:05.519" v="2550" actId="478"/>
          <ac:spMkLst>
            <pc:docMk/>
            <pc:sldMk cId="2126893423" sldId="2147470450"/>
            <ac:spMk id="5" creationId="{D5C4EB3B-6CCF-0B1A-DF36-401A5DBB5EC1}"/>
          </ac:spMkLst>
        </pc:spChg>
        <pc:spChg chg="add mod">
          <ac:chgData name="Miranda Quispe, Bruno Sebastian" userId="5df213b2-8b23-43f1-8137-24ac80ef972a" providerId="ADAL" clId="{E965C011-1063-4CD3-8CA5-A8D35C5C287B}" dt="2022-07-25T21:38:05.780" v="2551"/>
          <ac:spMkLst>
            <pc:docMk/>
            <pc:sldMk cId="2126893423" sldId="2147470450"/>
            <ac:spMk id="7" creationId="{E8B7A516-C67D-2747-D8BD-B93800CD3E78}"/>
          </ac:spMkLst>
        </pc:spChg>
        <pc:spChg chg="add mod">
          <ac:chgData name="Miranda Quispe, Bruno Sebastian" userId="5df213b2-8b23-43f1-8137-24ac80ef972a" providerId="ADAL" clId="{E965C011-1063-4CD3-8CA5-A8D35C5C287B}" dt="2022-07-26T13:58:54.407" v="2714" actId="20577"/>
          <ac:spMkLst>
            <pc:docMk/>
            <pc:sldMk cId="2126893423" sldId="2147470450"/>
            <ac:spMk id="9" creationId="{42452E62-5437-2AAE-B1E4-D9945D493A52}"/>
          </ac:spMkLst>
        </pc:spChg>
        <pc:spChg chg="add mod">
          <ac:chgData name="Miranda Quispe, Bruno Sebastian" userId="5df213b2-8b23-43f1-8137-24ac80ef972a" providerId="ADAL" clId="{E965C011-1063-4CD3-8CA5-A8D35C5C287B}" dt="2022-07-25T21:38:05.780" v="2551"/>
          <ac:spMkLst>
            <pc:docMk/>
            <pc:sldMk cId="2126893423" sldId="2147470450"/>
            <ac:spMk id="11" creationId="{4779E83F-EA77-A71F-E828-149EC7601381}"/>
          </ac:spMkLst>
        </pc:spChg>
        <pc:spChg chg="add mod">
          <ac:chgData name="Miranda Quispe, Bruno Sebastian" userId="5df213b2-8b23-43f1-8137-24ac80ef972a" providerId="ADAL" clId="{E965C011-1063-4CD3-8CA5-A8D35C5C287B}" dt="2022-07-26T14:16:32.883" v="2725" actId="20577"/>
          <ac:spMkLst>
            <pc:docMk/>
            <pc:sldMk cId="2126893423" sldId="2147470450"/>
            <ac:spMk id="13" creationId="{92E3CC62-ABFE-EF49-1928-561E9E014F59}"/>
          </ac:spMkLst>
        </pc:spChg>
        <pc:spChg chg="add mod">
          <ac:chgData name="Miranda Quispe, Bruno Sebastian" userId="5df213b2-8b23-43f1-8137-24ac80ef972a" providerId="ADAL" clId="{E965C011-1063-4CD3-8CA5-A8D35C5C287B}" dt="2022-07-26T14:16:50.595" v="2726" actId="1076"/>
          <ac:spMkLst>
            <pc:docMk/>
            <pc:sldMk cId="2126893423" sldId="2147470450"/>
            <ac:spMk id="15" creationId="{271968D0-ABA8-F3B4-A7C0-F19E7F932262}"/>
          </ac:spMkLst>
        </pc:spChg>
        <pc:spChg chg="add mod">
          <ac:chgData name="Miranda Quispe, Bruno Sebastian" userId="5df213b2-8b23-43f1-8137-24ac80ef972a" providerId="ADAL" clId="{E965C011-1063-4CD3-8CA5-A8D35C5C287B}" dt="2022-07-26T13:57:32.536" v="2668" actId="571"/>
          <ac:spMkLst>
            <pc:docMk/>
            <pc:sldMk cId="2126893423" sldId="2147470450"/>
            <ac:spMk id="16" creationId="{2B549F22-0AB5-07E8-C25A-A473824E78D5}"/>
          </ac:spMkLst>
        </pc:spChg>
        <pc:spChg chg="add mod">
          <ac:chgData name="Miranda Quispe, Bruno Sebastian" userId="5df213b2-8b23-43f1-8137-24ac80ef972a" providerId="ADAL" clId="{E965C011-1063-4CD3-8CA5-A8D35C5C287B}" dt="2022-07-26T13:57:32.536" v="2668" actId="571"/>
          <ac:spMkLst>
            <pc:docMk/>
            <pc:sldMk cId="2126893423" sldId="2147470450"/>
            <ac:spMk id="19" creationId="{064D3063-0149-EBC5-262B-DBC1662F79C2}"/>
          </ac:spMkLst>
        </pc:spChg>
        <pc:spChg chg="add mod">
          <ac:chgData name="Miranda Quispe, Bruno Sebastian" userId="5df213b2-8b23-43f1-8137-24ac80ef972a" providerId="ADAL" clId="{E965C011-1063-4CD3-8CA5-A8D35C5C287B}" dt="2022-07-26T13:58:43.019" v="2692"/>
          <ac:spMkLst>
            <pc:docMk/>
            <pc:sldMk cId="2126893423" sldId="2147470450"/>
            <ac:spMk id="21" creationId="{1CBD1CF2-431A-E53D-0803-356C639CDF35}"/>
          </ac:spMkLst>
        </pc:spChg>
        <pc:picChg chg="add del mod">
          <ac:chgData name="Miranda Quispe, Bruno Sebastian" userId="5df213b2-8b23-43f1-8137-24ac80ef972a" providerId="ADAL" clId="{E965C011-1063-4CD3-8CA5-A8D35C5C287B}" dt="2022-07-26T16:55:08.440" v="5530" actId="478"/>
          <ac:picMkLst>
            <pc:docMk/>
            <pc:sldMk cId="2126893423" sldId="2147470450"/>
            <ac:picMk id="3" creationId="{23A491A6-FAA4-2FE8-2E4A-98323CF46241}"/>
          </ac:picMkLst>
        </pc:picChg>
        <pc:picChg chg="add mod">
          <ac:chgData name="Miranda Quispe, Bruno Sebastian" userId="5df213b2-8b23-43f1-8137-24ac80ef972a" providerId="ADAL" clId="{E965C011-1063-4CD3-8CA5-A8D35C5C287B}" dt="2022-07-26T13:59:26.064" v="2717"/>
          <ac:picMkLst>
            <pc:docMk/>
            <pc:sldMk cId="2126893423" sldId="2147470450"/>
            <ac:picMk id="6" creationId="{614A52AD-CB4C-49C3-6D34-03EFB9F9018D}"/>
          </ac:picMkLst>
        </pc:picChg>
        <pc:picChg chg="add mod">
          <ac:chgData name="Miranda Quispe, Bruno Sebastian" userId="5df213b2-8b23-43f1-8137-24ac80ef972a" providerId="ADAL" clId="{E965C011-1063-4CD3-8CA5-A8D35C5C287B}" dt="2022-07-25T21:38:12.169" v="2552" actId="207"/>
          <ac:picMkLst>
            <pc:docMk/>
            <pc:sldMk cId="2126893423" sldId="2147470450"/>
            <ac:picMk id="8" creationId="{B5871BE2-7E4F-1A04-971A-348C610DF355}"/>
          </ac:picMkLst>
        </pc:picChg>
        <pc:picChg chg="add mod">
          <ac:chgData name="Miranda Quispe, Bruno Sebastian" userId="5df213b2-8b23-43f1-8137-24ac80ef972a" providerId="ADAL" clId="{E965C011-1063-4CD3-8CA5-A8D35C5C287B}" dt="2022-07-25T21:38:12.169" v="2552" actId="207"/>
          <ac:picMkLst>
            <pc:docMk/>
            <pc:sldMk cId="2126893423" sldId="2147470450"/>
            <ac:picMk id="10" creationId="{67859DF2-B672-473B-6B4D-CEA608A202E3}"/>
          </ac:picMkLst>
        </pc:picChg>
        <pc:picChg chg="add mod">
          <ac:chgData name="Miranda Quispe, Bruno Sebastian" userId="5df213b2-8b23-43f1-8137-24ac80ef972a" providerId="ADAL" clId="{E965C011-1063-4CD3-8CA5-A8D35C5C287B}" dt="2022-07-26T13:57:36.413" v="2670" actId="1076"/>
          <ac:picMkLst>
            <pc:docMk/>
            <pc:sldMk cId="2126893423" sldId="2147470450"/>
            <ac:picMk id="12" creationId="{06CFEB26-A65E-443F-EBDF-55FE029017AD}"/>
          </ac:picMkLst>
        </pc:picChg>
        <pc:picChg chg="add mod">
          <ac:chgData name="Miranda Quispe, Bruno Sebastian" userId="5df213b2-8b23-43f1-8137-24ac80ef972a" providerId="ADAL" clId="{E965C011-1063-4CD3-8CA5-A8D35C5C287B}" dt="2022-07-26T13:57:39.842" v="2671" actId="1076"/>
          <ac:picMkLst>
            <pc:docMk/>
            <pc:sldMk cId="2126893423" sldId="2147470450"/>
            <ac:picMk id="14" creationId="{3C3EC85B-FF2F-73B7-972F-AC83A5B461A7}"/>
          </ac:picMkLst>
        </pc:picChg>
        <pc:picChg chg="add mod">
          <ac:chgData name="Miranda Quispe, Bruno Sebastian" userId="5df213b2-8b23-43f1-8137-24ac80ef972a" providerId="ADAL" clId="{E965C011-1063-4CD3-8CA5-A8D35C5C287B}" dt="2022-07-26T13:57:32.536" v="2668" actId="571"/>
          <ac:picMkLst>
            <pc:docMk/>
            <pc:sldMk cId="2126893423" sldId="2147470450"/>
            <ac:picMk id="17" creationId="{1209D82E-6428-45EA-DEFF-CA91C44D0EC5}"/>
          </ac:picMkLst>
        </pc:picChg>
        <pc:picChg chg="add mod">
          <ac:chgData name="Miranda Quispe, Bruno Sebastian" userId="5df213b2-8b23-43f1-8137-24ac80ef972a" providerId="ADAL" clId="{E965C011-1063-4CD3-8CA5-A8D35C5C287B}" dt="2022-07-26T13:57:32.536" v="2668" actId="571"/>
          <ac:picMkLst>
            <pc:docMk/>
            <pc:sldMk cId="2126893423" sldId="2147470450"/>
            <ac:picMk id="18" creationId="{9D0388B4-C7A8-0A47-43AC-D16549A19451}"/>
          </ac:picMkLst>
        </pc:picChg>
        <pc:picChg chg="add mod">
          <ac:chgData name="Miranda Quispe, Bruno Sebastian" userId="5df213b2-8b23-43f1-8137-24ac80ef972a" providerId="ADAL" clId="{E965C011-1063-4CD3-8CA5-A8D35C5C287B}" dt="2022-07-26T13:58:40.588" v="2691" actId="1076"/>
          <ac:picMkLst>
            <pc:docMk/>
            <pc:sldMk cId="2126893423" sldId="2147470450"/>
            <ac:picMk id="20" creationId="{52614BF4-C188-62D9-C5D0-2C740289BABC}"/>
          </ac:picMkLst>
        </pc:picChg>
      </pc:sldChg>
      <pc:sldChg chg="addSp delSp modSp new mod ord modClrScheme chgLayout">
        <pc:chgData name="Miranda Quispe, Bruno Sebastian" userId="5df213b2-8b23-43f1-8137-24ac80ef972a" providerId="ADAL" clId="{E965C011-1063-4CD3-8CA5-A8D35C5C287B}" dt="2022-08-10T16:17:55.774" v="12317"/>
        <pc:sldMkLst>
          <pc:docMk/>
          <pc:sldMk cId="3933783927" sldId="2147470451"/>
        </pc:sldMkLst>
        <pc:spChg chg="del mod ord">
          <ac:chgData name="Miranda Quispe, Bruno Sebastian" userId="5df213b2-8b23-43f1-8137-24ac80ef972a" providerId="ADAL" clId="{E965C011-1063-4CD3-8CA5-A8D35C5C287B}" dt="2022-07-26T13:53:51.568" v="2562" actId="700"/>
          <ac:spMkLst>
            <pc:docMk/>
            <pc:sldMk cId="3933783927" sldId="2147470451"/>
            <ac:spMk id="2" creationId="{04B26B98-23A5-843F-5AD3-00158EE300EF}"/>
          </ac:spMkLst>
        </pc:spChg>
        <pc:spChg chg="del mod ord">
          <ac:chgData name="Miranda Quispe, Bruno Sebastian" userId="5df213b2-8b23-43f1-8137-24ac80ef972a" providerId="ADAL" clId="{E965C011-1063-4CD3-8CA5-A8D35C5C287B}" dt="2022-07-26T13:53:51.568" v="2562" actId="700"/>
          <ac:spMkLst>
            <pc:docMk/>
            <pc:sldMk cId="3933783927" sldId="2147470451"/>
            <ac:spMk id="3" creationId="{9DE88E81-A963-7867-0926-7482D68575CE}"/>
          </ac:spMkLst>
        </pc:spChg>
        <pc:spChg chg="add mod ord">
          <ac:chgData name="Miranda Quispe, Bruno Sebastian" userId="5df213b2-8b23-43f1-8137-24ac80ef972a" providerId="ADAL" clId="{E965C011-1063-4CD3-8CA5-A8D35C5C287B}" dt="2022-07-26T13:56:19.406" v="2636" actId="20577"/>
          <ac:spMkLst>
            <pc:docMk/>
            <pc:sldMk cId="3933783927" sldId="2147470451"/>
            <ac:spMk id="4" creationId="{DB326117-D639-F61D-A1F5-4C80D3A64B3B}"/>
          </ac:spMkLst>
        </pc:spChg>
        <pc:spChg chg="add mod ord">
          <ac:chgData name="Miranda Quispe, Bruno Sebastian" userId="5df213b2-8b23-43f1-8137-24ac80ef972a" providerId="ADAL" clId="{E965C011-1063-4CD3-8CA5-A8D35C5C287B}" dt="2022-07-26T15:52:06.597" v="3402" actId="20577"/>
          <ac:spMkLst>
            <pc:docMk/>
            <pc:sldMk cId="3933783927" sldId="2147470451"/>
            <ac:spMk id="5" creationId="{9870EA1D-0CA0-E3E2-75DD-27C3A78BBC5A}"/>
          </ac:spMkLst>
        </pc:spChg>
      </pc:sldChg>
      <pc:sldChg chg="addSp delSp modSp new mod ord">
        <pc:chgData name="Miranda Quispe, Bruno Sebastian" userId="5df213b2-8b23-43f1-8137-24ac80ef972a" providerId="ADAL" clId="{E965C011-1063-4CD3-8CA5-A8D35C5C287B}" dt="2022-08-10T19:16:51.049" v="12619" actId="1076"/>
        <pc:sldMkLst>
          <pc:docMk/>
          <pc:sldMk cId="1045753999" sldId="2147470452"/>
        </pc:sldMkLst>
        <pc:spChg chg="mod">
          <ac:chgData name="Miranda Quispe, Bruno Sebastian" userId="5df213b2-8b23-43f1-8137-24ac80ef972a" providerId="ADAL" clId="{E965C011-1063-4CD3-8CA5-A8D35C5C287B}" dt="2022-07-26T15:52:33.836" v="3458" actId="20577"/>
          <ac:spMkLst>
            <pc:docMk/>
            <pc:sldMk cId="1045753999" sldId="2147470452"/>
            <ac:spMk id="3" creationId="{6C2E9356-2BA7-50E4-C417-FD7492301285}"/>
          </ac:spMkLst>
        </pc:spChg>
        <pc:spChg chg="del mod">
          <ac:chgData name="Miranda Quispe, Bruno Sebastian" userId="5df213b2-8b23-43f1-8137-24ac80ef972a" providerId="ADAL" clId="{E965C011-1063-4CD3-8CA5-A8D35C5C287B}" dt="2022-07-26T15:57:20.703" v="3460" actId="1032"/>
          <ac:spMkLst>
            <pc:docMk/>
            <pc:sldMk cId="1045753999" sldId="2147470452"/>
            <ac:spMk id="4" creationId="{55247397-8BF0-0AD5-50D9-B0D90BB50232}"/>
          </ac:spMkLst>
        </pc:spChg>
        <pc:spChg chg="add mod">
          <ac:chgData name="Miranda Quispe, Bruno Sebastian" userId="5df213b2-8b23-43f1-8137-24ac80ef972a" providerId="ADAL" clId="{E965C011-1063-4CD3-8CA5-A8D35C5C287B}" dt="2022-08-10T19:16:51.049" v="12619" actId="1076"/>
          <ac:spMkLst>
            <pc:docMk/>
            <pc:sldMk cId="1045753999" sldId="2147470452"/>
            <ac:spMk id="7" creationId="{3DC9858D-2BE7-0CF6-7945-941DBCAD1CFA}"/>
          </ac:spMkLst>
        </pc:spChg>
        <pc:spChg chg="add del mod">
          <ac:chgData name="Miranda Quispe, Bruno Sebastian" userId="5df213b2-8b23-43f1-8137-24ac80ef972a" providerId="ADAL" clId="{E965C011-1063-4CD3-8CA5-A8D35C5C287B}" dt="2022-07-27T15:59:46.456" v="6727" actId="478"/>
          <ac:spMkLst>
            <pc:docMk/>
            <pc:sldMk cId="1045753999" sldId="2147470452"/>
            <ac:spMk id="11" creationId="{70030C95-B6D0-0CD0-EBA3-15C7D219FE51}"/>
          </ac:spMkLst>
        </pc:spChg>
        <pc:spChg chg="mod">
          <ac:chgData name="Miranda Quispe, Bruno Sebastian" userId="5df213b2-8b23-43f1-8137-24ac80ef972a" providerId="ADAL" clId="{E965C011-1063-4CD3-8CA5-A8D35C5C287B}" dt="2022-07-26T16:26:57.316" v="4605" actId="27803"/>
          <ac:spMkLst>
            <pc:docMk/>
            <pc:sldMk cId="1045753999" sldId="2147470452"/>
            <ac:spMk id="12" creationId="{5264295A-FF03-3AC6-979B-AADCE0B46958}"/>
          </ac:spMkLst>
        </pc:spChg>
        <pc:spChg chg="mod">
          <ac:chgData name="Miranda Quispe, Bruno Sebastian" userId="5df213b2-8b23-43f1-8137-24ac80ef972a" providerId="ADAL" clId="{E965C011-1063-4CD3-8CA5-A8D35C5C287B}" dt="2022-07-26T16:26:57.316" v="4605" actId="27803"/>
          <ac:spMkLst>
            <pc:docMk/>
            <pc:sldMk cId="1045753999" sldId="2147470452"/>
            <ac:spMk id="13" creationId="{1E738F3E-157E-28C7-C2B7-E6A718F6E471}"/>
          </ac:spMkLst>
        </pc:spChg>
        <pc:spChg chg="mod">
          <ac:chgData name="Miranda Quispe, Bruno Sebastian" userId="5df213b2-8b23-43f1-8137-24ac80ef972a" providerId="ADAL" clId="{E965C011-1063-4CD3-8CA5-A8D35C5C287B}" dt="2022-07-26T16:26:57.316" v="4605" actId="27803"/>
          <ac:spMkLst>
            <pc:docMk/>
            <pc:sldMk cId="1045753999" sldId="2147470452"/>
            <ac:spMk id="14" creationId="{9388B3B7-2E0D-791D-3753-5CF3386053FF}"/>
          </ac:spMkLst>
        </pc:spChg>
        <pc:spChg chg="mod">
          <ac:chgData name="Miranda Quispe, Bruno Sebastian" userId="5df213b2-8b23-43f1-8137-24ac80ef972a" providerId="ADAL" clId="{E965C011-1063-4CD3-8CA5-A8D35C5C287B}" dt="2022-07-26T16:26:57.316" v="4605" actId="27803"/>
          <ac:spMkLst>
            <pc:docMk/>
            <pc:sldMk cId="1045753999" sldId="2147470452"/>
            <ac:spMk id="15" creationId="{1F4AE48B-50B1-918A-0863-6BCC1444F44B}"/>
          </ac:spMkLst>
        </pc:spChg>
        <pc:grpChg chg="mod">
          <ac:chgData name="Miranda Quispe, Bruno Sebastian" userId="5df213b2-8b23-43f1-8137-24ac80ef972a" providerId="ADAL" clId="{E965C011-1063-4CD3-8CA5-A8D35C5C287B}" dt="2022-07-26T16:26:57.316" v="4605" actId="27803"/>
          <ac:grpSpMkLst>
            <pc:docMk/>
            <pc:sldMk cId="1045753999" sldId="2147470452"/>
            <ac:grpSpMk id="11" creationId="{15310365-6C82-4445-57B4-220A17991BF1}"/>
          </ac:grpSpMkLst>
        </pc:grpChg>
        <pc:grpChg chg="add mod">
          <ac:chgData name="Miranda Quispe, Bruno Sebastian" userId="5df213b2-8b23-43f1-8137-24ac80ef972a" providerId="ADAL" clId="{E965C011-1063-4CD3-8CA5-A8D35C5C287B}" dt="2022-08-10T19:16:51.049" v="12619" actId="1076"/>
          <ac:grpSpMkLst>
            <pc:docMk/>
            <pc:sldMk cId="1045753999" sldId="2147470452"/>
            <ac:grpSpMk id="16" creationId="{299B4BDB-B302-B51B-A965-6C07C6AA758C}"/>
          </ac:grpSpMkLst>
        </pc:grpChg>
        <pc:graphicFrameChg chg="add mod modGraphic">
          <ac:chgData name="Miranda Quispe, Bruno Sebastian" userId="5df213b2-8b23-43f1-8137-24ac80ef972a" providerId="ADAL" clId="{E965C011-1063-4CD3-8CA5-A8D35C5C287B}" dt="2022-08-10T19:16:51.049" v="12619" actId="1076"/>
          <ac:graphicFrameMkLst>
            <pc:docMk/>
            <pc:sldMk cId="1045753999" sldId="2147470452"/>
            <ac:graphicFrameMk id="5" creationId="{0AC46408-35F8-BC23-85AF-277362D33280}"/>
          </ac:graphicFrameMkLst>
        </pc:graphicFrameChg>
        <pc:graphicFrameChg chg="add mod modGraphic">
          <ac:chgData name="Miranda Quispe, Bruno Sebastian" userId="5df213b2-8b23-43f1-8137-24ac80ef972a" providerId="ADAL" clId="{E965C011-1063-4CD3-8CA5-A8D35C5C287B}" dt="2022-07-26T16:32:07.942" v="4610" actId="164"/>
          <ac:graphicFrameMkLst>
            <pc:docMk/>
            <pc:sldMk cId="1045753999" sldId="2147470452"/>
            <ac:graphicFrameMk id="6" creationId="{A6082FFE-AEB7-D1F9-368B-A5839069863A}"/>
          </ac:graphicFrameMkLst>
        </pc:graphicFrameChg>
        <pc:picChg chg="add mod">
          <ac:chgData name="Miranda Quispe, Bruno Sebastian" userId="5df213b2-8b23-43f1-8137-24ac80ef972a" providerId="ADAL" clId="{E965C011-1063-4CD3-8CA5-A8D35C5C287B}" dt="2022-07-26T16:32:07.942" v="4610" actId="164"/>
          <ac:picMkLst>
            <pc:docMk/>
            <pc:sldMk cId="1045753999" sldId="2147470452"/>
            <ac:picMk id="8" creationId="{20992E10-C396-D876-C61D-0A6E382844AE}"/>
          </ac:picMkLst>
        </pc:picChg>
        <pc:picChg chg="add mod">
          <ac:chgData name="Miranda Quispe, Bruno Sebastian" userId="5df213b2-8b23-43f1-8137-24ac80ef972a" providerId="ADAL" clId="{E965C011-1063-4CD3-8CA5-A8D35C5C287B}" dt="2022-07-26T16:32:07.942" v="4610" actId="164"/>
          <ac:picMkLst>
            <pc:docMk/>
            <pc:sldMk cId="1045753999" sldId="2147470452"/>
            <ac:picMk id="9" creationId="{3E1F8E27-5AF6-1B32-04EC-0AF8DE9BEDF5}"/>
          </ac:picMkLst>
        </pc:picChg>
        <pc:picChg chg="add del mod">
          <ac:chgData name="Miranda Quispe, Bruno Sebastian" userId="5df213b2-8b23-43f1-8137-24ac80ef972a" providerId="ADAL" clId="{E965C011-1063-4CD3-8CA5-A8D35C5C287B}" dt="2022-07-26T16:32:07.942" v="4610" actId="164"/>
          <ac:picMkLst>
            <pc:docMk/>
            <pc:sldMk cId="1045753999" sldId="2147470452"/>
            <ac:picMk id="10" creationId="{6A35A45D-3FFA-4F46-5E7F-89ABBED4F24D}"/>
          </ac:picMkLst>
        </pc:picChg>
      </pc:sldChg>
      <pc:sldChg chg="addSp delSp modSp new mod ord">
        <pc:chgData name="Miranda Quispe, Bruno Sebastian" userId="5df213b2-8b23-43f1-8137-24ac80ef972a" providerId="ADAL" clId="{E965C011-1063-4CD3-8CA5-A8D35C5C287B}" dt="2022-08-10T20:13:56.198" v="13211" actId="20577"/>
        <pc:sldMkLst>
          <pc:docMk/>
          <pc:sldMk cId="4169394165" sldId="2147470453"/>
        </pc:sldMkLst>
        <pc:spChg chg="mod">
          <ac:chgData name="Miranda Quispe, Bruno Sebastian" userId="5df213b2-8b23-43f1-8137-24ac80ef972a" providerId="ADAL" clId="{E965C011-1063-4CD3-8CA5-A8D35C5C287B}" dt="2022-07-26T16:39:02.585" v="4755" actId="14100"/>
          <ac:spMkLst>
            <pc:docMk/>
            <pc:sldMk cId="4169394165" sldId="2147470453"/>
            <ac:spMk id="3" creationId="{7042A073-0799-88D5-DB69-5B19BADDB929}"/>
          </ac:spMkLst>
        </pc:spChg>
        <pc:spChg chg="del">
          <ac:chgData name="Miranda Quispe, Bruno Sebastian" userId="5df213b2-8b23-43f1-8137-24ac80ef972a" providerId="ADAL" clId="{E965C011-1063-4CD3-8CA5-A8D35C5C287B}" dt="2022-07-26T16:31:49.204" v="4609" actId="478"/>
          <ac:spMkLst>
            <pc:docMk/>
            <pc:sldMk cId="4169394165" sldId="2147470453"/>
            <ac:spMk id="4" creationId="{7FC9DB3B-69E6-092D-0F96-7F6ADE852E2F}"/>
          </ac:spMkLst>
        </pc:spChg>
        <pc:spChg chg="add del mod">
          <ac:chgData name="Miranda Quispe, Bruno Sebastian" userId="5df213b2-8b23-43f1-8137-24ac80ef972a" providerId="ADAL" clId="{E965C011-1063-4CD3-8CA5-A8D35C5C287B}" dt="2022-07-26T16:45:19.578" v="5066"/>
          <ac:spMkLst>
            <pc:docMk/>
            <pc:sldMk cId="4169394165" sldId="2147470453"/>
            <ac:spMk id="11" creationId="{E8BA4233-FF14-53B1-A201-AB81CD164076}"/>
          </ac:spMkLst>
        </pc:spChg>
        <pc:spChg chg="add mod">
          <ac:chgData name="Miranda Quispe, Bruno Sebastian" userId="5df213b2-8b23-43f1-8137-24ac80ef972a" providerId="ADAL" clId="{E965C011-1063-4CD3-8CA5-A8D35C5C287B}" dt="2022-07-26T16:46:13.309" v="5079" actId="14100"/>
          <ac:spMkLst>
            <pc:docMk/>
            <pc:sldMk cId="4169394165" sldId="2147470453"/>
            <ac:spMk id="12" creationId="{3A164C3F-11ED-113E-44BD-D6F4F7DF1315}"/>
          </ac:spMkLst>
        </pc:spChg>
        <pc:spChg chg="add mod">
          <ac:chgData name="Miranda Quispe, Bruno Sebastian" userId="5df213b2-8b23-43f1-8137-24ac80ef972a" providerId="ADAL" clId="{E965C011-1063-4CD3-8CA5-A8D35C5C287B}" dt="2022-08-10T20:13:56.198" v="13211" actId="20577"/>
          <ac:spMkLst>
            <pc:docMk/>
            <pc:sldMk cId="4169394165" sldId="2147470453"/>
            <ac:spMk id="13" creationId="{0C7F408E-DB35-71BC-625E-E75B342681B4}"/>
          </ac:spMkLst>
        </pc:spChg>
        <pc:graphicFrameChg chg="add del mod modGraphic">
          <ac:chgData name="Miranda Quispe, Bruno Sebastian" userId="5df213b2-8b23-43f1-8137-24ac80ef972a" providerId="ADAL" clId="{E965C011-1063-4CD3-8CA5-A8D35C5C287B}" dt="2022-07-26T16:34:08.261" v="4613" actId="478"/>
          <ac:graphicFrameMkLst>
            <pc:docMk/>
            <pc:sldMk cId="4169394165" sldId="2147470453"/>
            <ac:graphicFrameMk id="5" creationId="{A0C41D36-985F-9292-F5C9-E91106ED2C7B}"/>
          </ac:graphicFrameMkLst>
        </pc:graphicFrameChg>
        <pc:graphicFrameChg chg="add del mod modGraphic">
          <ac:chgData name="Miranda Quispe, Bruno Sebastian" userId="5df213b2-8b23-43f1-8137-24ac80ef972a" providerId="ADAL" clId="{E965C011-1063-4CD3-8CA5-A8D35C5C287B}" dt="2022-07-26T16:35:03.862" v="4623" actId="478"/>
          <ac:graphicFrameMkLst>
            <pc:docMk/>
            <pc:sldMk cId="4169394165" sldId="2147470453"/>
            <ac:graphicFrameMk id="6" creationId="{83C1C051-CBD2-85B6-19B0-5E352CCE5F91}"/>
          </ac:graphicFrameMkLst>
        </pc:graphicFrameChg>
        <pc:graphicFrameChg chg="add del mod modGraphic">
          <ac:chgData name="Miranda Quispe, Bruno Sebastian" userId="5df213b2-8b23-43f1-8137-24ac80ef972a" providerId="ADAL" clId="{E965C011-1063-4CD3-8CA5-A8D35C5C287B}" dt="2022-07-26T16:35:04.753" v="4624" actId="478"/>
          <ac:graphicFrameMkLst>
            <pc:docMk/>
            <pc:sldMk cId="4169394165" sldId="2147470453"/>
            <ac:graphicFrameMk id="7" creationId="{FD4AE762-C53D-E102-C271-205C80D36E6B}"/>
          </ac:graphicFrameMkLst>
        </pc:graphicFrameChg>
        <pc:graphicFrameChg chg="add del mod modGraphic">
          <ac:chgData name="Miranda Quispe, Bruno Sebastian" userId="5df213b2-8b23-43f1-8137-24ac80ef972a" providerId="ADAL" clId="{E965C011-1063-4CD3-8CA5-A8D35C5C287B}" dt="2022-07-26T16:36:16.821" v="4647" actId="478"/>
          <ac:graphicFrameMkLst>
            <pc:docMk/>
            <pc:sldMk cId="4169394165" sldId="2147470453"/>
            <ac:graphicFrameMk id="8" creationId="{98759235-9847-5A94-4994-A522FEE1374D}"/>
          </ac:graphicFrameMkLst>
        </pc:graphicFrameChg>
        <pc:graphicFrameChg chg="add mod modGraphic">
          <ac:chgData name="Miranda Quispe, Bruno Sebastian" userId="5df213b2-8b23-43f1-8137-24ac80ef972a" providerId="ADAL" clId="{E965C011-1063-4CD3-8CA5-A8D35C5C287B}" dt="2022-07-26T16:44:52.799" v="5062" actId="20577"/>
          <ac:graphicFrameMkLst>
            <pc:docMk/>
            <pc:sldMk cId="4169394165" sldId="2147470453"/>
            <ac:graphicFrameMk id="10" creationId="{5018402F-C34D-7C4C-8B88-20CFB94A8187}"/>
          </ac:graphicFrameMkLst>
        </pc:graphicFrameChg>
        <pc:picChg chg="add del mod">
          <ac:chgData name="Miranda Quispe, Bruno Sebastian" userId="5df213b2-8b23-43f1-8137-24ac80ef972a" providerId="ADAL" clId="{E965C011-1063-4CD3-8CA5-A8D35C5C287B}" dt="2022-07-26T16:36:14.878" v="4646"/>
          <ac:picMkLst>
            <pc:docMk/>
            <pc:sldMk cId="4169394165" sldId="2147470453"/>
            <ac:picMk id="9" creationId="{7E5D113C-6F43-CD35-210E-45B1BAB77138}"/>
          </ac:picMkLst>
        </pc:picChg>
      </pc:sldChg>
      <pc:sldChg chg="new del">
        <pc:chgData name="Miranda Quispe, Bruno Sebastian" userId="5df213b2-8b23-43f1-8137-24ac80ef972a" providerId="ADAL" clId="{E965C011-1063-4CD3-8CA5-A8D35C5C287B}" dt="2022-07-26T16:52:46.393" v="5528" actId="2696"/>
        <pc:sldMkLst>
          <pc:docMk/>
          <pc:sldMk cId="2597627915" sldId="2147470454"/>
        </pc:sldMkLst>
      </pc:sldChg>
      <pc:sldChg chg="modSp add mod ord setBg">
        <pc:chgData name="Miranda Quispe, Bruno Sebastian" userId="5df213b2-8b23-43f1-8137-24ac80ef972a" providerId="ADAL" clId="{E965C011-1063-4CD3-8CA5-A8D35C5C287B}" dt="2022-08-11T21:34:52.064" v="15554" actId="1076"/>
        <pc:sldMkLst>
          <pc:docMk/>
          <pc:sldMk cId="3819050712" sldId="2147470455"/>
        </pc:sldMkLst>
        <pc:spChg chg="mod">
          <ac:chgData name="Miranda Quispe, Bruno Sebastian" userId="5df213b2-8b23-43f1-8137-24ac80ef972a" providerId="ADAL" clId="{E965C011-1063-4CD3-8CA5-A8D35C5C287B}" dt="2022-08-11T21:34:52.064" v="15554" actId="1076"/>
          <ac:spMkLst>
            <pc:docMk/>
            <pc:sldMk cId="3819050712" sldId="2147470455"/>
            <ac:spMk id="5" creationId="{9D58770F-B30D-569B-159B-802C7BB618C8}"/>
          </ac:spMkLst>
        </pc:spChg>
        <pc:spChg chg="mod">
          <ac:chgData name="Miranda Quispe, Bruno Sebastian" userId="5df213b2-8b23-43f1-8137-24ac80ef972a" providerId="ADAL" clId="{E965C011-1063-4CD3-8CA5-A8D35C5C287B}" dt="2022-07-26T17:08:11.819" v="6417" actId="20577"/>
          <ac:spMkLst>
            <pc:docMk/>
            <pc:sldMk cId="3819050712" sldId="2147470455"/>
            <ac:spMk id="6" creationId="{E5200AEC-4A48-914B-3120-D770D8B6C04E}"/>
          </ac:spMkLst>
        </pc:spChg>
        <pc:spChg chg="mod">
          <ac:chgData name="Miranda Quispe, Bruno Sebastian" userId="5df213b2-8b23-43f1-8137-24ac80ef972a" providerId="ADAL" clId="{E965C011-1063-4CD3-8CA5-A8D35C5C287B}" dt="2022-08-10T15:43:10.816" v="12271" actId="1076"/>
          <ac:spMkLst>
            <pc:docMk/>
            <pc:sldMk cId="3819050712" sldId="2147470455"/>
            <ac:spMk id="7" creationId="{321BEDA9-7F21-AF6E-C99E-354CAF68E4FD}"/>
          </ac:spMkLst>
        </pc:spChg>
        <pc:spChg chg="mod">
          <ac:chgData name="Miranda Quispe, Bruno Sebastian" userId="5df213b2-8b23-43f1-8137-24ac80ef972a" providerId="ADAL" clId="{E965C011-1063-4CD3-8CA5-A8D35C5C287B}" dt="2022-07-26T17:08:36.482" v="6430" actId="20577"/>
          <ac:spMkLst>
            <pc:docMk/>
            <pc:sldMk cId="3819050712" sldId="2147470455"/>
            <ac:spMk id="8" creationId="{13683FCA-2592-72EC-73BC-2C65B7822987}"/>
          </ac:spMkLst>
        </pc:spChg>
        <pc:spChg chg="mod">
          <ac:chgData name="Miranda Quispe, Bruno Sebastian" userId="5df213b2-8b23-43f1-8137-24ac80ef972a" providerId="ADAL" clId="{E965C011-1063-4CD3-8CA5-A8D35C5C287B}" dt="2022-08-10T15:43:10.816" v="12271" actId="1076"/>
          <ac:spMkLst>
            <pc:docMk/>
            <pc:sldMk cId="3819050712" sldId="2147470455"/>
            <ac:spMk id="12" creationId="{BE3B6E9D-7202-14AE-54E2-A4633B2DD9CC}"/>
          </ac:spMkLst>
        </pc:spChg>
      </pc:sldChg>
      <pc:sldChg chg="new del">
        <pc:chgData name="Miranda Quispe, Bruno Sebastian" userId="5df213b2-8b23-43f1-8137-24ac80ef972a" providerId="ADAL" clId="{E965C011-1063-4CD3-8CA5-A8D35C5C287B}" dt="2022-07-27T15:48:36.546" v="6509" actId="2696"/>
        <pc:sldMkLst>
          <pc:docMk/>
          <pc:sldMk cId="3790011650" sldId="2147470456"/>
        </pc:sldMkLst>
      </pc:sldChg>
      <pc:sldChg chg="addSp delSp modSp add mod setBg">
        <pc:chgData name="Miranda Quispe, Bruno Sebastian" userId="5df213b2-8b23-43f1-8137-24ac80ef972a" providerId="ADAL" clId="{E965C011-1063-4CD3-8CA5-A8D35C5C287B}" dt="2022-07-27T17:01:43.647" v="6753" actId="20577"/>
        <pc:sldMkLst>
          <pc:docMk/>
          <pc:sldMk cId="3460971082" sldId="2147470457"/>
        </pc:sldMkLst>
        <pc:spChg chg="add del mod">
          <ac:chgData name="Miranda Quispe, Bruno Sebastian" userId="5df213b2-8b23-43f1-8137-24ac80ef972a" providerId="ADAL" clId="{E965C011-1063-4CD3-8CA5-A8D35C5C287B}" dt="2022-07-27T15:59:40.721" v="6725" actId="21"/>
          <ac:spMkLst>
            <pc:docMk/>
            <pc:sldMk cId="3460971082" sldId="2147470457"/>
            <ac:spMk id="3" creationId="{06B8DD07-BDA2-F733-2434-9DAF9191B6DD}"/>
          </ac:spMkLst>
        </pc:spChg>
        <pc:spChg chg="add del">
          <ac:chgData name="Miranda Quispe, Bruno Sebastian" userId="5df213b2-8b23-43f1-8137-24ac80ef972a" providerId="ADAL" clId="{E965C011-1063-4CD3-8CA5-A8D35C5C287B}" dt="2022-07-27T15:59:56.902" v="6729" actId="478"/>
          <ac:spMkLst>
            <pc:docMk/>
            <pc:sldMk cId="3460971082" sldId="2147470457"/>
            <ac:spMk id="4" creationId="{ABD24B67-34AB-F5D7-23C7-E1EE51A14ECC}"/>
          </ac:spMkLst>
        </pc:spChg>
        <pc:spChg chg="add del mod">
          <ac:chgData name="Miranda Quispe, Bruno Sebastian" userId="5df213b2-8b23-43f1-8137-24ac80ef972a" providerId="ADAL" clId="{E965C011-1063-4CD3-8CA5-A8D35C5C287B}" dt="2022-07-27T16:00:17.958" v="6735" actId="478"/>
          <ac:spMkLst>
            <pc:docMk/>
            <pc:sldMk cId="3460971082" sldId="2147470457"/>
            <ac:spMk id="5" creationId="{0C61ED12-B630-E2D1-D821-8EEED82C1779}"/>
          </ac:spMkLst>
        </pc:spChg>
        <pc:spChg chg="mod">
          <ac:chgData name="Miranda Quispe, Bruno Sebastian" userId="5df213b2-8b23-43f1-8137-24ac80ef972a" providerId="ADAL" clId="{E965C011-1063-4CD3-8CA5-A8D35C5C287B}" dt="2022-07-27T17:01:43.647" v="6753" actId="20577"/>
          <ac:spMkLst>
            <pc:docMk/>
            <pc:sldMk cId="3460971082" sldId="2147470457"/>
            <ac:spMk id="7" creationId="{834DE61B-69D4-648C-09CD-329073E45B01}"/>
          </ac:spMkLst>
        </pc:spChg>
        <pc:spChg chg="mod">
          <ac:chgData name="Miranda Quispe, Bruno Sebastian" userId="5df213b2-8b23-43f1-8137-24ac80ef972a" providerId="ADAL" clId="{E965C011-1063-4CD3-8CA5-A8D35C5C287B}" dt="2022-07-27T15:49:41.873" v="6686" actId="20577"/>
          <ac:spMkLst>
            <pc:docMk/>
            <pc:sldMk cId="3460971082" sldId="2147470457"/>
            <ac:spMk id="8" creationId="{E6971E8D-A4BA-1641-A29A-4E7A935C21F1}"/>
          </ac:spMkLst>
        </pc:spChg>
        <pc:picChg chg="add mod">
          <ac:chgData name="Miranda Quispe, Bruno Sebastian" userId="5df213b2-8b23-43f1-8137-24ac80ef972a" providerId="ADAL" clId="{E965C011-1063-4CD3-8CA5-A8D35C5C287B}" dt="2022-07-27T16:01:18.381" v="6743" actId="1076"/>
          <ac:picMkLst>
            <pc:docMk/>
            <pc:sldMk cId="3460971082" sldId="2147470457"/>
            <ac:picMk id="9" creationId="{2860A3CC-1856-F9F0-C1A8-D3E215954998}"/>
          </ac:picMkLst>
        </pc:picChg>
        <pc:picChg chg="del">
          <ac:chgData name="Miranda Quispe, Bruno Sebastian" userId="5df213b2-8b23-43f1-8137-24ac80ef972a" providerId="ADAL" clId="{E965C011-1063-4CD3-8CA5-A8D35C5C287B}" dt="2022-07-27T16:01:14.955" v="6742" actId="478"/>
          <ac:picMkLst>
            <pc:docMk/>
            <pc:sldMk cId="3460971082" sldId="2147470457"/>
            <ac:picMk id="4098" creationId="{DF7DBC55-D07B-3E14-B80E-28D12ED09E76}"/>
          </ac:picMkLst>
        </pc:picChg>
      </pc:sldChg>
      <pc:sldChg chg="addSp delSp modSp new mod modClrScheme chgLayout">
        <pc:chgData name="Miranda Quispe, Bruno Sebastian" userId="5df213b2-8b23-43f1-8137-24ac80ef972a" providerId="ADAL" clId="{E965C011-1063-4CD3-8CA5-A8D35C5C287B}" dt="2022-09-05T16:33:13.382" v="23149" actId="1076"/>
        <pc:sldMkLst>
          <pc:docMk/>
          <pc:sldMk cId="4065268711" sldId="2147470458"/>
        </pc:sldMkLst>
        <pc:spChg chg="del mod ord">
          <ac:chgData name="Miranda Quispe, Bruno Sebastian" userId="5df213b2-8b23-43f1-8137-24ac80ef972a" providerId="ADAL" clId="{E965C011-1063-4CD3-8CA5-A8D35C5C287B}" dt="2022-07-27T17:02:21.717" v="6765" actId="700"/>
          <ac:spMkLst>
            <pc:docMk/>
            <pc:sldMk cId="4065268711" sldId="2147470458"/>
            <ac:spMk id="2" creationId="{340CC48E-A673-FB41-28DF-A6B8DA2CA74A}"/>
          </ac:spMkLst>
        </pc:spChg>
        <pc:spChg chg="del mod ord">
          <ac:chgData name="Miranda Quispe, Bruno Sebastian" userId="5df213b2-8b23-43f1-8137-24ac80ef972a" providerId="ADAL" clId="{E965C011-1063-4CD3-8CA5-A8D35C5C287B}" dt="2022-07-27T17:02:21.717" v="6765" actId="700"/>
          <ac:spMkLst>
            <pc:docMk/>
            <pc:sldMk cId="4065268711" sldId="2147470458"/>
            <ac:spMk id="3" creationId="{08A403C5-2427-6D89-0C01-B434640B1433}"/>
          </ac:spMkLst>
        </pc:spChg>
        <pc:spChg chg="add mod ord">
          <ac:chgData name="Miranda Quispe, Bruno Sebastian" userId="5df213b2-8b23-43f1-8137-24ac80ef972a" providerId="ADAL" clId="{E965C011-1063-4CD3-8CA5-A8D35C5C287B}" dt="2022-07-27T17:02:43.122" v="6844" actId="14100"/>
          <ac:spMkLst>
            <pc:docMk/>
            <pc:sldMk cId="4065268711" sldId="2147470458"/>
            <ac:spMk id="4" creationId="{5688E06B-7746-0CF7-081D-155F45442C48}"/>
          </ac:spMkLst>
        </pc:spChg>
        <pc:spChg chg="add del mod ord">
          <ac:chgData name="Miranda Quispe, Bruno Sebastian" userId="5df213b2-8b23-43f1-8137-24ac80ef972a" providerId="ADAL" clId="{E965C011-1063-4CD3-8CA5-A8D35C5C287B}" dt="2022-07-27T17:40:44.464" v="6855" actId="478"/>
          <ac:spMkLst>
            <pc:docMk/>
            <pc:sldMk cId="4065268711" sldId="2147470458"/>
            <ac:spMk id="5" creationId="{09528A48-5B33-7E9C-3E0C-BF8FAD837686}"/>
          </ac:spMkLst>
        </pc:spChg>
        <pc:spChg chg="add mod">
          <ac:chgData name="Miranda Quispe, Bruno Sebastian" userId="5df213b2-8b23-43f1-8137-24ac80ef972a" providerId="ADAL" clId="{E965C011-1063-4CD3-8CA5-A8D35C5C287B}" dt="2022-07-27T17:43:14.496" v="6870" actId="2085"/>
          <ac:spMkLst>
            <pc:docMk/>
            <pc:sldMk cId="4065268711" sldId="2147470458"/>
            <ac:spMk id="6" creationId="{5F22ABAB-98B9-353C-CD03-7048F25C7898}"/>
          </ac:spMkLst>
        </pc:spChg>
        <pc:spChg chg="add mod">
          <ac:chgData name="Miranda Quispe, Bruno Sebastian" userId="5df213b2-8b23-43f1-8137-24ac80ef972a" providerId="ADAL" clId="{E965C011-1063-4CD3-8CA5-A8D35C5C287B}" dt="2022-07-27T17:47:45.101" v="6944" actId="1076"/>
          <ac:spMkLst>
            <pc:docMk/>
            <pc:sldMk cId="4065268711" sldId="2147470458"/>
            <ac:spMk id="7" creationId="{E0A714BA-7DDB-0AFF-EC36-328B05A0B47F}"/>
          </ac:spMkLst>
        </pc:spChg>
        <pc:spChg chg="add mod">
          <ac:chgData name="Miranda Quispe, Bruno Sebastian" userId="5df213b2-8b23-43f1-8137-24ac80ef972a" providerId="ADAL" clId="{E965C011-1063-4CD3-8CA5-A8D35C5C287B}" dt="2022-07-27T17:43:36.468" v="6873" actId="207"/>
          <ac:spMkLst>
            <pc:docMk/>
            <pc:sldMk cId="4065268711" sldId="2147470458"/>
            <ac:spMk id="9" creationId="{2E620189-EC08-B569-02F7-234EAE8C18EC}"/>
          </ac:spMkLst>
        </pc:spChg>
        <pc:spChg chg="add mod">
          <ac:chgData name="Miranda Quispe, Bruno Sebastian" userId="5df213b2-8b23-43f1-8137-24ac80ef972a" providerId="ADAL" clId="{E965C011-1063-4CD3-8CA5-A8D35C5C287B}" dt="2022-07-27T17:47:45.101" v="6944" actId="1076"/>
          <ac:spMkLst>
            <pc:docMk/>
            <pc:sldMk cId="4065268711" sldId="2147470458"/>
            <ac:spMk id="10" creationId="{B5100489-A9F6-BEBB-029A-41F6E604D4C2}"/>
          </ac:spMkLst>
        </pc:spChg>
        <pc:spChg chg="add mod">
          <ac:chgData name="Miranda Quispe, Bruno Sebastian" userId="5df213b2-8b23-43f1-8137-24ac80ef972a" providerId="ADAL" clId="{E965C011-1063-4CD3-8CA5-A8D35C5C287B}" dt="2022-07-27T17:47:45.101" v="6944" actId="1076"/>
          <ac:spMkLst>
            <pc:docMk/>
            <pc:sldMk cId="4065268711" sldId="2147470458"/>
            <ac:spMk id="11" creationId="{6585DCD7-075E-A9C6-71AA-9F1FCFDB4F35}"/>
          </ac:spMkLst>
        </pc:spChg>
        <pc:spChg chg="add mod">
          <ac:chgData name="Miranda Quispe, Bruno Sebastian" userId="5df213b2-8b23-43f1-8137-24ac80ef972a" providerId="ADAL" clId="{E965C011-1063-4CD3-8CA5-A8D35C5C287B}" dt="2022-07-27T17:47:45.101" v="6944" actId="1076"/>
          <ac:spMkLst>
            <pc:docMk/>
            <pc:sldMk cId="4065268711" sldId="2147470458"/>
            <ac:spMk id="13" creationId="{3504354E-44B4-46C7-7956-0D5229455720}"/>
          </ac:spMkLst>
        </pc:spChg>
        <pc:spChg chg="add del mod">
          <ac:chgData name="Miranda Quispe, Bruno Sebastian" userId="5df213b2-8b23-43f1-8137-24ac80ef972a" providerId="ADAL" clId="{E965C011-1063-4CD3-8CA5-A8D35C5C287B}" dt="2022-08-02T19:17:41.035" v="7367" actId="478"/>
          <ac:spMkLst>
            <pc:docMk/>
            <pc:sldMk cId="4065268711" sldId="2147470458"/>
            <ac:spMk id="17" creationId="{9F855997-4EBC-50EA-E4E4-16F1446F44D1}"/>
          </ac:spMkLst>
        </pc:spChg>
        <pc:spChg chg="add mod">
          <ac:chgData name="Miranda Quispe, Bruno Sebastian" userId="5df213b2-8b23-43f1-8137-24ac80ef972a" providerId="ADAL" clId="{E965C011-1063-4CD3-8CA5-A8D35C5C287B}" dt="2022-09-05T16:33:13.382" v="23149" actId="1076"/>
          <ac:spMkLst>
            <pc:docMk/>
            <pc:sldMk cId="4065268711" sldId="2147470458"/>
            <ac:spMk id="18" creationId="{71026248-B00A-7772-BCEF-F92F93C06E13}"/>
          </ac:spMkLst>
        </pc:spChg>
        <pc:spChg chg="add mod">
          <ac:chgData name="Miranda Quispe, Bruno Sebastian" userId="5df213b2-8b23-43f1-8137-24ac80ef972a" providerId="ADAL" clId="{E965C011-1063-4CD3-8CA5-A8D35C5C287B}" dt="2022-07-27T17:45:45.516" v="6933" actId="1076"/>
          <ac:spMkLst>
            <pc:docMk/>
            <pc:sldMk cId="4065268711" sldId="2147470458"/>
            <ac:spMk id="19" creationId="{FF522CE4-8825-D8B8-B62B-FB9C07276E0A}"/>
          </ac:spMkLst>
        </pc:spChg>
        <pc:spChg chg="add mod">
          <ac:chgData name="Miranda Quispe, Bruno Sebastian" userId="5df213b2-8b23-43f1-8137-24ac80ef972a" providerId="ADAL" clId="{E965C011-1063-4CD3-8CA5-A8D35C5C287B}" dt="2022-07-27T17:45:51.524" v="6938" actId="20577"/>
          <ac:spMkLst>
            <pc:docMk/>
            <pc:sldMk cId="4065268711" sldId="2147470458"/>
            <ac:spMk id="20" creationId="{ED10243F-C997-9A20-1995-45B012A03D35}"/>
          </ac:spMkLst>
        </pc:spChg>
        <pc:spChg chg="add mod">
          <ac:chgData name="Miranda Quispe, Bruno Sebastian" userId="5df213b2-8b23-43f1-8137-24ac80ef972a" providerId="ADAL" clId="{E965C011-1063-4CD3-8CA5-A8D35C5C287B}" dt="2022-08-11T20:02:17.419" v="15214" actId="20577"/>
          <ac:spMkLst>
            <pc:docMk/>
            <pc:sldMk cId="4065268711" sldId="2147470458"/>
            <ac:spMk id="21" creationId="{3C73716B-CF56-2320-86BE-4FE79B6BB727}"/>
          </ac:spMkLst>
        </pc:spChg>
        <pc:spChg chg="add del mod">
          <ac:chgData name="Miranda Quispe, Bruno Sebastian" userId="5df213b2-8b23-43f1-8137-24ac80ef972a" providerId="ADAL" clId="{E965C011-1063-4CD3-8CA5-A8D35C5C287B}" dt="2022-07-27T17:48:05.632" v="6962"/>
          <ac:spMkLst>
            <pc:docMk/>
            <pc:sldMk cId="4065268711" sldId="2147470458"/>
            <ac:spMk id="22" creationId="{7FEF2CD4-78F5-0EEF-5081-B3A9B4B0F3A6}"/>
          </ac:spMkLst>
        </pc:spChg>
        <pc:spChg chg="add mod">
          <ac:chgData name="Miranda Quispe, Bruno Sebastian" userId="5df213b2-8b23-43f1-8137-24ac80ef972a" providerId="ADAL" clId="{E965C011-1063-4CD3-8CA5-A8D35C5C287B}" dt="2022-08-11T20:02:21.212" v="15221" actId="20577"/>
          <ac:spMkLst>
            <pc:docMk/>
            <pc:sldMk cId="4065268711" sldId="2147470458"/>
            <ac:spMk id="22" creationId="{B10C525C-E4F9-CF49-FC09-A01159F01F93}"/>
          </ac:spMkLst>
        </pc:spChg>
        <pc:spChg chg="add del mod">
          <ac:chgData name="Miranda Quispe, Bruno Sebastian" userId="5df213b2-8b23-43f1-8137-24ac80ef972a" providerId="ADAL" clId="{E965C011-1063-4CD3-8CA5-A8D35C5C287B}" dt="2022-08-02T19:18:00.415" v="7376" actId="478"/>
          <ac:spMkLst>
            <pc:docMk/>
            <pc:sldMk cId="4065268711" sldId="2147470458"/>
            <ac:spMk id="23" creationId="{69AA3C37-D4CD-01BD-36F1-9F915EAA9257}"/>
          </ac:spMkLst>
        </pc:spChg>
        <pc:picChg chg="add del mod">
          <ac:chgData name="Miranda Quispe, Bruno Sebastian" userId="5df213b2-8b23-43f1-8137-24ac80ef972a" providerId="ADAL" clId="{E965C011-1063-4CD3-8CA5-A8D35C5C287B}" dt="2022-08-01T17:10:19.998" v="7347" actId="478"/>
          <ac:picMkLst>
            <pc:docMk/>
            <pc:sldMk cId="4065268711" sldId="2147470458"/>
            <ac:picMk id="1026" creationId="{6498A9DA-C5CC-B27E-B1D0-305B1414A7A0}"/>
          </ac:picMkLst>
        </pc:picChg>
        <pc:picChg chg="add del mod">
          <ac:chgData name="Miranda Quispe, Bruno Sebastian" userId="5df213b2-8b23-43f1-8137-24ac80ef972a" providerId="ADAL" clId="{E965C011-1063-4CD3-8CA5-A8D35C5C287B}" dt="2022-07-27T17:39:35.135" v="6850" actId="478"/>
          <ac:picMkLst>
            <pc:docMk/>
            <pc:sldMk cId="4065268711" sldId="2147470458"/>
            <ac:picMk id="3074" creationId="{2FD2813C-976E-C6C2-5BD0-4B5CBA0FA787}"/>
          </ac:picMkLst>
        </pc:picChg>
        <pc:picChg chg="add mod">
          <ac:chgData name="Miranda Quispe, Bruno Sebastian" userId="5df213b2-8b23-43f1-8137-24ac80ef972a" providerId="ADAL" clId="{E965C011-1063-4CD3-8CA5-A8D35C5C287B}" dt="2022-07-27T17:40:58.233" v="6860" actId="1076"/>
          <ac:picMkLst>
            <pc:docMk/>
            <pc:sldMk cId="4065268711" sldId="2147470458"/>
            <ac:picMk id="3076" creationId="{4F24021A-0FE0-006A-A026-CD7898AF7FE3}"/>
          </ac:picMkLst>
        </pc:picChg>
        <pc:cxnChg chg="add mod">
          <ac:chgData name="Miranda Quispe, Bruno Sebastian" userId="5df213b2-8b23-43f1-8137-24ac80ef972a" providerId="ADAL" clId="{E965C011-1063-4CD3-8CA5-A8D35C5C287B}" dt="2022-07-27T17:45:30.708" v="6922" actId="14100"/>
          <ac:cxnSpMkLst>
            <pc:docMk/>
            <pc:sldMk cId="4065268711" sldId="2147470458"/>
            <ac:cxnSpMk id="12" creationId="{906BDCD4-8E72-EE1F-62A4-D910B2F2DC76}"/>
          </ac:cxnSpMkLst>
        </pc:cxnChg>
      </pc:sldChg>
      <pc:sldChg chg="addSp delSp modSp new mod">
        <pc:chgData name="Miranda Quispe, Bruno Sebastian" userId="5df213b2-8b23-43f1-8137-24ac80ef972a" providerId="ADAL" clId="{E965C011-1063-4CD3-8CA5-A8D35C5C287B}" dt="2022-08-11T20:00:36.652" v="15195" actId="20577"/>
        <pc:sldMkLst>
          <pc:docMk/>
          <pc:sldMk cId="2814799748" sldId="2147470459"/>
        </pc:sldMkLst>
        <pc:spChg chg="mod">
          <ac:chgData name="Miranda Quispe, Bruno Sebastian" userId="5df213b2-8b23-43f1-8137-24ac80ef972a" providerId="ADAL" clId="{E965C011-1063-4CD3-8CA5-A8D35C5C287B}" dt="2022-08-11T16:26:14.819" v="15079" actId="1076"/>
          <ac:spMkLst>
            <pc:docMk/>
            <pc:sldMk cId="2814799748" sldId="2147470459"/>
            <ac:spMk id="3" creationId="{6AEB0C14-9F69-1F29-DA2E-4618B054B25A}"/>
          </ac:spMkLst>
        </pc:spChg>
        <pc:spChg chg="del">
          <ac:chgData name="Miranda Quispe, Bruno Sebastian" userId="5df213b2-8b23-43f1-8137-24ac80ef972a" providerId="ADAL" clId="{E965C011-1063-4CD3-8CA5-A8D35C5C287B}" dt="2022-08-03T20:28:41.733" v="7594" actId="478"/>
          <ac:spMkLst>
            <pc:docMk/>
            <pc:sldMk cId="2814799748" sldId="2147470459"/>
            <ac:spMk id="4" creationId="{595B4DB9-810C-0B00-5505-2C03DC707A5F}"/>
          </ac:spMkLst>
        </pc:spChg>
        <pc:spChg chg="add del mod">
          <ac:chgData name="Miranda Quispe, Bruno Sebastian" userId="5df213b2-8b23-43f1-8137-24ac80ef972a" providerId="ADAL" clId="{E965C011-1063-4CD3-8CA5-A8D35C5C287B}" dt="2022-08-05T14:41:06.446" v="8054" actId="478"/>
          <ac:spMkLst>
            <pc:docMk/>
            <pc:sldMk cId="2814799748" sldId="2147470459"/>
            <ac:spMk id="4" creationId="{8A8B46DD-25FB-C2C8-C53B-3327DF015F74}"/>
          </ac:spMkLst>
        </pc:spChg>
        <pc:spChg chg="add mod">
          <ac:chgData name="Miranda Quispe, Bruno Sebastian" userId="5df213b2-8b23-43f1-8137-24ac80ef972a" providerId="ADAL" clId="{E965C011-1063-4CD3-8CA5-A8D35C5C287B}" dt="2022-08-11T16:31:41.909" v="15091" actId="207"/>
          <ac:spMkLst>
            <pc:docMk/>
            <pc:sldMk cId="2814799748" sldId="2147470459"/>
            <ac:spMk id="4" creationId="{965F9815-E2F0-5BA3-C97B-D81FD512D98D}"/>
          </ac:spMkLst>
        </pc:spChg>
        <pc:spChg chg="add mod">
          <ac:chgData name="Miranda Quispe, Bruno Sebastian" userId="5df213b2-8b23-43f1-8137-24ac80ef972a" providerId="ADAL" clId="{E965C011-1063-4CD3-8CA5-A8D35C5C287B}" dt="2022-08-11T16:19:15.863" v="15031" actId="14100"/>
          <ac:spMkLst>
            <pc:docMk/>
            <pc:sldMk cId="2814799748" sldId="2147470459"/>
            <ac:spMk id="6" creationId="{A9EC68A4-B008-C40D-1620-5CFBD5664FA5}"/>
          </ac:spMkLst>
        </pc:spChg>
        <pc:spChg chg="add del mod">
          <ac:chgData name="Miranda Quispe, Bruno Sebastian" userId="5df213b2-8b23-43f1-8137-24ac80ef972a" providerId="ADAL" clId="{E965C011-1063-4CD3-8CA5-A8D35C5C287B}" dt="2022-08-05T14:40:50.309" v="8047" actId="478"/>
          <ac:spMkLst>
            <pc:docMk/>
            <pc:sldMk cId="2814799748" sldId="2147470459"/>
            <ac:spMk id="7" creationId="{0A19527B-AD33-1C24-5875-A733C7FC7E34}"/>
          </ac:spMkLst>
        </pc:spChg>
        <pc:spChg chg="add del mod">
          <ac:chgData name="Miranda Quispe, Bruno Sebastian" userId="5df213b2-8b23-43f1-8137-24ac80ef972a" providerId="ADAL" clId="{E965C011-1063-4CD3-8CA5-A8D35C5C287B}" dt="2022-08-11T16:22:20.998" v="15037" actId="478"/>
          <ac:spMkLst>
            <pc:docMk/>
            <pc:sldMk cId="2814799748" sldId="2147470459"/>
            <ac:spMk id="7" creationId="{95AB7F65-5DF0-6AC9-D1C9-B907365C1041}"/>
          </ac:spMkLst>
        </pc:spChg>
        <pc:spChg chg="add mod">
          <ac:chgData name="Miranda Quispe, Bruno Sebastian" userId="5df213b2-8b23-43f1-8137-24ac80ef972a" providerId="ADAL" clId="{E965C011-1063-4CD3-8CA5-A8D35C5C287B}" dt="2022-08-11T16:19:15.863" v="15031" actId="14100"/>
          <ac:spMkLst>
            <pc:docMk/>
            <pc:sldMk cId="2814799748" sldId="2147470459"/>
            <ac:spMk id="8" creationId="{3E41CE79-0EFE-2737-919B-9F83FFF34490}"/>
          </ac:spMkLst>
        </pc:spChg>
        <pc:spChg chg="add del mod">
          <ac:chgData name="Miranda Quispe, Bruno Sebastian" userId="5df213b2-8b23-43f1-8137-24ac80ef972a" providerId="ADAL" clId="{E965C011-1063-4CD3-8CA5-A8D35C5C287B}" dt="2022-08-05T14:40:02.412" v="8022" actId="478"/>
          <ac:spMkLst>
            <pc:docMk/>
            <pc:sldMk cId="2814799748" sldId="2147470459"/>
            <ac:spMk id="9" creationId="{4ED6661E-91C3-A33C-EE96-E562595ACC48}"/>
          </ac:spMkLst>
        </pc:spChg>
        <pc:spChg chg="add del mod">
          <ac:chgData name="Miranda Quispe, Bruno Sebastian" userId="5df213b2-8b23-43f1-8137-24ac80ef972a" providerId="ADAL" clId="{E965C011-1063-4CD3-8CA5-A8D35C5C287B}" dt="2022-08-05T14:40:50.691" v="8048" actId="478"/>
          <ac:spMkLst>
            <pc:docMk/>
            <pc:sldMk cId="2814799748" sldId="2147470459"/>
            <ac:spMk id="10" creationId="{2CD51FCC-5276-A2FD-ED49-E67FB83730EB}"/>
          </ac:spMkLst>
        </pc:spChg>
        <pc:spChg chg="add del mod">
          <ac:chgData name="Miranda Quispe, Bruno Sebastian" userId="5df213b2-8b23-43f1-8137-24ac80ef972a" providerId="ADAL" clId="{E965C011-1063-4CD3-8CA5-A8D35C5C287B}" dt="2022-08-11T16:22:20.188" v="15036" actId="478"/>
          <ac:spMkLst>
            <pc:docMk/>
            <pc:sldMk cId="2814799748" sldId="2147470459"/>
            <ac:spMk id="10" creationId="{2E469484-37F9-DE8B-8486-C3594DC131CF}"/>
          </ac:spMkLst>
        </pc:spChg>
        <pc:spChg chg="add mod">
          <ac:chgData name="Miranda Quispe, Bruno Sebastian" userId="5df213b2-8b23-43f1-8137-24ac80ef972a" providerId="ADAL" clId="{E965C011-1063-4CD3-8CA5-A8D35C5C287B}" dt="2022-08-11T16:31:41.909" v="15091" actId="207"/>
          <ac:spMkLst>
            <pc:docMk/>
            <pc:sldMk cId="2814799748" sldId="2147470459"/>
            <ac:spMk id="11" creationId="{2974B810-E2B6-A93F-9084-F24C52826EBB}"/>
          </ac:spMkLst>
        </pc:spChg>
        <pc:spChg chg="add mod">
          <ac:chgData name="Miranda Quispe, Bruno Sebastian" userId="5df213b2-8b23-43f1-8137-24ac80ef972a" providerId="ADAL" clId="{E965C011-1063-4CD3-8CA5-A8D35C5C287B}" dt="2022-08-11T16:22:41.812" v="15042" actId="1076"/>
          <ac:spMkLst>
            <pc:docMk/>
            <pc:sldMk cId="2814799748" sldId="2147470459"/>
            <ac:spMk id="12" creationId="{5C6DDECF-D48C-53C3-B56F-C1A1DD35B6EB}"/>
          </ac:spMkLst>
        </pc:spChg>
        <pc:spChg chg="add mod">
          <ac:chgData name="Miranda Quispe, Bruno Sebastian" userId="5df213b2-8b23-43f1-8137-24ac80ef972a" providerId="ADAL" clId="{E965C011-1063-4CD3-8CA5-A8D35C5C287B}" dt="2022-08-11T16:26:21.815" v="15080" actId="1076"/>
          <ac:spMkLst>
            <pc:docMk/>
            <pc:sldMk cId="2814799748" sldId="2147470459"/>
            <ac:spMk id="15" creationId="{D6F99331-BDD0-CE7A-E9DB-19E657A9F806}"/>
          </ac:spMkLst>
        </pc:spChg>
        <pc:spChg chg="add mod">
          <ac:chgData name="Miranda Quispe, Bruno Sebastian" userId="5df213b2-8b23-43f1-8137-24ac80ef972a" providerId="ADAL" clId="{E965C011-1063-4CD3-8CA5-A8D35C5C287B}" dt="2022-08-11T16:19:15.863" v="15031" actId="14100"/>
          <ac:spMkLst>
            <pc:docMk/>
            <pc:sldMk cId="2814799748" sldId="2147470459"/>
            <ac:spMk id="16" creationId="{0205D714-5A0F-4E19-7E45-FF191907D1CE}"/>
          </ac:spMkLst>
        </pc:spChg>
        <pc:spChg chg="add mod">
          <ac:chgData name="Miranda Quispe, Bruno Sebastian" userId="5df213b2-8b23-43f1-8137-24ac80ef972a" providerId="ADAL" clId="{E965C011-1063-4CD3-8CA5-A8D35C5C287B}" dt="2022-08-11T16:31:41.909" v="15091" actId="207"/>
          <ac:spMkLst>
            <pc:docMk/>
            <pc:sldMk cId="2814799748" sldId="2147470459"/>
            <ac:spMk id="17" creationId="{FABD2868-94BC-B5CD-56AA-8858274093C0}"/>
          </ac:spMkLst>
        </pc:spChg>
        <pc:spChg chg="add mod">
          <ac:chgData name="Miranda Quispe, Bruno Sebastian" userId="5df213b2-8b23-43f1-8137-24ac80ef972a" providerId="ADAL" clId="{E965C011-1063-4CD3-8CA5-A8D35C5C287B}" dt="2022-08-11T16:26:21.815" v="15080" actId="1076"/>
          <ac:spMkLst>
            <pc:docMk/>
            <pc:sldMk cId="2814799748" sldId="2147470459"/>
            <ac:spMk id="18" creationId="{8DFF54B2-F141-AF3B-C299-BD917D72AE50}"/>
          </ac:spMkLst>
        </pc:spChg>
        <pc:spChg chg="add mod">
          <ac:chgData name="Miranda Quispe, Bruno Sebastian" userId="5df213b2-8b23-43f1-8137-24ac80ef972a" providerId="ADAL" clId="{E965C011-1063-4CD3-8CA5-A8D35C5C287B}" dt="2022-08-11T16:26:21.815" v="15080" actId="1076"/>
          <ac:spMkLst>
            <pc:docMk/>
            <pc:sldMk cId="2814799748" sldId="2147470459"/>
            <ac:spMk id="19" creationId="{4B89CCFA-0680-E0FA-00F7-5E673C967D37}"/>
          </ac:spMkLst>
        </pc:spChg>
        <pc:spChg chg="add mod">
          <ac:chgData name="Miranda Quispe, Bruno Sebastian" userId="5df213b2-8b23-43f1-8137-24ac80ef972a" providerId="ADAL" clId="{E965C011-1063-4CD3-8CA5-A8D35C5C287B}" dt="2022-08-11T16:33:05.103" v="15092" actId="1582"/>
          <ac:spMkLst>
            <pc:docMk/>
            <pc:sldMk cId="2814799748" sldId="2147470459"/>
            <ac:spMk id="20" creationId="{3A82492A-FA06-FE3B-1E8B-B41E140912D0}"/>
          </ac:spMkLst>
        </pc:spChg>
        <pc:spChg chg="add del mod">
          <ac:chgData name="Miranda Quispe, Bruno Sebastian" userId="5df213b2-8b23-43f1-8137-24ac80ef972a" providerId="ADAL" clId="{E965C011-1063-4CD3-8CA5-A8D35C5C287B}" dt="2022-08-05T14:41:44.570" v="8059" actId="478"/>
          <ac:spMkLst>
            <pc:docMk/>
            <pc:sldMk cId="2814799748" sldId="2147470459"/>
            <ac:spMk id="20" creationId="{C8F11CAC-7CCD-9726-E188-304367D18C75}"/>
          </ac:spMkLst>
        </pc:spChg>
        <pc:spChg chg="add del mod">
          <ac:chgData name="Miranda Quispe, Bruno Sebastian" userId="5df213b2-8b23-43f1-8137-24ac80ef972a" providerId="ADAL" clId="{E965C011-1063-4CD3-8CA5-A8D35C5C287B}" dt="2022-08-05T14:41:45.275" v="8060" actId="478"/>
          <ac:spMkLst>
            <pc:docMk/>
            <pc:sldMk cId="2814799748" sldId="2147470459"/>
            <ac:spMk id="21" creationId="{37DBD7E9-200C-8A64-6E11-E5E957742299}"/>
          </ac:spMkLst>
        </pc:spChg>
        <pc:spChg chg="add mod">
          <ac:chgData name="Miranda Quispe, Bruno Sebastian" userId="5df213b2-8b23-43f1-8137-24ac80ef972a" providerId="ADAL" clId="{E965C011-1063-4CD3-8CA5-A8D35C5C287B}" dt="2022-08-11T20:00:36.652" v="15195" actId="20577"/>
          <ac:spMkLst>
            <pc:docMk/>
            <pc:sldMk cId="2814799748" sldId="2147470459"/>
            <ac:spMk id="22" creationId="{4094D893-42AE-190D-063F-CCB34514BFA4}"/>
          </ac:spMkLst>
        </pc:spChg>
        <pc:spChg chg="add mod">
          <ac:chgData name="Miranda Quispe, Bruno Sebastian" userId="5df213b2-8b23-43f1-8137-24ac80ef972a" providerId="ADAL" clId="{E965C011-1063-4CD3-8CA5-A8D35C5C287B}" dt="2022-08-11T20:00:33.230" v="15194" actId="20577"/>
          <ac:spMkLst>
            <pc:docMk/>
            <pc:sldMk cId="2814799748" sldId="2147470459"/>
            <ac:spMk id="23" creationId="{0C630DA2-03A7-8B70-8AE7-23987F828493}"/>
          </ac:spMkLst>
        </pc:spChg>
        <pc:spChg chg="add mod">
          <ac:chgData name="Miranda Quispe, Bruno Sebastian" userId="5df213b2-8b23-43f1-8137-24ac80ef972a" providerId="ADAL" clId="{E965C011-1063-4CD3-8CA5-A8D35C5C287B}" dt="2022-08-11T16:31:41.909" v="15091" actId="207"/>
          <ac:spMkLst>
            <pc:docMk/>
            <pc:sldMk cId="2814799748" sldId="2147470459"/>
            <ac:spMk id="24" creationId="{6084EADE-7FEC-EDAC-A6C5-C65DE16A99D1}"/>
          </ac:spMkLst>
        </pc:spChg>
        <pc:spChg chg="add del mod">
          <ac:chgData name="Miranda Quispe, Bruno Sebastian" userId="5df213b2-8b23-43f1-8137-24ac80ef972a" providerId="ADAL" clId="{E965C011-1063-4CD3-8CA5-A8D35C5C287B}" dt="2022-08-05T14:42:29.921" v="8071" actId="478"/>
          <ac:spMkLst>
            <pc:docMk/>
            <pc:sldMk cId="2814799748" sldId="2147470459"/>
            <ac:spMk id="25" creationId="{B3783FF7-B6F7-EDA9-F653-9484D0684C7A}"/>
          </ac:spMkLst>
        </pc:spChg>
        <pc:spChg chg="add mod">
          <ac:chgData name="Miranda Quispe, Bruno Sebastian" userId="5df213b2-8b23-43f1-8137-24ac80ef972a" providerId="ADAL" clId="{E965C011-1063-4CD3-8CA5-A8D35C5C287B}" dt="2022-08-11T16:31:41.909" v="15091" actId="207"/>
          <ac:spMkLst>
            <pc:docMk/>
            <pc:sldMk cId="2814799748" sldId="2147470459"/>
            <ac:spMk id="26" creationId="{69117753-7486-2FB7-B347-1F69A9289EE1}"/>
          </ac:spMkLst>
        </pc:spChg>
        <pc:spChg chg="add mod">
          <ac:chgData name="Miranda Quispe, Bruno Sebastian" userId="5df213b2-8b23-43f1-8137-24ac80ef972a" providerId="ADAL" clId="{E965C011-1063-4CD3-8CA5-A8D35C5C287B}" dt="2022-08-11T16:31:41.909" v="15091" actId="207"/>
          <ac:spMkLst>
            <pc:docMk/>
            <pc:sldMk cId="2814799748" sldId="2147470459"/>
            <ac:spMk id="28" creationId="{24EA5904-EFE4-1DF8-AF92-3D1DC10D4D41}"/>
          </ac:spMkLst>
        </pc:spChg>
        <pc:spChg chg="add del mod">
          <ac:chgData name="Miranda Quispe, Bruno Sebastian" userId="5df213b2-8b23-43f1-8137-24ac80ef972a" providerId="ADAL" clId="{E965C011-1063-4CD3-8CA5-A8D35C5C287B}" dt="2022-08-05T14:42:58.314" v="8077" actId="478"/>
          <ac:spMkLst>
            <pc:docMk/>
            <pc:sldMk cId="2814799748" sldId="2147470459"/>
            <ac:spMk id="28" creationId="{9C818AAE-ED7B-C880-2988-B77F7F6A19D9}"/>
          </ac:spMkLst>
        </pc:spChg>
        <pc:spChg chg="add mod">
          <ac:chgData name="Miranda Quispe, Bruno Sebastian" userId="5df213b2-8b23-43f1-8137-24ac80ef972a" providerId="ADAL" clId="{E965C011-1063-4CD3-8CA5-A8D35C5C287B}" dt="2022-08-11T16:26:21.815" v="15080" actId="1076"/>
          <ac:spMkLst>
            <pc:docMk/>
            <pc:sldMk cId="2814799748" sldId="2147470459"/>
            <ac:spMk id="30" creationId="{AC9C0C22-366F-909B-5046-171F9AD25A0A}"/>
          </ac:spMkLst>
        </pc:spChg>
        <pc:spChg chg="add mod">
          <ac:chgData name="Miranda Quispe, Bruno Sebastian" userId="5df213b2-8b23-43f1-8137-24ac80ef972a" providerId="ADAL" clId="{E965C011-1063-4CD3-8CA5-A8D35C5C287B}" dt="2022-08-11T16:33:36.084" v="15097" actId="13822"/>
          <ac:spMkLst>
            <pc:docMk/>
            <pc:sldMk cId="2814799748" sldId="2147470459"/>
            <ac:spMk id="31" creationId="{E537FAAF-A73F-BCFF-1438-F7188873E06A}"/>
          </ac:spMkLst>
        </pc:spChg>
        <pc:spChg chg="add del mod">
          <ac:chgData name="Miranda Quispe, Bruno Sebastian" userId="5df213b2-8b23-43f1-8137-24ac80ef972a" providerId="ADAL" clId="{E965C011-1063-4CD3-8CA5-A8D35C5C287B}" dt="2022-08-11T16:22:21.905" v="15038" actId="478"/>
          <ac:spMkLst>
            <pc:docMk/>
            <pc:sldMk cId="2814799748" sldId="2147470459"/>
            <ac:spMk id="33" creationId="{A0344D80-9BE1-8C72-144B-2A62A689E904}"/>
          </ac:spMkLst>
        </pc:spChg>
        <pc:spChg chg="add mod">
          <ac:chgData name="Miranda Quispe, Bruno Sebastian" userId="5df213b2-8b23-43f1-8137-24ac80ef972a" providerId="ADAL" clId="{E965C011-1063-4CD3-8CA5-A8D35C5C287B}" dt="2022-08-11T16:31:41.909" v="15091" actId="207"/>
          <ac:spMkLst>
            <pc:docMk/>
            <pc:sldMk cId="2814799748" sldId="2147470459"/>
            <ac:spMk id="34" creationId="{582EA2E0-920D-01C9-EA11-5DC8C561A12C}"/>
          </ac:spMkLst>
        </pc:spChg>
        <pc:spChg chg="add del mod">
          <ac:chgData name="Miranda Quispe, Bruno Sebastian" userId="5df213b2-8b23-43f1-8137-24ac80ef972a" providerId="ADAL" clId="{E965C011-1063-4CD3-8CA5-A8D35C5C287B}" dt="2022-08-11T16:23:01.943" v="15047" actId="478"/>
          <ac:spMkLst>
            <pc:docMk/>
            <pc:sldMk cId="2814799748" sldId="2147470459"/>
            <ac:spMk id="37" creationId="{E48B4500-B9BE-87CA-F917-3C1227652A7C}"/>
          </ac:spMkLst>
        </pc:spChg>
        <pc:spChg chg="add mod">
          <ac:chgData name="Miranda Quispe, Bruno Sebastian" userId="5df213b2-8b23-43f1-8137-24ac80ef972a" providerId="ADAL" clId="{E965C011-1063-4CD3-8CA5-A8D35C5C287B}" dt="2022-08-11T16:23:52.853" v="15054" actId="1076"/>
          <ac:spMkLst>
            <pc:docMk/>
            <pc:sldMk cId="2814799748" sldId="2147470459"/>
            <ac:spMk id="38" creationId="{9FD2A2D8-8389-A5B5-5248-F83AFA7A49DF}"/>
          </ac:spMkLst>
        </pc:spChg>
        <pc:spChg chg="add mod">
          <ac:chgData name="Miranda Quispe, Bruno Sebastian" userId="5df213b2-8b23-43f1-8137-24ac80ef972a" providerId="ADAL" clId="{E965C011-1063-4CD3-8CA5-A8D35C5C287B}" dt="2022-08-11T16:29:08.726" v="15090" actId="20577"/>
          <ac:spMkLst>
            <pc:docMk/>
            <pc:sldMk cId="2814799748" sldId="2147470459"/>
            <ac:spMk id="39" creationId="{49460182-487E-4F5B-A300-8B760E30AA38}"/>
          </ac:spMkLst>
        </pc:spChg>
        <pc:spChg chg="add mod">
          <ac:chgData name="Miranda Quispe, Bruno Sebastian" userId="5df213b2-8b23-43f1-8137-24ac80ef972a" providerId="ADAL" clId="{E965C011-1063-4CD3-8CA5-A8D35C5C287B}" dt="2022-08-11T16:23:33.331" v="15051" actId="1076"/>
          <ac:spMkLst>
            <pc:docMk/>
            <pc:sldMk cId="2814799748" sldId="2147470459"/>
            <ac:spMk id="41" creationId="{8EFDF175-AB56-9A58-2392-B1F51C31B14B}"/>
          </ac:spMkLst>
        </pc:spChg>
        <pc:spChg chg="add del mod">
          <ac:chgData name="Miranda Quispe, Bruno Sebastian" userId="5df213b2-8b23-43f1-8137-24ac80ef972a" providerId="ADAL" clId="{E965C011-1063-4CD3-8CA5-A8D35C5C287B}" dt="2022-08-05T14:50:59.127" v="8238"/>
          <ac:spMkLst>
            <pc:docMk/>
            <pc:sldMk cId="2814799748" sldId="2147470459"/>
            <ac:spMk id="42" creationId="{498B52BF-51F8-3CE3-854F-D038FAD2198E}"/>
          </ac:spMkLst>
        </pc:spChg>
        <pc:spChg chg="add mod">
          <ac:chgData name="Miranda Quispe, Bruno Sebastian" userId="5df213b2-8b23-43f1-8137-24ac80ef972a" providerId="ADAL" clId="{E965C011-1063-4CD3-8CA5-A8D35C5C287B}" dt="2022-08-11T16:31:41.909" v="15091" actId="207"/>
          <ac:spMkLst>
            <pc:docMk/>
            <pc:sldMk cId="2814799748" sldId="2147470459"/>
            <ac:spMk id="42" creationId="{C31F3225-A75A-4A74-0871-AF29C582B4A4}"/>
          </ac:spMkLst>
        </pc:spChg>
        <pc:spChg chg="add mod">
          <ac:chgData name="Miranda Quispe, Bruno Sebastian" userId="5df213b2-8b23-43f1-8137-24ac80ef972a" providerId="ADAL" clId="{E965C011-1063-4CD3-8CA5-A8D35C5C287B}" dt="2022-08-11T16:23:33.331" v="15051" actId="1076"/>
          <ac:spMkLst>
            <pc:docMk/>
            <pc:sldMk cId="2814799748" sldId="2147470459"/>
            <ac:spMk id="43" creationId="{CD98B850-9A8C-1E5C-6427-B07A9FB81BFF}"/>
          </ac:spMkLst>
        </pc:spChg>
        <pc:spChg chg="add mod">
          <ac:chgData name="Miranda Quispe, Bruno Sebastian" userId="5df213b2-8b23-43f1-8137-24ac80ef972a" providerId="ADAL" clId="{E965C011-1063-4CD3-8CA5-A8D35C5C287B}" dt="2022-08-11T16:23:33.331" v="15051" actId="1076"/>
          <ac:spMkLst>
            <pc:docMk/>
            <pc:sldMk cId="2814799748" sldId="2147470459"/>
            <ac:spMk id="44" creationId="{3409DB03-8C61-5072-B550-E886F7F563A7}"/>
          </ac:spMkLst>
        </pc:spChg>
        <pc:spChg chg="add mod">
          <ac:chgData name="Miranda Quispe, Bruno Sebastian" userId="5df213b2-8b23-43f1-8137-24ac80ef972a" providerId="ADAL" clId="{E965C011-1063-4CD3-8CA5-A8D35C5C287B}" dt="2022-08-11T16:33:07.976" v="15093" actId="108"/>
          <ac:spMkLst>
            <pc:docMk/>
            <pc:sldMk cId="2814799748" sldId="2147470459"/>
            <ac:spMk id="45" creationId="{C44D44D1-8078-F046-D738-1A2AEB33EE7E}"/>
          </ac:spMkLst>
        </pc:spChg>
        <pc:spChg chg="add mod">
          <ac:chgData name="Miranda Quispe, Bruno Sebastian" userId="5df213b2-8b23-43f1-8137-24ac80ef972a" providerId="ADAL" clId="{E965C011-1063-4CD3-8CA5-A8D35C5C287B}" dt="2022-08-11T16:31:41.909" v="15091" actId="207"/>
          <ac:spMkLst>
            <pc:docMk/>
            <pc:sldMk cId="2814799748" sldId="2147470459"/>
            <ac:spMk id="48" creationId="{DCFEE5C0-30DA-C97A-1C5D-62EAD6FF2D41}"/>
          </ac:spMkLst>
        </pc:spChg>
        <pc:spChg chg="add del mod">
          <ac:chgData name="Miranda Quispe, Bruno Sebastian" userId="5df213b2-8b23-43f1-8137-24ac80ef972a" providerId="ADAL" clId="{E965C011-1063-4CD3-8CA5-A8D35C5C287B}" dt="2022-08-11T16:25:08.241" v="15068" actId="11529"/>
          <ac:spMkLst>
            <pc:docMk/>
            <pc:sldMk cId="2814799748" sldId="2147470459"/>
            <ac:spMk id="52" creationId="{2F7D12F3-509D-B824-96AF-3C954E5F7EE1}"/>
          </ac:spMkLst>
        </pc:spChg>
        <pc:spChg chg="add mod">
          <ac:chgData name="Miranda Quispe, Bruno Sebastian" userId="5df213b2-8b23-43f1-8137-24ac80ef972a" providerId="ADAL" clId="{E965C011-1063-4CD3-8CA5-A8D35C5C287B}" dt="2022-08-11T16:31:41.909" v="15091" actId="207"/>
          <ac:spMkLst>
            <pc:docMk/>
            <pc:sldMk cId="2814799748" sldId="2147470459"/>
            <ac:spMk id="53" creationId="{5A57ABAB-F332-6893-EB17-59347CB66D89}"/>
          </ac:spMkLst>
        </pc:spChg>
        <pc:spChg chg="add mod">
          <ac:chgData name="Miranda Quispe, Bruno Sebastian" userId="5df213b2-8b23-43f1-8137-24ac80ef972a" providerId="ADAL" clId="{E965C011-1063-4CD3-8CA5-A8D35C5C287B}" dt="2022-08-11T16:26:26.062" v="15081" actId="1076"/>
          <ac:spMkLst>
            <pc:docMk/>
            <pc:sldMk cId="2814799748" sldId="2147470459"/>
            <ac:spMk id="54" creationId="{FA43EB97-BD20-A601-BF0C-1EBC569DD6E7}"/>
          </ac:spMkLst>
        </pc:spChg>
        <pc:spChg chg="add mod">
          <ac:chgData name="Miranda Quispe, Bruno Sebastian" userId="5df213b2-8b23-43f1-8137-24ac80ef972a" providerId="ADAL" clId="{E965C011-1063-4CD3-8CA5-A8D35C5C287B}" dt="2022-08-11T16:26:09.088" v="15077" actId="1076"/>
          <ac:spMkLst>
            <pc:docMk/>
            <pc:sldMk cId="2814799748" sldId="2147470459"/>
            <ac:spMk id="55" creationId="{33491BA7-69D4-5418-1E6C-6FA8C8919B22}"/>
          </ac:spMkLst>
        </pc:spChg>
        <pc:spChg chg="add mod">
          <ac:chgData name="Miranda Quispe, Bruno Sebastian" userId="5df213b2-8b23-43f1-8137-24ac80ef972a" providerId="ADAL" clId="{E965C011-1063-4CD3-8CA5-A8D35C5C287B}" dt="2022-08-11T16:31:41.909" v="15091" actId="207"/>
          <ac:spMkLst>
            <pc:docMk/>
            <pc:sldMk cId="2814799748" sldId="2147470459"/>
            <ac:spMk id="56" creationId="{92A5F5A9-069A-4D27-9101-F47CF53314A6}"/>
          </ac:spMkLst>
        </pc:spChg>
        <pc:graphicFrameChg chg="add del mod">
          <ac:chgData name="Miranda Quispe, Bruno Sebastian" userId="5df213b2-8b23-43f1-8137-24ac80ef972a" providerId="ADAL" clId="{E965C011-1063-4CD3-8CA5-A8D35C5C287B}" dt="2022-08-05T14:49:30.607" v="8166"/>
          <ac:graphicFrameMkLst>
            <pc:docMk/>
            <pc:sldMk cId="2814799748" sldId="2147470459"/>
            <ac:graphicFrameMk id="18" creationId="{ACFAF51F-92A0-ED1F-DD7F-683E07B94EA2}"/>
          </ac:graphicFrameMkLst>
        </pc:graphicFrameChg>
        <pc:picChg chg="add mod">
          <ac:chgData name="Miranda Quispe, Bruno Sebastian" userId="5df213b2-8b23-43f1-8137-24ac80ef972a" providerId="ADAL" clId="{E965C011-1063-4CD3-8CA5-A8D35C5C287B}" dt="2022-08-11T16:19:15.863" v="15031" actId="14100"/>
          <ac:picMkLst>
            <pc:docMk/>
            <pc:sldMk cId="2814799748" sldId="2147470459"/>
            <ac:picMk id="5" creationId="{44E72001-96AD-C1AE-57DE-AD1FD3B58715}"/>
          </ac:picMkLst>
        </pc:picChg>
        <pc:picChg chg="add mod">
          <ac:chgData name="Miranda Quispe, Bruno Sebastian" userId="5df213b2-8b23-43f1-8137-24ac80ef972a" providerId="ADAL" clId="{E965C011-1063-4CD3-8CA5-A8D35C5C287B}" dt="2022-08-11T16:23:52.853" v="15054" actId="1076"/>
          <ac:picMkLst>
            <pc:docMk/>
            <pc:sldMk cId="2814799748" sldId="2147470459"/>
            <ac:picMk id="9" creationId="{C2C8C3D7-A926-45F0-802F-3C3F824F26B9}"/>
          </ac:picMkLst>
        </pc:picChg>
        <pc:picChg chg="add mod">
          <ac:chgData name="Miranda Quispe, Bruno Sebastian" userId="5df213b2-8b23-43f1-8137-24ac80ef972a" providerId="ADAL" clId="{E965C011-1063-4CD3-8CA5-A8D35C5C287B}" dt="2022-08-11T16:26:21.815" v="15080" actId="1076"/>
          <ac:picMkLst>
            <pc:docMk/>
            <pc:sldMk cId="2814799748" sldId="2147470459"/>
            <ac:picMk id="13" creationId="{6687EDD3-A54C-33AD-C4FF-9A8C0101BCC6}"/>
          </ac:picMkLst>
        </pc:picChg>
        <pc:picChg chg="add mod">
          <ac:chgData name="Miranda Quispe, Bruno Sebastian" userId="5df213b2-8b23-43f1-8137-24ac80ef972a" providerId="ADAL" clId="{E965C011-1063-4CD3-8CA5-A8D35C5C287B}" dt="2022-08-11T16:19:15.863" v="15031" actId="14100"/>
          <ac:picMkLst>
            <pc:docMk/>
            <pc:sldMk cId="2814799748" sldId="2147470459"/>
            <ac:picMk id="14" creationId="{C93AA6FC-05EF-11DD-68FD-8BA7C7A83DC4}"/>
          </ac:picMkLst>
        </pc:picChg>
        <pc:picChg chg="add del mod">
          <ac:chgData name="Miranda Quispe, Bruno Sebastian" userId="5df213b2-8b23-43f1-8137-24ac80ef972a" providerId="ADAL" clId="{E965C011-1063-4CD3-8CA5-A8D35C5C287B}" dt="2022-08-03T21:04:09.293" v="7757" actId="478"/>
          <ac:picMkLst>
            <pc:docMk/>
            <pc:sldMk cId="2814799748" sldId="2147470459"/>
            <ac:picMk id="18" creationId="{942D3398-F022-9B88-E25E-5F4A8DF105E2}"/>
          </ac:picMkLst>
        </pc:picChg>
        <pc:picChg chg="add del mod">
          <ac:chgData name="Miranda Quispe, Bruno Sebastian" userId="5df213b2-8b23-43f1-8137-24ac80ef972a" providerId="ADAL" clId="{E965C011-1063-4CD3-8CA5-A8D35C5C287B}" dt="2022-08-05T14:49:47.234" v="8173" actId="478"/>
          <ac:picMkLst>
            <pc:docMk/>
            <pc:sldMk cId="2814799748" sldId="2147470459"/>
            <ac:picMk id="19" creationId="{D268EA89-BF8D-356B-F509-C1C6FBF8BC3E}"/>
          </ac:picMkLst>
        </pc:picChg>
        <pc:picChg chg="add mod">
          <ac:chgData name="Miranda Quispe, Bruno Sebastian" userId="5df213b2-8b23-43f1-8137-24ac80ef972a" providerId="ADAL" clId="{E965C011-1063-4CD3-8CA5-A8D35C5C287B}" dt="2022-08-11T16:26:21.815" v="15080" actId="1076"/>
          <ac:picMkLst>
            <pc:docMk/>
            <pc:sldMk cId="2814799748" sldId="2147470459"/>
            <ac:picMk id="21" creationId="{4F2BA7B1-9684-836C-0F4B-8296F5AA5895}"/>
          </ac:picMkLst>
        </pc:picChg>
        <pc:picChg chg="add mod">
          <ac:chgData name="Miranda Quispe, Bruno Sebastian" userId="5df213b2-8b23-43f1-8137-24ac80ef972a" providerId="ADAL" clId="{E965C011-1063-4CD3-8CA5-A8D35C5C287B}" dt="2022-08-11T16:26:21.815" v="15080" actId="1076"/>
          <ac:picMkLst>
            <pc:docMk/>
            <pc:sldMk cId="2814799748" sldId="2147470459"/>
            <ac:picMk id="25" creationId="{C163D0A2-7DC4-4062-5CB2-B9F55F7C144F}"/>
          </ac:picMkLst>
        </pc:picChg>
        <pc:picChg chg="add del mod">
          <ac:chgData name="Miranda Quispe, Bruno Sebastian" userId="5df213b2-8b23-43f1-8137-24ac80ef972a" providerId="ADAL" clId="{E965C011-1063-4CD3-8CA5-A8D35C5C287B}" dt="2022-08-11T16:17:44.568" v="14971" actId="478"/>
          <ac:picMkLst>
            <pc:docMk/>
            <pc:sldMk cId="2814799748" sldId="2147470459"/>
            <ac:picMk id="27" creationId="{0C487B99-ACCE-4B6F-7950-180F199471E6}"/>
          </ac:picMkLst>
        </pc:picChg>
        <pc:picChg chg="add mod">
          <ac:chgData name="Miranda Quispe, Bruno Sebastian" userId="5df213b2-8b23-43f1-8137-24ac80ef972a" providerId="ADAL" clId="{E965C011-1063-4CD3-8CA5-A8D35C5C287B}" dt="2022-08-11T16:26:21.815" v="15080" actId="1076"/>
          <ac:picMkLst>
            <pc:docMk/>
            <pc:sldMk cId="2814799748" sldId="2147470459"/>
            <ac:picMk id="29" creationId="{9DF3B549-F429-2FA0-BDBE-F9BF952C9532}"/>
          </ac:picMkLst>
        </pc:picChg>
        <pc:picChg chg="add del mod">
          <ac:chgData name="Miranda Quispe, Bruno Sebastian" userId="5df213b2-8b23-43f1-8137-24ac80ef972a" providerId="ADAL" clId="{E965C011-1063-4CD3-8CA5-A8D35C5C287B}" dt="2022-08-11T16:22:17.872" v="15032" actId="478"/>
          <ac:picMkLst>
            <pc:docMk/>
            <pc:sldMk cId="2814799748" sldId="2147470459"/>
            <ac:picMk id="32" creationId="{7E2266D9-BAA6-74AB-0C1A-5D94345B625C}"/>
          </ac:picMkLst>
        </pc:picChg>
        <pc:picChg chg="add del mod">
          <ac:chgData name="Miranda Quispe, Bruno Sebastian" userId="5df213b2-8b23-43f1-8137-24ac80ef972a" providerId="ADAL" clId="{E965C011-1063-4CD3-8CA5-A8D35C5C287B}" dt="2022-08-11T16:22:55.247" v="15045" actId="478"/>
          <ac:picMkLst>
            <pc:docMk/>
            <pc:sldMk cId="2814799748" sldId="2147470459"/>
            <ac:picMk id="35" creationId="{5F155132-073F-B114-93BB-DACD712168E2}"/>
          </ac:picMkLst>
        </pc:picChg>
        <pc:picChg chg="add mod">
          <ac:chgData name="Miranda Quispe, Bruno Sebastian" userId="5df213b2-8b23-43f1-8137-24ac80ef972a" providerId="ADAL" clId="{E965C011-1063-4CD3-8CA5-A8D35C5C287B}" dt="2022-08-11T16:23:52.853" v="15054" actId="1076"/>
          <ac:picMkLst>
            <pc:docMk/>
            <pc:sldMk cId="2814799748" sldId="2147470459"/>
            <ac:picMk id="36" creationId="{412442CA-D161-5149-644C-BD2825D0EDA8}"/>
          </ac:picMkLst>
        </pc:picChg>
        <pc:picChg chg="add del mod">
          <ac:chgData name="Miranda Quispe, Bruno Sebastian" userId="5df213b2-8b23-43f1-8137-24ac80ef972a" providerId="ADAL" clId="{E965C011-1063-4CD3-8CA5-A8D35C5C287B}" dt="2022-08-05T14:43:22.530" v="8083"/>
          <ac:picMkLst>
            <pc:docMk/>
            <pc:sldMk cId="2814799748" sldId="2147470459"/>
            <ac:picMk id="36" creationId="{51DD9A03-61DA-A6B8-EEA2-946071C5250C}"/>
          </ac:picMkLst>
        </pc:picChg>
        <pc:picChg chg="add del mod">
          <ac:chgData name="Miranda Quispe, Bruno Sebastian" userId="5df213b2-8b23-43f1-8137-24ac80ef972a" providerId="ADAL" clId="{E965C011-1063-4CD3-8CA5-A8D35C5C287B}" dt="2022-08-05T14:49:59.918" v="8176" actId="478"/>
          <ac:picMkLst>
            <pc:docMk/>
            <pc:sldMk cId="2814799748" sldId="2147470459"/>
            <ac:picMk id="40" creationId="{102603B0-DAF6-2621-A3EB-06770EFC8256}"/>
          </ac:picMkLst>
        </pc:picChg>
        <pc:picChg chg="add mod">
          <ac:chgData name="Miranda Quispe, Bruno Sebastian" userId="5df213b2-8b23-43f1-8137-24ac80ef972a" providerId="ADAL" clId="{E965C011-1063-4CD3-8CA5-A8D35C5C287B}" dt="2022-08-11T16:23:33.331" v="15051" actId="1076"/>
          <ac:picMkLst>
            <pc:docMk/>
            <pc:sldMk cId="2814799748" sldId="2147470459"/>
            <ac:picMk id="40" creationId="{7B5D304E-3D02-C187-C143-2CBEE12B22F3}"/>
          </ac:picMkLst>
        </pc:picChg>
        <pc:picChg chg="add del mod">
          <ac:chgData name="Miranda Quispe, Bruno Sebastian" userId="5df213b2-8b23-43f1-8137-24ac80ef972a" providerId="ADAL" clId="{E965C011-1063-4CD3-8CA5-A8D35C5C287B}" dt="2022-08-05T14:51:06.303" v="8252" actId="478"/>
          <ac:picMkLst>
            <pc:docMk/>
            <pc:sldMk cId="2814799748" sldId="2147470459"/>
            <ac:picMk id="41" creationId="{19606F52-3349-5544-E660-9118165750DA}"/>
          </ac:picMkLst>
        </pc:picChg>
        <pc:picChg chg="add mod">
          <ac:chgData name="Miranda Quispe, Bruno Sebastian" userId="5df213b2-8b23-43f1-8137-24ac80ef972a" providerId="ADAL" clId="{E965C011-1063-4CD3-8CA5-A8D35C5C287B}" dt="2022-08-11T16:23:33.331" v="15051" actId="1076"/>
          <ac:picMkLst>
            <pc:docMk/>
            <pc:sldMk cId="2814799748" sldId="2147470459"/>
            <ac:picMk id="46" creationId="{40C92629-DB6B-95DE-3C8B-27D0685AD35C}"/>
          </ac:picMkLst>
        </pc:picChg>
        <pc:picChg chg="add mod">
          <ac:chgData name="Miranda Quispe, Bruno Sebastian" userId="5df213b2-8b23-43f1-8137-24ac80ef972a" providerId="ADAL" clId="{E965C011-1063-4CD3-8CA5-A8D35C5C287B}" dt="2022-08-11T16:23:33.331" v="15051" actId="1076"/>
          <ac:picMkLst>
            <pc:docMk/>
            <pc:sldMk cId="2814799748" sldId="2147470459"/>
            <ac:picMk id="47" creationId="{2AE1BC42-3F2B-B8B9-A626-0A1013B0F704}"/>
          </ac:picMkLst>
        </pc:picChg>
        <pc:picChg chg="add mod">
          <ac:chgData name="Miranda Quispe, Bruno Sebastian" userId="5df213b2-8b23-43f1-8137-24ac80ef972a" providerId="ADAL" clId="{E965C011-1063-4CD3-8CA5-A8D35C5C287B}" dt="2022-08-11T16:19:15.863" v="15031" actId="14100"/>
          <ac:picMkLst>
            <pc:docMk/>
            <pc:sldMk cId="2814799748" sldId="2147470459"/>
            <ac:picMk id="1026" creationId="{5AF053FC-2A11-C4B3-734D-875BB3397338}"/>
          </ac:picMkLst>
        </pc:picChg>
        <pc:picChg chg="add del mod">
          <ac:chgData name="Miranda Quispe, Bruno Sebastian" userId="5df213b2-8b23-43f1-8137-24ac80ef972a" providerId="ADAL" clId="{E965C011-1063-4CD3-8CA5-A8D35C5C287B}" dt="2022-08-03T20:55:08.355" v="7720" actId="478"/>
          <ac:picMkLst>
            <pc:docMk/>
            <pc:sldMk cId="2814799748" sldId="2147470459"/>
            <ac:picMk id="1028" creationId="{1CCD5801-0A26-52A6-F4A5-BF6D02F87B33}"/>
          </ac:picMkLst>
        </pc:picChg>
        <pc:cxnChg chg="add del mod">
          <ac:chgData name="Miranda Quispe, Bruno Sebastian" userId="5df213b2-8b23-43f1-8137-24ac80ef972a" providerId="ADAL" clId="{E965C011-1063-4CD3-8CA5-A8D35C5C287B}" dt="2022-08-11T16:24:30.831" v="15058" actId="478"/>
          <ac:cxnSpMkLst>
            <pc:docMk/>
            <pc:sldMk cId="2814799748" sldId="2147470459"/>
            <ac:cxnSpMk id="50" creationId="{25578703-5B34-8E81-34D4-B09C21EBF854}"/>
          </ac:cxnSpMkLst>
        </pc:cxnChg>
      </pc:sldChg>
      <pc:sldChg chg="addSp delSp modSp new mod">
        <pc:chgData name="Miranda Quispe, Bruno Sebastian" userId="5df213b2-8b23-43f1-8137-24ac80ef972a" providerId="ADAL" clId="{E965C011-1063-4CD3-8CA5-A8D35C5C287B}" dt="2022-08-24T15:10:55.424" v="16335" actId="20577"/>
        <pc:sldMkLst>
          <pc:docMk/>
          <pc:sldMk cId="2492727972" sldId="2147470460"/>
        </pc:sldMkLst>
        <pc:spChg chg="mod">
          <ac:chgData name="Miranda Quispe, Bruno Sebastian" userId="5df213b2-8b23-43f1-8137-24ac80ef972a" providerId="ADAL" clId="{E965C011-1063-4CD3-8CA5-A8D35C5C287B}" dt="2022-08-24T15:10:55.424" v="16335" actId="20577"/>
          <ac:spMkLst>
            <pc:docMk/>
            <pc:sldMk cId="2492727972" sldId="2147470460"/>
            <ac:spMk id="3" creationId="{DD2F91FD-13F3-F8FD-75E2-9220C71B7053}"/>
          </ac:spMkLst>
        </pc:spChg>
        <pc:spChg chg="del">
          <ac:chgData name="Miranda Quispe, Bruno Sebastian" userId="5df213b2-8b23-43f1-8137-24ac80ef972a" providerId="ADAL" clId="{E965C011-1063-4CD3-8CA5-A8D35C5C287B}" dt="2022-08-04T16:20:17.890" v="7945" actId="478"/>
          <ac:spMkLst>
            <pc:docMk/>
            <pc:sldMk cId="2492727972" sldId="2147470460"/>
            <ac:spMk id="4" creationId="{1679F774-9F62-93B7-B489-CB910B7F7100}"/>
          </ac:spMkLst>
        </pc:spChg>
        <pc:spChg chg="add mod">
          <ac:chgData name="Miranda Quispe, Bruno Sebastian" userId="5df213b2-8b23-43f1-8137-24ac80ef972a" providerId="ADAL" clId="{E965C011-1063-4CD3-8CA5-A8D35C5C287B}" dt="2022-08-05T14:56:31.852" v="8300" actId="1076"/>
          <ac:spMkLst>
            <pc:docMk/>
            <pc:sldMk cId="2492727972" sldId="2147470460"/>
            <ac:spMk id="6" creationId="{D2E72537-4171-E87D-551B-E79BE5E81D4C}"/>
          </ac:spMkLst>
        </pc:spChg>
        <pc:spChg chg="add mod">
          <ac:chgData name="Miranda Quispe, Bruno Sebastian" userId="5df213b2-8b23-43f1-8137-24ac80ef972a" providerId="ADAL" clId="{E965C011-1063-4CD3-8CA5-A8D35C5C287B}" dt="2022-08-05T15:00:24.584" v="8316" actId="208"/>
          <ac:spMkLst>
            <pc:docMk/>
            <pc:sldMk cId="2492727972" sldId="2147470460"/>
            <ac:spMk id="8" creationId="{907C4F2A-5B13-1805-ACEA-1AAB8E0E5ED7}"/>
          </ac:spMkLst>
        </pc:spChg>
        <pc:spChg chg="add mod">
          <ac:chgData name="Miranda Quispe, Bruno Sebastian" userId="5df213b2-8b23-43f1-8137-24ac80ef972a" providerId="ADAL" clId="{E965C011-1063-4CD3-8CA5-A8D35C5C287B}" dt="2022-08-05T14:59:23.158" v="8314" actId="208"/>
          <ac:spMkLst>
            <pc:docMk/>
            <pc:sldMk cId="2492727972" sldId="2147470460"/>
            <ac:spMk id="9" creationId="{07F254EF-AD63-F6E0-5ED1-45585CD3D1E0}"/>
          </ac:spMkLst>
        </pc:spChg>
        <pc:spChg chg="add mod">
          <ac:chgData name="Miranda Quispe, Bruno Sebastian" userId="5df213b2-8b23-43f1-8137-24ac80ef972a" providerId="ADAL" clId="{E965C011-1063-4CD3-8CA5-A8D35C5C287B}" dt="2022-08-05T15:00:41.422" v="8321" actId="1076"/>
          <ac:spMkLst>
            <pc:docMk/>
            <pc:sldMk cId="2492727972" sldId="2147470460"/>
            <ac:spMk id="12" creationId="{3E267E9B-EC2E-C214-B315-C4249B7CF200}"/>
          </ac:spMkLst>
        </pc:spChg>
        <pc:spChg chg="add mod">
          <ac:chgData name="Miranda Quispe, Bruno Sebastian" userId="5df213b2-8b23-43f1-8137-24ac80ef972a" providerId="ADAL" clId="{E965C011-1063-4CD3-8CA5-A8D35C5C287B}" dt="2022-08-05T15:00:58.971" v="8326" actId="108"/>
          <ac:spMkLst>
            <pc:docMk/>
            <pc:sldMk cId="2492727972" sldId="2147470460"/>
            <ac:spMk id="13" creationId="{322D49E6-1792-66D6-6113-6A38ED82CDEF}"/>
          </ac:spMkLst>
        </pc:spChg>
        <pc:spChg chg="add mod">
          <ac:chgData name="Miranda Quispe, Bruno Sebastian" userId="5df213b2-8b23-43f1-8137-24ac80ef972a" providerId="ADAL" clId="{E965C011-1063-4CD3-8CA5-A8D35C5C287B}" dt="2022-08-05T15:01:05.558" v="8327" actId="108"/>
          <ac:spMkLst>
            <pc:docMk/>
            <pc:sldMk cId="2492727972" sldId="2147470460"/>
            <ac:spMk id="14" creationId="{4515EFA1-3A49-4395-37BB-C363A8C28B84}"/>
          </ac:spMkLst>
        </pc:spChg>
        <pc:spChg chg="add mod">
          <ac:chgData name="Miranda Quispe, Bruno Sebastian" userId="5df213b2-8b23-43f1-8137-24ac80ef972a" providerId="ADAL" clId="{E965C011-1063-4CD3-8CA5-A8D35C5C287B}" dt="2022-08-11T19:23:22.453" v="15140" actId="20577"/>
          <ac:spMkLst>
            <pc:docMk/>
            <pc:sldMk cId="2492727972" sldId="2147470460"/>
            <ac:spMk id="15" creationId="{8DFA3110-5D21-CB2D-A0A6-A2104B766459}"/>
          </ac:spMkLst>
        </pc:spChg>
        <pc:spChg chg="add mod">
          <ac:chgData name="Miranda Quispe, Bruno Sebastian" userId="5df213b2-8b23-43f1-8137-24ac80ef972a" providerId="ADAL" clId="{E965C011-1063-4CD3-8CA5-A8D35C5C287B}" dt="2022-08-05T15:02:13.407" v="8376" actId="1076"/>
          <ac:spMkLst>
            <pc:docMk/>
            <pc:sldMk cId="2492727972" sldId="2147470460"/>
            <ac:spMk id="16" creationId="{1EA8B0E9-FE22-0323-912F-17DEB154E4E9}"/>
          </ac:spMkLst>
        </pc:spChg>
        <pc:spChg chg="add mod">
          <ac:chgData name="Miranda Quispe, Bruno Sebastian" userId="5df213b2-8b23-43f1-8137-24ac80ef972a" providerId="ADAL" clId="{E965C011-1063-4CD3-8CA5-A8D35C5C287B}" dt="2022-08-05T15:02:26.322" v="8383" actId="20577"/>
          <ac:spMkLst>
            <pc:docMk/>
            <pc:sldMk cId="2492727972" sldId="2147470460"/>
            <ac:spMk id="17" creationId="{2F4A2A20-EEDD-B746-E9B2-5659D671AA58}"/>
          </ac:spMkLst>
        </pc:spChg>
        <pc:graphicFrameChg chg="add del mod">
          <ac:chgData name="Miranda Quispe, Bruno Sebastian" userId="5df213b2-8b23-43f1-8137-24ac80ef972a" providerId="ADAL" clId="{E965C011-1063-4CD3-8CA5-A8D35C5C287B}" dt="2022-08-05T14:51:42.918" v="8273"/>
          <ac:graphicFrameMkLst>
            <pc:docMk/>
            <pc:sldMk cId="2492727972" sldId="2147470460"/>
            <ac:graphicFrameMk id="4" creationId="{66BE1DFD-EC6D-3F65-7EFC-C50BF2C6554F}"/>
          </ac:graphicFrameMkLst>
        </pc:graphicFrameChg>
        <pc:picChg chg="add mod">
          <ac:chgData name="Miranda Quispe, Bruno Sebastian" userId="5df213b2-8b23-43f1-8137-24ac80ef972a" providerId="ADAL" clId="{E965C011-1063-4CD3-8CA5-A8D35C5C287B}" dt="2022-08-05T14:56:56.225" v="8307" actId="1076"/>
          <ac:picMkLst>
            <pc:docMk/>
            <pc:sldMk cId="2492727972" sldId="2147470460"/>
            <ac:picMk id="5" creationId="{48BC534E-FBB8-8A01-D3F0-4A03383F3288}"/>
          </ac:picMkLst>
        </pc:picChg>
        <pc:picChg chg="add del mod">
          <ac:chgData name="Miranda Quispe, Bruno Sebastian" userId="5df213b2-8b23-43f1-8137-24ac80ef972a" providerId="ADAL" clId="{E965C011-1063-4CD3-8CA5-A8D35C5C287B}" dt="2022-08-05T14:51:48.808" v="8277" actId="478"/>
          <ac:picMkLst>
            <pc:docMk/>
            <pc:sldMk cId="2492727972" sldId="2147470460"/>
            <ac:picMk id="1026" creationId="{1EAF84FD-3A6E-6DFE-AFD5-59A770F32A89}"/>
          </ac:picMkLst>
        </pc:picChg>
        <pc:cxnChg chg="add del">
          <ac:chgData name="Miranda Quispe, Bruno Sebastian" userId="5df213b2-8b23-43f1-8137-24ac80ef972a" providerId="ADAL" clId="{E965C011-1063-4CD3-8CA5-A8D35C5C287B}" dt="2022-08-05T14:58:50.692" v="8312" actId="11529"/>
          <ac:cxnSpMkLst>
            <pc:docMk/>
            <pc:sldMk cId="2492727972" sldId="2147470460"/>
            <ac:cxnSpMk id="10" creationId="{14B2AB0C-6E9D-F22A-3305-87E5FD42ADAB}"/>
          </ac:cxnSpMkLst>
        </pc:cxnChg>
      </pc:sldChg>
      <pc:sldChg chg="addSp delSp modSp new mod">
        <pc:chgData name="Miranda Quispe, Bruno Sebastian" userId="5df213b2-8b23-43f1-8137-24ac80ef972a" providerId="ADAL" clId="{E965C011-1063-4CD3-8CA5-A8D35C5C287B}" dt="2022-09-05T16:06:18.180" v="22588" actId="20577"/>
        <pc:sldMkLst>
          <pc:docMk/>
          <pc:sldMk cId="1560412451" sldId="2147470461"/>
        </pc:sldMkLst>
        <pc:spChg chg="mod">
          <ac:chgData name="Miranda Quispe, Bruno Sebastian" userId="5df213b2-8b23-43f1-8137-24ac80ef972a" providerId="ADAL" clId="{E965C011-1063-4CD3-8CA5-A8D35C5C287B}" dt="2022-09-05T16:06:18.180" v="22588" actId="20577"/>
          <ac:spMkLst>
            <pc:docMk/>
            <pc:sldMk cId="1560412451" sldId="2147470461"/>
            <ac:spMk id="3" creationId="{22249971-EEAF-1017-6954-A1A6F3082C0F}"/>
          </ac:spMkLst>
        </pc:spChg>
        <pc:spChg chg="del">
          <ac:chgData name="Miranda Quispe, Bruno Sebastian" userId="5df213b2-8b23-43f1-8137-24ac80ef972a" providerId="ADAL" clId="{E965C011-1063-4CD3-8CA5-A8D35C5C287B}" dt="2022-08-05T15:02:48.671" v="8409" actId="478"/>
          <ac:spMkLst>
            <pc:docMk/>
            <pc:sldMk cId="1560412451" sldId="2147470461"/>
            <ac:spMk id="4" creationId="{C21C2A62-1447-C0C2-D57A-2FD0C3DA0F9A}"/>
          </ac:spMkLst>
        </pc:spChg>
        <pc:picChg chg="add mod">
          <ac:chgData name="Miranda Quispe, Bruno Sebastian" userId="5df213b2-8b23-43f1-8137-24ac80ef972a" providerId="ADAL" clId="{E965C011-1063-4CD3-8CA5-A8D35C5C287B}" dt="2022-08-05T15:03:04.166" v="8414" actId="1076"/>
          <ac:picMkLst>
            <pc:docMk/>
            <pc:sldMk cId="1560412451" sldId="2147470461"/>
            <ac:picMk id="5" creationId="{80D456B3-FA57-19C7-02E9-6FFF9EBE0DF7}"/>
          </ac:picMkLst>
        </pc:picChg>
      </pc:sldChg>
      <pc:sldChg chg="addSp delSp modSp new mod ord modClrScheme chgLayout">
        <pc:chgData name="Miranda Quispe, Bruno Sebastian" userId="5df213b2-8b23-43f1-8137-24ac80ef972a" providerId="ADAL" clId="{E965C011-1063-4CD3-8CA5-A8D35C5C287B}" dt="2022-09-05T16:11:10.794" v="22598" actId="20577"/>
        <pc:sldMkLst>
          <pc:docMk/>
          <pc:sldMk cId="3642172923" sldId="2147470462"/>
        </pc:sldMkLst>
        <pc:spChg chg="mod ord">
          <ac:chgData name="Miranda Quispe, Bruno Sebastian" userId="5df213b2-8b23-43f1-8137-24ac80ef972a" providerId="ADAL" clId="{E965C011-1063-4CD3-8CA5-A8D35C5C287B}" dt="2022-09-05T16:02:01.911" v="22339" actId="700"/>
          <ac:spMkLst>
            <pc:docMk/>
            <pc:sldMk cId="3642172923" sldId="2147470462"/>
            <ac:spMk id="2" creationId="{764E3860-D3F5-01AB-6224-255E6A441537}"/>
          </ac:spMkLst>
        </pc:spChg>
        <pc:spChg chg="mod ord">
          <ac:chgData name="Miranda Quispe, Bruno Sebastian" userId="5df213b2-8b23-43f1-8137-24ac80ef972a" providerId="ADAL" clId="{E965C011-1063-4CD3-8CA5-A8D35C5C287B}" dt="2022-09-05T16:11:10.794" v="22598" actId="20577"/>
          <ac:spMkLst>
            <pc:docMk/>
            <pc:sldMk cId="3642172923" sldId="2147470462"/>
            <ac:spMk id="3" creationId="{A23C06D9-8D40-7278-DE12-2CB023E06885}"/>
          </ac:spMkLst>
        </pc:spChg>
        <pc:spChg chg="add del mod ord">
          <ac:chgData name="Miranda Quispe, Bruno Sebastian" userId="5df213b2-8b23-43f1-8137-24ac80ef972a" providerId="ADAL" clId="{E965C011-1063-4CD3-8CA5-A8D35C5C287B}" dt="2022-09-05T16:01:34.446" v="22332" actId="478"/>
          <ac:spMkLst>
            <pc:docMk/>
            <pc:sldMk cId="3642172923" sldId="2147470462"/>
            <ac:spMk id="4" creationId="{B3E81486-13EF-67A8-078D-E07561D0F417}"/>
          </ac:spMkLst>
        </pc:spChg>
        <pc:spChg chg="add del mod">
          <ac:chgData name="Miranda Quispe, Bruno Sebastian" userId="5df213b2-8b23-43f1-8137-24ac80ef972a" providerId="ADAL" clId="{E965C011-1063-4CD3-8CA5-A8D35C5C287B}" dt="2022-08-15T14:11:02.176" v="15616" actId="478"/>
          <ac:spMkLst>
            <pc:docMk/>
            <pc:sldMk cId="3642172923" sldId="2147470462"/>
            <ac:spMk id="5" creationId="{B925D820-BEB7-42EB-5A08-8842EB7E9A41}"/>
          </ac:spMkLst>
        </pc:spChg>
        <pc:spChg chg="add del mod ord">
          <ac:chgData name="Miranda Quispe, Bruno Sebastian" userId="5df213b2-8b23-43f1-8137-24ac80ef972a" providerId="ADAL" clId="{E965C011-1063-4CD3-8CA5-A8D35C5C287B}" dt="2022-08-05T15:22:17.597" v="8438" actId="700"/>
          <ac:spMkLst>
            <pc:docMk/>
            <pc:sldMk cId="3642172923" sldId="2147470462"/>
            <ac:spMk id="5" creationId="{B96A2E73-6444-4291-AC4B-CF9448B3ABA3}"/>
          </ac:spMkLst>
        </pc:spChg>
        <pc:spChg chg="add del mod ord">
          <ac:chgData name="Miranda Quispe, Bruno Sebastian" userId="5df213b2-8b23-43f1-8137-24ac80ef972a" providerId="ADAL" clId="{E965C011-1063-4CD3-8CA5-A8D35C5C287B}" dt="2022-08-05T15:22:17.597" v="8438" actId="700"/>
          <ac:spMkLst>
            <pc:docMk/>
            <pc:sldMk cId="3642172923" sldId="2147470462"/>
            <ac:spMk id="6" creationId="{2BFDEB36-E8DA-FDBF-BCA8-D2B35DD17754}"/>
          </ac:spMkLst>
        </pc:spChg>
        <pc:spChg chg="add del mod">
          <ac:chgData name="Miranda Quispe, Bruno Sebastian" userId="5df213b2-8b23-43f1-8137-24ac80ef972a" providerId="ADAL" clId="{E965C011-1063-4CD3-8CA5-A8D35C5C287B}" dt="2022-09-05T16:01:31.825" v="22330" actId="478"/>
          <ac:spMkLst>
            <pc:docMk/>
            <pc:sldMk cId="3642172923" sldId="2147470462"/>
            <ac:spMk id="7" creationId="{B7EA9830-7CEA-493B-76AD-9A75F0E4ED4C}"/>
          </ac:spMkLst>
        </pc:spChg>
        <pc:spChg chg="add del mod">
          <ac:chgData name="Miranda Quispe, Bruno Sebastian" userId="5df213b2-8b23-43f1-8137-24ac80ef972a" providerId="ADAL" clId="{E965C011-1063-4CD3-8CA5-A8D35C5C287B}" dt="2022-09-05T16:01:36.389" v="22333" actId="478"/>
          <ac:spMkLst>
            <pc:docMk/>
            <pc:sldMk cId="3642172923" sldId="2147470462"/>
            <ac:spMk id="8" creationId="{42BD9089-CBEA-8EBB-1279-27D6F30663E0}"/>
          </ac:spMkLst>
        </pc:spChg>
        <pc:spChg chg="add mod ord">
          <ac:chgData name="Miranda Quispe, Bruno Sebastian" userId="5df213b2-8b23-43f1-8137-24ac80ef972a" providerId="ADAL" clId="{E965C011-1063-4CD3-8CA5-A8D35C5C287B}" dt="2022-09-05T16:04:02.239" v="22468" actId="20577"/>
          <ac:spMkLst>
            <pc:docMk/>
            <pc:sldMk cId="3642172923" sldId="2147470462"/>
            <ac:spMk id="9" creationId="{2B3DBDB0-5156-D86F-6029-35AF5172ED03}"/>
          </ac:spMkLst>
        </pc:spChg>
        <pc:spChg chg="add mod">
          <ac:chgData name="Miranda Quispe, Bruno Sebastian" userId="5df213b2-8b23-43f1-8137-24ac80ef972a" providerId="ADAL" clId="{E965C011-1063-4CD3-8CA5-A8D35C5C287B}" dt="2022-09-05T16:05:00.284" v="22565" actId="1076"/>
          <ac:spMkLst>
            <pc:docMk/>
            <pc:sldMk cId="3642172923" sldId="2147470462"/>
            <ac:spMk id="11" creationId="{B5649001-03E4-D7F7-C352-A5ED57DE3C2B}"/>
          </ac:spMkLst>
        </pc:spChg>
        <pc:graphicFrameChg chg="add del mod modGraphic">
          <ac:chgData name="Miranda Quispe, Bruno Sebastian" userId="5df213b2-8b23-43f1-8137-24ac80ef972a" providerId="ADAL" clId="{E965C011-1063-4CD3-8CA5-A8D35C5C287B}" dt="2022-09-05T16:10:04.481" v="22594" actId="20577"/>
          <ac:graphicFrameMkLst>
            <pc:docMk/>
            <pc:sldMk cId="3642172923" sldId="2147470462"/>
            <ac:graphicFrameMk id="5" creationId="{2E06E045-BCF2-6AE7-D859-83E913152A25}"/>
          </ac:graphicFrameMkLst>
        </pc:graphicFrameChg>
      </pc:sldChg>
      <pc:sldChg chg="addSp delSp modSp new mod">
        <pc:chgData name="Miranda Quispe, Bruno Sebastian" userId="5df213b2-8b23-43f1-8137-24ac80ef972a" providerId="ADAL" clId="{E965C011-1063-4CD3-8CA5-A8D35C5C287B}" dt="2022-09-05T16:11:21.461" v="22608" actId="20577"/>
        <pc:sldMkLst>
          <pc:docMk/>
          <pc:sldMk cId="3894416763" sldId="2147470463"/>
        </pc:sldMkLst>
        <pc:spChg chg="mod">
          <ac:chgData name="Miranda Quispe, Bruno Sebastian" userId="5df213b2-8b23-43f1-8137-24ac80ef972a" providerId="ADAL" clId="{E965C011-1063-4CD3-8CA5-A8D35C5C287B}" dt="2022-08-05T16:24:22.669" v="9432" actId="20577"/>
          <ac:spMkLst>
            <pc:docMk/>
            <pc:sldMk cId="3894416763" sldId="2147470463"/>
            <ac:spMk id="3" creationId="{191000A7-EE7A-1E97-DCDA-D626856A1500}"/>
          </ac:spMkLst>
        </pc:spChg>
        <pc:spChg chg="del">
          <ac:chgData name="Miranda Quispe, Bruno Sebastian" userId="5df213b2-8b23-43f1-8137-24ac80ef972a" providerId="ADAL" clId="{E965C011-1063-4CD3-8CA5-A8D35C5C287B}" dt="2022-08-05T16:33:20.099" v="9437" actId="478"/>
          <ac:spMkLst>
            <pc:docMk/>
            <pc:sldMk cId="3894416763" sldId="2147470463"/>
            <ac:spMk id="4" creationId="{EED8718B-0033-B9D1-D73B-1DFAC1977394}"/>
          </ac:spMkLst>
        </pc:spChg>
        <pc:spChg chg="mod">
          <ac:chgData name="Miranda Quispe, Bruno Sebastian" userId="5df213b2-8b23-43f1-8137-24ac80ef972a" providerId="ADAL" clId="{E965C011-1063-4CD3-8CA5-A8D35C5C287B}" dt="2022-08-05T16:33:17.417" v="9436"/>
          <ac:spMkLst>
            <pc:docMk/>
            <pc:sldMk cId="3894416763" sldId="2147470463"/>
            <ac:spMk id="9" creationId="{3BB6E96F-B0D1-0012-7548-D069ABC50D83}"/>
          </ac:spMkLst>
        </pc:spChg>
        <pc:spChg chg="mod">
          <ac:chgData name="Miranda Quispe, Bruno Sebastian" userId="5df213b2-8b23-43f1-8137-24ac80ef972a" providerId="ADAL" clId="{E965C011-1063-4CD3-8CA5-A8D35C5C287B}" dt="2022-08-05T16:33:17.417" v="9436"/>
          <ac:spMkLst>
            <pc:docMk/>
            <pc:sldMk cId="3894416763" sldId="2147470463"/>
            <ac:spMk id="10" creationId="{FFF48D62-3828-669A-38D2-559AE9285215}"/>
          </ac:spMkLst>
        </pc:spChg>
        <pc:spChg chg="mod">
          <ac:chgData name="Miranda Quispe, Bruno Sebastian" userId="5df213b2-8b23-43f1-8137-24ac80ef972a" providerId="ADAL" clId="{E965C011-1063-4CD3-8CA5-A8D35C5C287B}" dt="2022-08-05T16:33:17.417" v="9436"/>
          <ac:spMkLst>
            <pc:docMk/>
            <pc:sldMk cId="3894416763" sldId="2147470463"/>
            <ac:spMk id="11" creationId="{9B508BBC-8762-5D3F-A58F-5319DA0A8855}"/>
          </ac:spMkLst>
        </pc:spChg>
        <pc:spChg chg="mod">
          <ac:chgData name="Miranda Quispe, Bruno Sebastian" userId="5df213b2-8b23-43f1-8137-24ac80ef972a" providerId="ADAL" clId="{E965C011-1063-4CD3-8CA5-A8D35C5C287B}" dt="2022-08-05T16:33:17.417" v="9436"/>
          <ac:spMkLst>
            <pc:docMk/>
            <pc:sldMk cId="3894416763" sldId="2147470463"/>
            <ac:spMk id="12" creationId="{C00592F3-B261-DBC8-5387-DD0B115FFE07}"/>
          </ac:spMkLst>
        </pc:spChg>
        <pc:spChg chg="mod">
          <ac:chgData name="Miranda Quispe, Bruno Sebastian" userId="5df213b2-8b23-43f1-8137-24ac80ef972a" providerId="ADAL" clId="{E965C011-1063-4CD3-8CA5-A8D35C5C287B}" dt="2022-08-05T16:33:17.417" v="9436"/>
          <ac:spMkLst>
            <pc:docMk/>
            <pc:sldMk cId="3894416763" sldId="2147470463"/>
            <ac:spMk id="13" creationId="{8333391B-6DEE-256D-D454-4F3B3368285B}"/>
          </ac:spMkLst>
        </pc:spChg>
        <pc:spChg chg="mod">
          <ac:chgData name="Miranda Quispe, Bruno Sebastian" userId="5df213b2-8b23-43f1-8137-24ac80ef972a" providerId="ADAL" clId="{E965C011-1063-4CD3-8CA5-A8D35C5C287B}" dt="2022-08-05T16:33:17.417" v="9436"/>
          <ac:spMkLst>
            <pc:docMk/>
            <pc:sldMk cId="3894416763" sldId="2147470463"/>
            <ac:spMk id="14" creationId="{677E21C4-3917-61E7-F969-4E5DD05F6BDB}"/>
          </ac:spMkLst>
        </pc:spChg>
        <pc:spChg chg="mod">
          <ac:chgData name="Miranda Quispe, Bruno Sebastian" userId="5df213b2-8b23-43f1-8137-24ac80ef972a" providerId="ADAL" clId="{E965C011-1063-4CD3-8CA5-A8D35C5C287B}" dt="2022-08-05T16:33:17.417" v="9436"/>
          <ac:spMkLst>
            <pc:docMk/>
            <pc:sldMk cId="3894416763" sldId="2147470463"/>
            <ac:spMk id="15" creationId="{63FA6686-259A-A4ED-B1E1-528A8F5B26E1}"/>
          </ac:spMkLst>
        </pc:spChg>
        <pc:spChg chg="mod">
          <ac:chgData name="Miranda Quispe, Bruno Sebastian" userId="5df213b2-8b23-43f1-8137-24ac80ef972a" providerId="ADAL" clId="{E965C011-1063-4CD3-8CA5-A8D35C5C287B}" dt="2022-08-05T16:33:17.417" v="9436"/>
          <ac:spMkLst>
            <pc:docMk/>
            <pc:sldMk cId="3894416763" sldId="2147470463"/>
            <ac:spMk id="16" creationId="{B162D294-DAE0-43C3-62C2-68DB6B0533FF}"/>
          </ac:spMkLst>
        </pc:spChg>
        <pc:spChg chg="add mod">
          <ac:chgData name="Miranda Quispe, Bruno Sebastian" userId="5df213b2-8b23-43f1-8137-24ac80ef972a" providerId="ADAL" clId="{E965C011-1063-4CD3-8CA5-A8D35C5C287B}" dt="2022-09-05T16:11:21.461" v="22608" actId="20577"/>
          <ac:spMkLst>
            <pc:docMk/>
            <pc:sldMk cId="3894416763" sldId="2147470463"/>
            <ac:spMk id="18" creationId="{9DABE1BF-DDED-AE51-6A8F-7B8E251FA4F3}"/>
          </ac:spMkLst>
        </pc:spChg>
        <pc:spChg chg="add mod">
          <ac:chgData name="Miranda Quispe, Bruno Sebastian" userId="5df213b2-8b23-43f1-8137-24ac80ef972a" providerId="ADAL" clId="{E965C011-1063-4CD3-8CA5-A8D35C5C287B}" dt="2022-08-15T16:20:40.326" v="16277" actId="20577"/>
          <ac:spMkLst>
            <pc:docMk/>
            <pc:sldMk cId="3894416763" sldId="2147470463"/>
            <ac:spMk id="19" creationId="{C9D30AEA-616D-EA0A-8912-0DC45113CDD6}"/>
          </ac:spMkLst>
        </pc:spChg>
        <pc:grpChg chg="add del mod">
          <ac:chgData name="Miranda Quispe, Bruno Sebastian" userId="5df213b2-8b23-43f1-8137-24ac80ef972a" providerId="ADAL" clId="{E965C011-1063-4CD3-8CA5-A8D35C5C287B}" dt="2022-08-05T16:33:46.516" v="9442" actId="478"/>
          <ac:grpSpMkLst>
            <pc:docMk/>
            <pc:sldMk cId="3894416763" sldId="2147470463"/>
            <ac:grpSpMk id="5" creationId="{33C6F4A3-285F-B984-F53F-506FCADDEF93}"/>
          </ac:grpSpMkLst>
        </pc:grpChg>
        <pc:picChg chg="mod">
          <ac:chgData name="Miranda Quispe, Bruno Sebastian" userId="5df213b2-8b23-43f1-8137-24ac80ef972a" providerId="ADAL" clId="{E965C011-1063-4CD3-8CA5-A8D35C5C287B}" dt="2022-08-05T16:33:39.921" v="9439" actId="1076"/>
          <ac:picMkLst>
            <pc:docMk/>
            <pc:sldMk cId="3894416763" sldId="2147470463"/>
            <ac:picMk id="6" creationId="{41253092-7EA7-D455-5DAE-E18DB4D5CF1F}"/>
          </ac:picMkLst>
        </pc:picChg>
        <pc:picChg chg="mod">
          <ac:chgData name="Miranda Quispe, Bruno Sebastian" userId="5df213b2-8b23-43f1-8137-24ac80ef972a" providerId="ADAL" clId="{E965C011-1063-4CD3-8CA5-A8D35C5C287B}" dt="2022-08-05T16:33:17.417" v="9436"/>
          <ac:picMkLst>
            <pc:docMk/>
            <pc:sldMk cId="3894416763" sldId="2147470463"/>
            <ac:picMk id="7" creationId="{0B728D94-395D-4CBF-EBC8-7FA323114CFD}"/>
          </ac:picMkLst>
        </pc:picChg>
        <pc:picChg chg="mod">
          <ac:chgData name="Miranda Quispe, Bruno Sebastian" userId="5df213b2-8b23-43f1-8137-24ac80ef972a" providerId="ADAL" clId="{E965C011-1063-4CD3-8CA5-A8D35C5C287B}" dt="2022-08-05T16:33:17.417" v="9436"/>
          <ac:picMkLst>
            <pc:docMk/>
            <pc:sldMk cId="3894416763" sldId="2147470463"/>
            <ac:picMk id="8" creationId="{7A99832F-EC8F-B22A-2368-593D92ECD87F}"/>
          </ac:picMkLst>
        </pc:picChg>
        <pc:picChg chg="add mod">
          <ac:chgData name="Miranda Quispe, Bruno Sebastian" userId="5df213b2-8b23-43f1-8137-24ac80ef972a" providerId="ADAL" clId="{E965C011-1063-4CD3-8CA5-A8D35C5C287B}" dt="2022-08-05T16:37:56.110" v="9509" actId="1076"/>
          <ac:picMkLst>
            <pc:docMk/>
            <pc:sldMk cId="3894416763" sldId="2147470463"/>
            <ac:picMk id="17" creationId="{B3FC84D3-34BE-908D-0290-6A9EEB337B25}"/>
          </ac:picMkLst>
        </pc:picChg>
      </pc:sldChg>
      <pc:sldChg chg="add del">
        <pc:chgData name="Miranda Quispe, Bruno Sebastian" userId="5df213b2-8b23-43f1-8137-24ac80ef972a" providerId="ADAL" clId="{E965C011-1063-4CD3-8CA5-A8D35C5C287B}" dt="2022-08-05T17:48:57.891" v="10459" actId="2696"/>
        <pc:sldMkLst>
          <pc:docMk/>
          <pc:sldMk cId="561891526" sldId="2147470464"/>
        </pc:sldMkLst>
      </pc:sldChg>
      <pc:sldChg chg="add del">
        <pc:chgData name="Miranda Quispe, Bruno Sebastian" userId="5df213b2-8b23-43f1-8137-24ac80ef972a" providerId="ADAL" clId="{E965C011-1063-4CD3-8CA5-A8D35C5C287B}" dt="2022-08-05T16:33:13.739" v="9435"/>
        <pc:sldMkLst>
          <pc:docMk/>
          <pc:sldMk cId="1587336336" sldId="2147470465"/>
        </pc:sldMkLst>
      </pc:sldChg>
      <pc:sldChg chg="addSp delSp modSp new mod setBg">
        <pc:chgData name="Miranda Quispe, Bruno Sebastian" userId="5df213b2-8b23-43f1-8137-24ac80ef972a" providerId="ADAL" clId="{E965C011-1063-4CD3-8CA5-A8D35C5C287B}" dt="2022-08-09T21:02:12.678" v="12103" actId="20577"/>
        <pc:sldMkLst>
          <pc:docMk/>
          <pc:sldMk cId="1912050775" sldId="2147470465"/>
        </pc:sldMkLst>
        <pc:spChg chg="mod">
          <ac:chgData name="Miranda Quispe, Bruno Sebastian" userId="5df213b2-8b23-43f1-8137-24ac80ef972a" providerId="ADAL" clId="{E965C011-1063-4CD3-8CA5-A8D35C5C287B}" dt="2022-08-05T17:48:39.887" v="10458" actId="20577"/>
          <ac:spMkLst>
            <pc:docMk/>
            <pc:sldMk cId="1912050775" sldId="2147470465"/>
            <ac:spMk id="3" creationId="{C1C600A1-5AD2-62A5-6517-63681614EE84}"/>
          </ac:spMkLst>
        </pc:spChg>
        <pc:spChg chg="del">
          <ac:chgData name="Miranda Quispe, Bruno Sebastian" userId="5df213b2-8b23-43f1-8137-24ac80ef972a" providerId="ADAL" clId="{E965C011-1063-4CD3-8CA5-A8D35C5C287B}" dt="2022-08-05T17:50:00.804" v="10460" actId="478"/>
          <ac:spMkLst>
            <pc:docMk/>
            <pc:sldMk cId="1912050775" sldId="2147470465"/>
            <ac:spMk id="4" creationId="{8B797B7D-DB21-3B05-92A5-B10DDD7F8761}"/>
          </ac:spMkLst>
        </pc:spChg>
        <pc:spChg chg="add mod">
          <ac:chgData name="Miranda Quispe, Bruno Sebastian" userId="5df213b2-8b23-43f1-8137-24ac80ef972a" providerId="ADAL" clId="{E965C011-1063-4CD3-8CA5-A8D35C5C287B}" dt="2022-08-09T21:02:12.678" v="12103" actId="20577"/>
          <ac:spMkLst>
            <pc:docMk/>
            <pc:sldMk cId="1912050775" sldId="2147470465"/>
            <ac:spMk id="5" creationId="{96494F7E-3CFD-3FD2-C94A-60C4FF8EF49A}"/>
          </ac:spMkLst>
        </pc:spChg>
        <pc:spChg chg="add mod">
          <ac:chgData name="Miranda Quispe, Bruno Sebastian" userId="5df213b2-8b23-43f1-8137-24ac80ef972a" providerId="ADAL" clId="{E965C011-1063-4CD3-8CA5-A8D35C5C287B}" dt="2022-08-05T19:15:53.583" v="11057" actId="20577"/>
          <ac:spMkLst>
            <pc:docMk/>
            <pc:sldMk cId="1912050775" sldId="2147470465"/>
            <ac:spMk id="6" creationId="{6CB0BB23-C602-6246-1540-DA0A7716CD30}"/>
          </ac:spMkLst>
        </pc:spChg>
        <pc:spChg chg="add mod">
          <ac:chgData name="Miranda Quispe, Bruno Sebastian" userId="5df213b2-8b23-43f1-8137-24ac80ef972a" providerId="ADAL" clId="{E965C011-1063-4CD3-8CA5-A8D35C5C287B}" dt="2022-08-05T19:20:48.493" v="11885" actId="20577"/>
          <ac:spMkLst>
            <pc:docMk/>
            <pc:sldMk cId="1912050775" sldId="2147470465"/>
            <ac:spMk id="7" creationId="{9CBEF119-6700-FF56-970D-80CD2D97126A}"/>
          </ac:spMkLst>
        </pc:spChg>
        <pc:spChg chg="add mod">
          <ac:chgData name="Miranda Quispe, Bruno Sebastian" userId="5df213b2-8b23-43f1-8137-24ac80ef972a" providerId="ADAL" clId="{E965C011-1063-4CD3-8CA5-A8D35C5C287B}" dt="2022-08-05T19:15:47.865" v="11047" actId="1076"/>
          <ac:spMkLst>
            <pc:docMk/>
            <pc:sldMk cId="1912050775" sldId="2147470465"/>
            <ac:spMk id="8" creationId="{D04F0563-32A6-F205-9233-8FB20489645E}"/>
          </ac:spMkLst>
        </pc:spChg>
        <pc:spChg chg="add mod">
          <ac:chgData name="Miranda Quispe, Bruno Sebastian" userId="5df213b2-8b23-43f1-8137-24ac80ef972a" providerId="ADAL" clId="{E965C011-1063-4CD3-8CA5-A8D35C5C287B}" dt="2022-08-05T19:11:36.881" v="10712"/>
          <ac:spMkLst>
            <pc:docMk/>
            <pc:sldMk cId="1912050775" sldId="2147470465"/>
            <ac:spMk id="9" creationId="{FBFAF3E5-BE3D-F016-82C8-0717BD9DC91C}"/>
          </ac:spMkLst>
        </pc:spChg>
        <pc:spChg chg="add mod">
          <ac:chgData name="Miranda Quispe, Bruno Sebastian" userId="5df213b2-8b23-43f1-8137-24ac80ef972a" providerId="ADAL" clId="{E965C011-1063-4CD3-8CA5-A8D35C5C287B}" dt="2022-08-05T19:19:49.464" v="11695" actId="1076"/>
          <ac:spMkLst>
            <pc:docMk/>
            <pc:sldMk cId="1912050775" sldId="2147470465"/>
            <ac:spMk id="10" creationId="{363AD488-0C3C-AAA8-7BE4-F70EA0BCBC4C}"/>
          </ac:spMkLst>
        </pc:spChg>
      </pc:sldChg>
      <pc:sldChg chg="addSp delSp modSp new mod">
        <pc:chgData name="Miranda Quispe, Bruno Sebastian" userId="5df213b2-8b23-43f1-8137-24ac80ef972a" providerId="ADAL" clId="{E965C011-1063-4CD3-8CA5-A8D35C5C287B}" dt="2022-08-10T21:02:49.658" v="14516" actId="113"/>
        <pc:sldMkLst>
          <pc:docMk/>
          <pc:sldMk cId="2516794720" sldId="2147470466"/>
        </pc:sldMkLst>
        <pc:spChg chg="mod">
          <ac:chgData name="Miranda Quispe, Bruno Sebastian" userId="5df213b2-8b23-43f1-8137-24ac80ef972a" providerId="ADAL" clId="{E965C011-1063-4CD3-8CA5-A8D35C5C287B}" dt="2022-08-10T17:22:52.993" v="12590" actId="20577"/>
          <ac:spMkLst>
            <pc:docMk/>
            <pc:sldMk cId="2516794720" sldId="2147470466"/>
            <ac:spMk id="3" creationId="{4A5DC421-8425-9DE2-F61E-DEBB000A7FFB}"/>
          </ac:spMkLst>
        </pc:spChg>
        <pc:spChg chg="del">
          <ac:chgData name="Miranda Quispe, Bruno Sebastian" userId="5df213b2-8b23-43f1-8137-24ac80ef972a" providerId="ADAL" clId="{E965C011-1063-4CD3-8CA5-A8D35C5C287B}" dt="2022-08-10T17:50:10.871" v="12604"/>
          <ac:spMkLst>
            <pc:docMk/>
            <pc:sldMk cId="2516794720" sldId="2147470466"/>
            <ac:spMk id="4" creationId="{3C4927E8-698C-6E0E-D47D-7E94298580C5}"/>
          </ac:spMkLst>
        </pc:spChg>
        <pc:spChg chg="add mod">
          <ac:chgData name="Miranda Quispe, Bruno Sebastian" userId="5df213b2-8b23-43f1-8137-24ac80ef972a" providerId="ADAL" clId="{E965C011-1063-4CD3-8CA5-A8D35C5C287B}" dt="2022-08-10T19:20:28.678" v="12657" actId="1076"/>
          <ac:spMkLst>
            <pc:docMk/>
            <pc:sldMk cId="2516794720" sldId="2147470466"/>
            <ac:spMk id="6" creationId="{F01D241A-B932-F492-701B-19A37D5B27B9}"/>
          </ac:spMkLst>
        </pc:spChg>
        <pc:spChg chg="add mod">
          <ac:chgData name="Miranda Quispe, Bruno Sebastian" userId="5df213b2-8b23-43f1-8137-24ac80ef972a" providerId="ADAL" clId="{E965C011-1063-4CD3-8CA5-A8D35C5C287B}" dt="2022-08-10T19:20:28.678" v="12657" actId="1076"/>
          <ac:spMkLst>
            <pc:docMk/>
            <pc:sldMk cId="2516794720" sldId="2147470466"/>
            <ac:spMk id="12" creationId="{5B944DED-172A-4302-C23F-B3848BE4BD22}"/>
          </ac:spMkLst>
        </pc:spChg>
        <pc:spChg chg="add mod">
          <ac:chgData name="Miranda Quispe, Bruno Sebastian" userId="5df213b2-8b23-43f1-8137-24ac80ef972a" providerId="ADAL" clId="{E965C011-1063-4CD3-8CA5-A8D35C5C287B}" dt="2022-08-10T19:20:28.678" v="12657" actId="1076"/>
          <ac:spMkLst>
            <pc:docMk/>
            <pc:sldMk cId="2516794720" sldId="2147470466"/>
            <ac:spMk id="13" creationId="{D91D14C6-E4B0-8744-76DB-DF40D7D418AD}"/>
          </ac:spMkLst>
        </pc:spChg>
        <pc:spChg chg="add mod">
          <ac:chgData name="Miranda Quispe, Bruno Sebastian" userId="5df213b2-8b23-43f1-8137-24ac80ef972a" providerId="ADAL" clId="{E965C011-1063-4CD3-8CA5-A8D35C5C287B}" dt="2022-08-10T20:38:43.440" v="13625" actId="120"/>
          <ac:spMkLst>
            <pc:docMk/>
            <pc:sldMk cId="2516794720" sldId="2147470466"/>
            <ac:spMk id="14" creationId="{6C7FBF30-7468-137D-428D-7AB99D2DDEC2}"/>
          </ac:spMkLst>
        </pc:spChg>
        <pc:spChg chg="add mod">
          <ac:chgData name="Miranda Quispe, Bruno Sebastian" userId="5df213b2-8b23-43f1-8137-24ac80ef972a" providerId="ADAL" clId="{E965C011-1063-4CD3-8CA5-A8D35C5C287B}" dt="2022-08-10T20:38:53.413" v="13627" actId="1076"/>
          <ac:spMkLst>
            <pc:docMk/>
            <pc:sldMk cId="2516794720" sldId="2147470466"/>
            <ac:spMk id="15" creationId="{DABDB366-2518-4B4B-60CF-2724BDEA5D95}"/>
          </ac:spMkLst>
        </pc:spChg>
        <pc:spChg chg="add mod">
          <ac:chgData name="Miranda Quispe, Bruno Sebastian" userId="5df213b2-8b23-43f1-8137-24ac80ef972a" providerId="ADAL" clId="{E965C011-1063-4CD3-8CA5-A8D35C5C287B}" dt="2022-08-10T21:02:49.658" v="14516" actId="113"/>
          <ac:spMkLst>
            <pc:docMk/>
            <pc:sldMk cId="2516794720" sldId="2147470466"/>
            <ac:spMk id="18" creationId="{B8C66E6D-F3AF-4B97-C601-F8E9D0B67D55}"/>
          </ac:spMkLst>
        </pc:spChg>
        <pc:spChg chg="add mod">
          <ac:chgData name="Miranda Quispe, Bruno Sebastian" userId="5df213b2-8b23-43f1-8137-24ac80ef972a" providerId="ADAL" clId="{E965C011-1063-4CD3-8CA5-A8D35C5C287B}" dt="2022-08-10T21:02:49.658" v="14516" actId="113"/>
          <ac:spMkLst>
            <pc:docMk/>
            <pc:sldMk cId="2516794720" sldId="2147470466"/>
            <ac:spMk id="20" creationId="{D93B0233-D374-5969-CC95-D6FEE1EFC3C3}"/>
          </ac:spMkLst>
        </pc:spChg>
        <pc:spChg chg="mod">
          <ac:chgData name="Miranda Quispe, Bruno Sebastian" userId="5df213b2-8b23-43f1-8137-24ac80ef972a" providerId="ADAL" clId="{E965C011-1063-4CD3-8CA5-A8D35C5C287B}" dt="2022-08-10T20:49:01.029" v="14231" actId="27803"/>
          <ac:spMkLst>
            <pc:docMk/>
            <pc:sldMk cId="2516794720" sldId="2147470466"/>
            <ac:spMk id="23" creationId="{7F8D9E46-DC12-F38E-AA40-6E7D604AA21A}"/>
          </ac:spMkLst>
        </pc:spChg>
        <pc:spChg chg="mod">
          <ac:chgData name="Miranda Quispe, Bruno Sebastian" userId="5df213b2-8b23-43f1-8137-24ac80ef972a" providerId="ADAL" clId="{E965C011-1063-4CD3-8CA5-A8D35C5C287B}" dt="2022-08-10T20:49:01.029" v="14231" actId="27803"/>
          <ac:spMkLst>
            <pc:docMk/>
            <pc:sldMk cId="2516794720" sldId="2147470466"/>
            <ac:spMk id="24" creationId="{7D7388DE-BEF8-35DE-9369-7DC826C9D293}"/>
          </ac:spMkLst>
        </pc:spChg>
        <pc:spChg chg="mod">
          <ac:chgData name="Miranda Quispe, Bruno Sebastian" userId="5df213b2-8b23-43f1-8137-24ac80ef972a" providerId="ADAL" clId="{E965C011-1063-4CD3-8CA5-A8D35C5C287B}" dt="2022-08-10T20:49:01.029" v="14231" actId="27803"/>
          <ac:spMkLst>
            <pc:docMk/>
            <pc:sldMk cId="2516794720" sldId="2147470466"/>
            <ac:spMk id="25" creationId="{C3918425-4721-F25E-6634-C456A806CB6C}"/>
          </ac:spMkLst>
        </pc:spChg>
        <pc:spChg chg="mod">
          <ac:chgData name="Miranda Quispe, Bruno Sebastian" userId="5df213b2-8b23-43f1-8137-24ac80ef972a" providerId="ADAL" clId="{E965C011-1063-4CD3-8CA5-A8D35C5C287B}" dt="2022-08-10T20:49:01.029" v="14231" actId="27803"/>
          <ac:spMkLst>
            <pc:docMk/>
            <pc:sldMk cId="2516794720" sldId="2147470466"/>
            <ac:spMk id="26" creationId="{7F9F4958-C095-AE29-2DEA-F0EBFC07BCD2}"/>
          </ac:spMkLst>
        </pc:spChg>
        <pc:spChg chg="mod">
          <ac:chgData name="Miranda Quispe, Bruno Sebastian" userId="5df213b2-8b23-43f1-8137-24ac80ef972a" providerId="ADAL" clId="{E965C011-1063-4CD3-8CA5-A8D35C5C287B}" dt="2022-08-10T20:49:01.029" v="14231" actId="27803"/>
          <ac:spMkLst>
            <pc:docMk/>
            <pc:sldMk cId="2516794720" sldId="2147470466"/>
            <ac:spMk id="27" creationId="{1980CA2A-D646-B4F9-B975-F79D4D41F4F7}"/>
          </ac:spMkLst>
        </pc:spChg>
        <pc:spChg chg="mod">
          <ac:chgData name="Miranda Quispe, Bruno Sebastian" userId="5df213b2-8b23-43f1-8137-24ac80ef972a" providerId="ADAL" clId="{E965C011-1063-4CD3-8CA5-A8D35C5C287B}" dt="2022-08-10T20:49:01.029" v="14231" actId="27803"/>
          <ac:spMkLst>
            <pc:docMk/>
            <pc:sldMk cId="2516794720" sldId="2147470466"/>
            <ac:spMk id="28" creationId="{B49AAC04-F2E8-DBF0-29BD-ED17ABBB1325}"/>
          </ac:spMkLst>
        </pc:spChg>
        <pc:spChg chg="mod">
          <ac:chgData name="Miranda Quispe, Bruno Sebastian" userId="5df213b2-8b23-43f1-8137-24ac80ef972a" providerId="ADAL" clId="{E965C011-1063-4CD3-8CA5-A8D35C5C287B}" dt="2022-08-10T20:49:01.029" v="14231" actId="27803"/>
          <ac:spMkLst>
            <pc:docMk/>
            <pc:sldMk cId="2516794720" sldId="2147470466"/>
            <ac:spMk id="29" creationId="{A75DEBA1-CDE0-EE07-AB7F-6201FFCDE857}"/>
          </ac:spMkLst>
        </pc:spChg>
        <pc:spChg chg="add mod">
          <ac:chgData name="Miranda Quispe, Bruno Sebastian" userId="5df213b2-8b23-43f1-8137-24ac80ef972a" providerId="ADAL" clId="{E965C011-1063-4CD3-8CA5-A8D35C5C287B}" dt="2022-08-10T21:02:49.658" v="14516" actId="113"/>
          <ac:spMkLst>
            <pc:docMk/>
            <pc:sldMk cId="2516794720" sldId="2147470466"/>
            <ac:spMk id="30" creationId="{8D2E146B-4241-AE29-B1E1-946073D54511}"/>
          </ac:spMkLst>
        </pc:spChg>
        <pc:spChg chg="add mod">
          <ac:chgData name="Miranda Quispe, Bruno Sebastian" userId="5df213b2-8b23-43f1-8137-24ac80ef972a" providerId="ADAL" clId="{E965C011-1063-4CD3-8CA5-A8D35C5C287B}" dt="2022-08-10T21:02:49.658" v="14516" actId="113"/>
          <ac:spMkLst>
            <pc:docMk/>
            <pc:sldMk cId="2516794720" sldId="2147470466"/>
            <ac:spMk id="32" creationId="{4A07EC33-6443-5FDB-7BBC-325E4A5D9833}"/>
          </ac:spMkLst>
        </pc:spChg>
        <pc:spChg chg="add mod">
          <ac:chgData name="Miranda Quispe, Bruno Sebastian" userId="5df213b2-8b23-43f1-8137-24ac80ef972a" providerId="ADAL" clId="{E965C011-1063-4CD3-8CA5-A8D35C5C287B}" dt="2022-08-10T21:02:49.658" v="14516" actId="113"/>
          <ac:spMkLst>
            <pc:docMk/>
            <pc:sldMk cId="2516794720" sldId="2147470466"/>
            <ac:spMk id="34" creationId="{DF7230E9-940D-16BD-77E1-2A98B0FBDA18}"/>
          </ac:spMkLst>
        </pc:spChg>
        <pc:spChg chg="add mod">
          <ac:chgData name="Miranda Quispe, Bruno Sebastian" userId="5df213b2-8b23-43f1-8137-24ac80ef972a" providerId="ADAL" clId="{E965C011-1063-4CD3-8CA5-A8D35C5C287B}" dt="2022-08-10T21:02:44.527" v="14515" actId="113"/>
          <ac:spMkLst>
            <pc:docMk/>
            <pc:sldMk cId="2516794720" sldId="2147470466"/>
            <ac:spMk id="35" creationId="{B45F2C3B-3077-AD33-0D7E-CAC7714EE038}"/>
          </ac:spMkLst>
        </pc:spChg>
        <pc:spChg chg="add mod">
          <ac:chgData name="Miranda Quispe, Bruno Sebastian" userId="5df213b2-8b23-43f1-8137-24ac80ef972a" providerId="ADAL" clId="{E965C011-1063-4CD3-8CA5-A8D35C5C287B}" dt="2022-08-10T21:02:44.527" v="14515" actId="113"/>
          <ac:spMkLst>
            <pc:docMk/>
            <pc:sldMk cId="2516794720" sldId="2147470466"/>
            <ac:spMk id="36" creationId="{9EF11F4F-65A0-8CEB-8180-F9A514EE1156}"/>
          </ac:spMkLst>
        </pc:spChg>
        <pc:spChg chg="add mod">
          <ac:chgData name="Miranda Quispe, Bruno Sebastian" userId="5df213b2-8b23-43f1-8137-24ac80ef972a" providerId="ADAL" clId="{E965C011-1063-4CD3-8CA5-A8D35C5C287B}" dt="2022-08-10T21:02:44.527" v="14515" actId="113"/>
          <ac:spMkLst>
            <pc:docMk/>
            <pc:sldMk cId="2516794720" sldId="2147470466"/>
            <ac:spMk id="37" creationId="{BA70BCE2-9716-0E1D-A71B-D68AB65AA558}"/>
          </ac:spMkLst>
        </pc:spChg>
        <pc:spChg chg="add mod">
          <ac:chgData name="Miranda Quispe, Bruno Sebastian" userId="5df213b2-8b23-43f1-8137-24ac80ef972a" providerId="ADAL" clId="{E965C011-1063-4CD3-8CA5-A8D35C5C287B}" dt="2022-08-10T21:02:44.527" v="14515" actId="113"/>
          <ac:spMkLst>
            <pc:docMk/>
            <pc:sldMk cId="2516794720" sldId="2147470466"/>
            <ac:spMk id="38" creationId="{714A34B3-C0A6-A9A8-4BDC-4A17E47F7997}"/>
          </ac:spMkLst>
        </pc:spChg>
        <pc:spChg chg="add mod">
          <ac:chgData name="Miranda Quispe, Bruno Sebastian" userId="5df213b2-8b23-43f1-8137-24ac80ef972a" providerId="ADAL" clId="{E965C011-1063-4CD3-8CA5-A8D35C5C287B}" dt="2022-08-10T21:02:44.527" v="14515" actId="113"/>
          <ac:spMkLst>
            <pc:docMk/>
            <pc:sldMk cId="2516794720" sldId="2147470466"/>
            <ac:spMk id="39" creationId="{9E3FF6C8-AD16-EFF2-D39D-9EE4675C9A69}"/>
          </ac:spMkLst>
        </pc:spChg>
        <pc:grpChg chg="add del mod">
          <ac:chgData name="Miranda Quispe, Bruno Sebastian" userId="5df213b2-8b23-43f1-8137-24ac80ef972a" providerId="ADAL" clId="{E965C011-1063-4CD3-8CA5-A8D35C5C287B}" dt="2022-08-10T19:17:00.375" v="12621" actId="478"/>
          <ac:grpSpMkLst>
            <pc:docMk/>
            <pc:sldMk cId="2516794720" sldId="2147470466"/>
            <ac:grpSpMk id="7" creationId="{50AB81BB-E305-4659-0C7A-5CEFC2990D7D}"/>
          </ac:grpSpMkLst>
        </pc:grpChg>
        <pc:grpChg chg="add del mod">
          <ac:chgData name="Miranda Quispe, Bruno Sebastian" userId="5df213b2-8b23-43f1-8137-24ac80ef972a" providerId="ADAL" clId="{E965C011-1063-4CD3-8CA5-A8D35C5C287B}" dt="2022-08-10T20:49:01.029" v="14231" actId="27803"/>
          <ac:grpSpMkLst>
            <pc:docMk/>
            <pc:sldMk cId="2516794720" sldId="2147470466"/>
            <ac:grpSpMk id="22" creationId="{DD9B2ACE-63F4-6C0B-7CC6-FBD51117151F}"/>
          </ac:grpSpMkLst>
        </pc:grpChg>
        <pc:graphicFrameChg chg="add del mod">
          <ac:chgData name="Miranda Quispe, Bruno Sebastian" userId="5df213b2-8b23-43f1-8137-24ac80ef972a" providerId="ADAL" clId="{E965C011-1063-4CD3-8CA5-A8D35C5C287B}" dt="2022-08-10T19:17:02.930" v="12622" actId="478"/>
          <ac:graphicFrameMkLst>
            <pc:docMk/>
            <pc:sldMk cId="2516794720" sldId="2147470466"/>
            <ac:graphicFrameMk id="5" creationId="{0FE21502-A1F9-8D9A-E93A-0B6DC67006D4}"/>
          </ac:graphicFrameMkLst>
        </pc:graphicFrameChg>
        <pc:graphicFrameChg chg="mod">
          <ac:chgData name="Miranda Quispe, Bruno Sebastian" userId="5df213b2-8b23-43f1-8137-24ac80ef972a" providerId="ADAL" clId="{E965C011-1063-4CD3-8CA5-A8D35C5C287B}" dt="2022-08-10T19:16:54.232" v="12620"/>
          <ac:graphicFrameMkLst>
            <pc:docMk/>
            <pc:sldMk cId="2516794720" sldId="2147470466"/>
            <ac:graphicFrameMk id="8" creationId="{2BCD1934-9DDF-83F9-6D49-58D59F996946}"/>
          </ac:graphicFrameMkLst>
        </pc:graphicFrameChg>
        <pc:picChg chg="mod">
          <ac:chgData name="Miranda Quispe, Bruno Sebastian" userId="5df213b2-8b23-43f1-8137-24ac80ef972a" providerId="ADAL" clId="{E965C011-1063-4CD3-8CA5-A8D35C5C287B}" dt="2022-08-10T19:16:54.232" v="12620"/>
          <ac:picMkLst>
            <pc:docMk/>
            <pc:sldMk cId="2516794720" sldId="2147470466"/>
            <ac:picMk id="9" creationId="{AE72CAFC-1ACC-4E26-91A7-78F391B3F7DE}"/>
          </ac:picMkLst>
        </pc:picChg>
        <pc:picChg chg="mod">
          <ac:chgData name="Miranda Quispe, Bruno Sebastian" userId="5df213b2-8b23-43f1-8137-24ac80ef972a" providerId="ADAL" clId="{E965C011-1063-4CD3-8CA5-A8D35C5C287B}" dt="2022-08-10T19:16:54.232" v="12620"/>
          <ac:picMkLst>
            <pc:docMk/>
            <pc:sldMk cId="2516794720" sldId="2147470466"/>
            <ac:picMk id="10" creationId="{80CE238B-E841-DCE0-102E-F0836B331739}"/>
          </ac:picMkLst>
        </pc:picChg>
        <pc:picChg chg="mod">
          <ac:chgData name="Miranda Quispe, Bruno Sebastian" userId="5df213b2-8b23-43f1-8137-24ac80ef972a" providerId="ADAL" clId="{E965C011-1063-4CD3-8CA5-A8D35C5C287B}" dt="2022-08-10T19:16:54.232" v="12620"/>
          <ac:picMkLst>
            <pc:docMk/>
            <pc:sldMk cId="2516794720" sldId="2147470466"/>
            <ac:picMk id="11" creationId="{B36CD76D-EA02-EC92-6033-274FF84BF847}"/>
          </ac:picMkLst>
        </pc:picChg>
        <pc:picChg chg="add mod">
          <ac:chgData name="Miranda Quispe, Bruno Sebastian" userId="5df213b2-8b23-43f1-8137-24ac80ef972a" providerId="ADAL" clId="{E965C011-1063-4CD3-8CA5-A8D35C5C287B}" dt="2022-08-10T21:02:27.650" v="14512" actId="1076"/>
          <ac:picMkLst>
            <pc:docMk/>
            <pc:sldMk cId="2516794720" sldId="2147470466"/>
            <ac:picMk id="17" creationId="{B4FFCD77-E8B9-6397-F828-CBE6D65A5BFC}"/>
          </ac:picMkLst>
        </pc:picChg>
        <pc:picChg chg="add mod">
          <ac:chgData name="Miranda Quispe, Bruno Sebastian" userId="5df213b2-8b23-43f1-8137-24ac80ef972a" providerId="ADAL" clId="{E965C011-1063-4CD3-8CA5-A8D35C5C287B}" dt="2022-08-10T21:02:27.650" v="14512" actId="1076"/>
          <ac:picMkLst>
            <pc:docMk/>
            <pc:sldMk cId="2516794720" sldId="2147470466"/>
            <ac:picMk id="19" creationId="{595B0F9C-55C7-DBEC-CE97-E54028A9FE1D}"/>
          </ac:picMkLst>
        </pc:picChg>
        <pc:picChg chg="add del mod">
          <ac:chgData name="Miranda Quispe, Bruno Sebastian" userId="5df213b2-8b23-43f1-8137-24ac80ef972a" providerId="ADAL" clId="{E965C011-1063-4CD3-8CA5-A8D35C5C287B}" dt="2022-08-10T21:02:27.650" v="14512" actId="1076"/>
          <ac:picMkLst>
            <pc:docMk/>
            <pc:sldMk cId="2516794720" sldId="2147470466"/>
            <ac:picMk id="21" creationId="{929516AA-F9FE-3382-EC9E-7AE5843526E2}"/>
          </ac:picMkLst>
        </pc:picChg>
        <pc:picChg chg="add mod">
          <ac:chgData name="Miranda Quispe, Bruno Sebastian" userId="5df213b2-8b23-43f1-8137-24ac80ef972a" providerId="ADAL" clId="{E965C011-1063-4CD3-8CA5-A8D35C5C287B}" dt="2022-08-10T21:02:27.650" v="14512" actId="1076"/>
          <ac:picMkLst>
            <pc:docMk/>
            <pc:sldMk cId="2516794720" sldId="2147470466"/>
            <ac:picMk id="31" creationId="{CF7E1BE8-F2B0-9554-7A3A-99444A6867F3}"/>
          </ac:picMkLst>
        </pc:picChg>
        <pc:picChg chg="add mod">
          <ac:chgData name="Miranda Quispe, Bruno Sebastian" userId="5df213b2-8b23-43f1-8137-24ac80ef972a" providerId="ADAL" clId="{E965C011-1063-4CD3-8CA5-A8D35C5C287B}" dt="2022-08-10T21:02:27.650" v="14512" actId="1076"/>
          <ac:picMkLst>
            <pc:docMk/>
            <pc:sldMk cId="2516794720" sldId="2147470466"/>
            <ac:picMk id="33" creationId="{973E0F24-9E93-635F-A5D5-52FAA167423F}"/>
          </ac:picMkLst>
        </pc:picChg>
        <pc:picChg chg="add mod">
          <ac:chgData name="Miranda Quispe, Bruno Sebastian" userId="5df213b2-8b23-43f1-8137-24ac80ef972a" providerId="ADAL" clId="{E965C011-1063-4CD3-8CA5-A8D35C5C287B}" dt="2022-08-10T19:20:28.678" v="12657" actId="1076"/>
          <ac:picMkLst>
            <pc:docMk/>
            <pc:sldMk cId="2516794720" sldId="2147470466"/>
            <ac:picMk id="1026" creationId="{30C32E9F-EAB3-7443-8A1C-7912F204EDE8}"/>
          </ac:picMkLst>
        </pc:picChg>
        <pc:picChg chg="add mod">
          <ac:chgData name="Miranda Quispe, Bruno Sebastian" userId="5df213b2-8b23-43f1-8137-24ac80ef972a" providerId="ADAL" clId="{E965C011-1063-4CD3-8CA5-A8D35C5C287B}" dt="2022-08-10T19:20:28.678" v="12657" actId="1076"/>
          <ac:picMkLst>
            <pc:docMk/>
            <pc:sldMk cId="2516794720" sldId="2147470466"/>
            <ac:picMk id="1028" creationId="{140DD81F-2D0F-33AA-B00B-5A1AD68680A4}"/>
          </ac:picMkLst>
        </pc:picChg>
      </pc:sldChg>
      <pc:sldChg chg="addSp delSp modSp new del mod">
        <pc:chgData name="Miranda Quispe, Bruno Sebastian" userId="5df213b2-8b23-43f1-8137-24ac80ef972a" providerId="ADAL" clId="{E965C011-1063-4CD3-8CA5-A8D35C5C287B}" dt="2022-08-10T20:46:33.715" v="14125" actId="2696"/>
        <pc:sldMkLst>
          <pc:docMk/>
          <pc:sldMk cId="2265027409" sldId="2147470467"/>
        </pc:sldMkLst>
        <pc:spChg chg="mod">
          <ac:chgData name="Miranda Quispe, Bruno Sebastian" userId="5df213b2-8b23-43f1-8137-24ac80ef972a" providerId="ADAL" clId="{E965C011-1063-4CD3-8CA5-A8D35C5C287B}" dt="2022-08-10T20:21:17.350" v="13259" actId="20577"/>
          <ac:spMkLst>
            <pc:docMk/>
            <pc:sldMk cId="2265027409" sldId="2147470467"/>
            <ac:spMk id="3" creationId="{259DEA4F-F5F3-B38D-B6C9-6A2D1ED62F26}"/>
          </ac:spMkLst>
        </pc:spChg>
        <pc:spChg chg="del">
          <ac:chgData name="Miranda Quispe, Bruno Sebastian" userId="5df213b2-8b23-43f1-8137-24ac80ef972a" providerId="ADAL" clId="{E965C011-1063-4CD3-8CA5-A8D35C5C287B}" dt="2022-08-10T20:21:40.193" v="13260" actId="478"/>
          <ac:spMkLst>
            <pc:docMk/>
            <pc:sldMk cId="2265027409" sldId="2147470467"/>
            <ac:spMk id="4" creationId="{4D51BBBA-2126-102F-7C37-EFD052BFBADF}"/>
          </ac:spMkLst>
        </pc:spChg>
        <pc:graphicFrameChg chg="add mod modGraphic">
          <ac:chgData name="Miranda Quispe, Bruno Sebastian" userId="5df213b2-8b23-43f1-8137-24ac80ef972a" providerId="ADAL" clId="{E965C011-1063-4CD3-8CA5-A8D35C5C287B}" dt="2022-08-10T20:45:02.567" v="14124"/>
          <ac:graphicFrameMkLst>
            <pc:docMk/>
            <pc:sldMk cId="2265027409" sldId="2147470467"/>
            <ac:graphicFrameMk id="5" creationId="{42625FA8-F271-E02E-674B-05AEACC12177}"/>
          </ac:graphicFrameMkLst>
        </pc:graphicFrameChg>
      </pc:sldChg>
      <pc:sldChg chg="addSp delSp modSp new mod setBg">
        <pc:chgData name="Miranda Quispe, Bruno Sebastian" userId="5df213b2-8b23-43f1-8137-24ac80ef972a" providerId="ADAL" clId="{E965C011-1063-4CD3-8CA5-A8D35C5C287B}" dt="2022-09-15T19:32:38.277" v="34764"/>
        <pc:sldMkLst>
          <pc:docMk/>
          <pc:sldMk cId="3855514415" sldId="2147470467"/>
        </pc:sldMkLst>
        <pc:spChg chg="mod">
          <ac:chgData name="Miranda Quispe, Bruno Sebastian" userId="5df213b2-8b23-43f1-8137-24ac80ef972a" providerId="ADAL" clId="{E965C011-1063-4CD3-8CA5-A8D35C5C287B}" dt="2022-08-15T16:08:32.100" v="15813" actId="1076"/>
          <ac:spMkLst>
            <pc:docMk/>
            <pc:sldMk cId="3855514415" sldId="2147470467"/>
            <ac:spMk id="3" creationId="{2C82129A-8A90-5556-E3C6-11BFFF37C6B9}"/>
          </ac:spMkLst>
        </pc:spChg>
        <pc:spChg chg="add del">
          <ac:chgData name="Miranda Quispe, Bruno Sebastian" userId="5df213b2-8b23-43f1-8137-24ac80ef972a" providerId="ADAL" clId="{E965C011-1063-4CD3-8CA5-A8D35C5C287B}" dt="2022-09-05T16:11:35.546" v="22610" actId="22"/>
          <ac:spMkLst>
            <pc:docMk/>
            <pc:sldMk cId="3855514415" sldId="2147470467"/>
            <ac:spMk id="6" creationId="{0E47A4E4-71C1-7B2A-D17C-4AB42DEFFF52}"/>
          </ac:spMkLst>
        </pc:spChg>
        <pc:spChg chg="add mod">
          <ac:chgData name="Miranda Quispe, Bruno Sebastian" userId="5df213b2-8b23-43f1-8137-24ac80ef972a" providerId="ADAL" clId="{E965C011-1063-4CD3-8CA5-A8D35C5C287B}" dt="2022-09-05T16:11:51.723" v="22614" actId="1076"/>
          <ac:spMkLst>
            <pc:docMk/>
            <pc:sldMk cId="3855514415" sldId="2147470467"/>
            <ac:spMk id="8" creationId="{7781F1CE-2B85-F854-170A-3B1C6408CC27}"/>
          </ac:spMkLst>
        </pc:spChg>
        <pc:spChg chg="add mod">
          <ac:chgData name="Miranda Quispe, Bruno Sebastian" userId="5df213b2-8b23-43f1-8137-24ac80ef972a" providerId="ADAL" clId="{E965C011-1063-4CD3-8CA5-A8D35C5C287B}" dt="2022-09-01T16:13:39.153" v="20350" actId="20577"/>
          <ac:spMkLst>
            <pc:docMk/>
            <pc:sldMk cId="3855514415" sldId="2147470467"/>
            <ac:spMk id="11" creationId="{1694006C-8228-5D0B-DAF7-11B8D13204A4}"/>
          </ac:spMkLst>
        </pc:spChg>
        <pc:spChg chg="add mod">
          <ac:chgData name="Miranda Quispe, Bruno Sebastian" userId="5df213b2-8b23-43f1-8137-24ac80ef972a" providerId="ADAL" clId="{E965C011-1063-4CD3-8CA5-A8D35C5C287B}" dt="2022-09-01T16:14:08.587" v="20371" actId="20577"/>
          <ac:spMkLst>
            <pc:docMk/>
            <pc:sldMk cId="3855514415" sldId="2147470467"/>
            <ac:spMk id="13" creationId="{3C8AFF83-6863-92C3-9533-48D034E95142}"/>
          </ac:spMkLst>
        </pc:spChg>
        <pc:spChg chg="add mod">
          <ac:chgData name="Miranda Quispe, Bruno Sebastian" userId="5df213b2-8b23-43f1-8137-24ac80ef972a" providerId="ADAL" clId="{E965C011-1063-4CD3-8CA5-A8D35C5C287B}" dt="2022-08-15T16:13:36.331" v="15929" actId="1076"/>
          <ac:spMkLst>
            <pc:docMk/>
            <pc:sldMk cId="3855514415" sldId="2147470467"/>
            <ac:spMk id="14" creationId="{F45955B9-ED9C-9A95-3C5E-076F11A38707}"/>
          </ac:spMkLst>
        </pc:spChg>
        <pc:spChg chg="add mod">
          <ac:chgData name="Miranda Quispe, Bruno Sebastian" userId="5df213b2-8b23-43f1-8137-24ac80ef972a" providerId="ADAL" clId="{E965C011-1063-4CD3-8CA5-A8D35C5C287B}" dt="2022-08-15T16:13:50.678" v="15933" actId="1076"/>
          <ac:spMkLst>
            <pc:docMk/>
            <pc:sldMk cId="3855514415" sldId="2147470467"/>
            <ac:spMk id="15" creationId="{229322EB-D6F4-49D7-A3F5-6F210A861A63}"/>
          </ac:spMkLst>
        </pc:spChg>
        <pc:spChg chg="add mod">
          <ac:chgData name="Miranda Quispe, Bruno Sebastian" userId="5df213b2-8b23-43f1-8137-24ac80ef972a" providerId="ADAL" clId="{E965C011-1063-4CD3-8CA5-A8D35C5C287B}" dt="2022-09-05T16:13:08.464" v="22639" actId="20577"/>
          <ac:spMkLst>
            <pc:docMk/>
            <pc:sldMk cId="3855514415" sldId="2147470467"/>
            <ac:spMk id="17" creationId="{751C1BCA-B9B2-0428-2D1A-460DD9D038F1}"/>
          </ac:spMkLst>
        </pc:spChg>
        <pc:spChg chg="add mod">
          <ac:chgData name="Miranda Quispe, Bruno Sebastian" userId="5df213b2-8b23-43f1-8137-24ac80ef972a" providerId="ADAL" clId="{E965C011-1063-4CD3-8CA5-A8D35C5C287B}" dt="2022-09-05T15:22:04.366" v="20503" actId="20577"/>
          <ac:spMkLst>
            <pc:docMk/>
            <pc:sldMk cId="3855514415" sldId="2147470467"/>
            <ac:spMk id="18" creationId="{A0332872-16A3-B130-CE53-F443640E2F20}"/>
          </ac:spMkLst>
        </pc:spChg>
        <pc:graphicFrameChg chg="add del mod modGraphic">
          <ac:chgData name="Miranda Quispe, Bruno Sebastian" userId="5df213b2-8b23-43f1-8137-24ac80ef972a" providerId="ADAL" clId="{E965C011-1063-4CD3-8CA5-A8D35C5C287B}" dt="2022-08-15T15:38:35.074" v="15723" actId="478"/>
          <ac:graphicFrameMkLst>
            <pc:docMk/>
            <pc:sldMk cId="3855514415" sldId="2147470467"/>
            <ac:graphicFrameMk id="4" creationId="{65F90B52-0D95-2EFD-E7CD-0E37442493E2}"/>
          </ac:graphicFrameMkLst>
        </pc:graphicFrameChg>
        <pc:graphicFrameChg chg="add del mod">
          <ac:chgData name="Miranda Quispe, Bruno Sebastian" userId="5df213b2-8b23-43f1-8137-24ac80ef972a" providerId="ADAL" clId="{E965C011-1063-4CD3-8CA5-A8D35C5C287B}" dt="2022-08-29T21:27:44.984" v="20180"/>
          <ac:graphicFrameMkLst>
            <pc:docMk/>
            <pc:sldMk cId="3855514415" sldId="2147470467"/>
            <ac:graphicFrameMk id="4" creationId="{E20873A2-8707-FAEF-8E50-E20F358479B4}"/>
          </ac:graphicFrameMkLst>
        </pc:graphicFrameChg>
        <pc:graphicFrameChg chg="del">
          <ac:chgData name="Miranda Quispe, Bruno Sebastian" userId="5df213b2-8b23-43f1-8137-24ac80ef972a" providerId="ADAL" clId="{E965C011-1063-4CD3-8CA5-A8D35C5C287B}" dt="2022-08-15T15:42:21.039" v="15727" actId="478"/>
          <ac:graphicFrameMkLst>
            <pc:docMk/>
            <pc:sldMk cId="3855514415" sldId="2147470467"/>
            <ac:graphicFrameMk id="5" creationId="{302FB9A5-D270-068D-804F-277F1FE8C3C4}"/>
          </ac:graphicFrameMkLst>
        </pc:graphicFrameChg>
        <pc:graphicFrameChg chg="add mod">
          <ac:chgData name="Miranda Quispe, Bruno Sebastian" userId="5df213b2-8b23-43f1-8137-24ac80ef972a" providerId="ADAL" clId="{E965C011-1063-4CD3-8CA5-A8D35C5C287B}" dt="2022-09-15T19:32:38.277" v="34764"/>
          <ac:graphicFrameMkLst>
            <pc:docMk/>
            <pc:sldMk cId="3855514415" sldId="2147470467"/>
            <ac:graphicFrameMk id="5" creationId="{9153655C-FF46-7ED3-4CFD-2695B1E1962A}"/>
          </ac:graphicFrameMkLst>
        </pc:graphicFrameChg>
        <pc:graphicFrameChg chg="add del mod">
          <ac:chgData name="Miranda Quispe, Bruno Sebastian" userId="5df213b2-8b23-43f1-8137-24ac80ef972a" providerId="ADAL" clId="{E965C011-1063-4CD3-8CA5-A8D35C5C287B}" dt="2022-08-29T21:31:05.212" v="20186" actId="478"/>
          <ac:graphicFrameMkLst>
            <pc:docMk/>
            <pc:sldMk cId="3855514415" sldId="2147470467"/>
            <ac:graphicFrameMk id="5" creationId="{B949722F-45CC-C781-6062-F58B18219A23}"/>
          </ac:graphicFrameMkLst>
        </pc:graphicFrameChg>
        <pc:graphicFrameChg chg="add del mod modGraphic">
          <ac:chgData name="Miranda Quispe, Bruno Sebastian" userId="5df213b2-8b23-43f1-8137-24ac80ef972a" providerId="ADAL" clId="{E965C011-1063-4CD3-8CA5-A8D35C5C287B}" dt="2022-09-01T16:12:25.599" v="20306" actId="478"/>
          <ac:graphicFrameMkLst>
            <pc:docMk/>
            <pc:sldMk cId="3855514415" sldId="2147470467"/>
            <ac:graphicFrameMk id="6" creationId="{D486E1D1-6B4E-4A2F-A107-E2F14225C50E}"/>
          </ac:graphicFrameMkLst>
        </pc:graphicFrameChg>
        <pc:graphicFrameChg chg="add del mod">
          <ac:chgData name="Miranda Quispe, Bruno Sebastian" userId="5df213b2-8b23-43f1-8137-24ac80ef972a" providerId="ADAL" clId="{E965C011-1063-4CD3-8CA5-A8D35C5C287B}" dt="2022-08-29T21:31:07.493" v="20187" actId="478"/>
          <ac:graphicFrameMkLst>
            <pc:docMk/>
            <pc:sldMk cId="3855514415" sldId="2147470467"/>
            <ac:graphicFrameMk id="7" creationId="{69EC59C4-5CB6-467A-85CD-2FA38F4097CF}"/>
          </ac:graphicFrameMkLst>
        </pc:graphicFrameChg>
        <pc:graphicFrameChg chg="del">
          <ac:chgData name="Miranda Quispe, Bruno Sebastian" userId="5df213b2-8b23-43f1-8137-24ac80ef972a" providerId="ADAL" clId="{E965C011-1063-4CD3-8CA5-A8D35C5C287B}" dt="2022-08-15T15:42:18.114" v="15726" actId="478"/>
          <ac:graphicFrameMkLst>
            <pc:docMk/>
            <pc:sldMk cId="3855514415" sldId="2147470467"/>
            <ac:graphicFrameMk id="7" creationId="{9A62450C-8F06-E2AE-BEB9-50DB88A0DC9A}"/>
          </ac:graphicFrameMkLst>
        </pc:graphicFrameChg>
        <pc:graphicFrameChg chg="add del mod modGraphic">
          <ac:chgData name="Miranda Quispe, Bruno Sebastian" userId="5df213b2-8b23-43f1-8137-24ac80ef972a" providerId="ADAL" clId="{E965C011-1063-4CD3-8CA5-A8D35C5C287B}" dt="2022-09-01T16:12:26.602" v="20307" actId="478"/>
          <ac:graphicFrameMkLst>
            <pc:docMk/>
            <pc:sldMk cId="3855514415" sldId="2147470467"/>
            <ac:graphicFrameMk id="8" creationId="{339CF51B-1697-8FF8-DF0D-BB108A5022F3}"/>
          </ac:graphicFrameMkLst>
        </pc:graphicFrameChg>
        <pc:graphicFrameChg chg="add mod">
          <ac:chgData name="Miranda Quispe, Bruno Sebastian" userId="5df213b2-8b23-43f1-8137-24ac80ef972a" providerId="ADAL" clId="{E965C011-1063-4CD3-8CA5-A8D35C5C287B}" dt="2022-09-15T19:32:22.427" v="34762"/>
          <ac:graphicFrameMkLst>
            <pc:docMk/>
            <pc:sldMk cId="3855514415" sldId="2147470467"/>
            <ac:graphicFrameMk id="9" creationId="{6A1D88A8-013B-0BDC-1CE5-57E0F22F5BB8}"/>
          </ac:graphicFrameMkLst>
        </pc:graphicFrameChg>
        <pc:cxnChg chg="add del">
          <ac:chgData name="Miranda Quispe, Bruno Sebastian" userId="5df213b2-8b23-43f1-8137-24ac80ef972a" providerId="ADAL" clId="{E965C011-1063-4CD3-8CA5-A8D35C5C287B}" dt="2022-08-15T16:09:23.182" v="15820" actId="11529"/>
          <ac:cxnSpMkLst>
            <pc:docMk/>
            <pc:sldMk cId="3855514415" sldId="2147470467"/>
            <ac:cxnSpMk id="10" creationId="{6B04E0FE-A7E9-6B0C-F726-6E89BB8922CA}"/>
          </ac:cxnSpMkLst>
        </pc:cxnChg>
      </pc:sldChg>
      <pc:sldChg chg="modSp new del mod">
        <pc:chgData name="Miranda Quispe, Bruno Sebastian" userId="5df213b2-8b23-43f1-8137-24ac80ef972a" providerId="ADAL" clId="{E965C011-1063-4CD3-8CA5-A8D35C5C287B}" dt="2022-08-11T15:32:31.754" v="14915" actId="2696"/>
        <pc:sldMkLst>
          <pc:docMk/>
          <pc:sldMk cId="99681443" sldId="2147470468"/>
        </pc:sldMkLst>
        <pc:spChg chg="mod">
          <ac:chgData name="Miranda Quispe, Bruno Sebastian" userId="5df213b2-8b23-43f1-8137-24ac80ef972a" providerId="ADAL" clId="{E965C011-1063-4CD3-8CA5-A8D35C5C287B}" dt="2022-08-11T15:11:12.487" v="14914" actId="20577"/>
          <ac:spMkLst>
            <pc:docMk/>
            <pc:sldMk cId="99681443" sldId="2147470468"/>
            <ac:spMk id="4" creationId="{06D13A91-C523-E8D8-7493-855C42CA2F5D}"/>
          </ac:spMkLst>
        </pc:spChg>
      </pc:sldChg>
      <pc:sldChg chg="addSp delSp modSp mod">
        <pc:chgData name="Miranda Quispe, Bruno Sebastian" userId="5df213b2-8b23-43f1-8137-24ac80ef972a" providerId="ADAL" clId="{E965C011-1063-4CD3-8CA5-A8D35C5C287B}" dt="2022-08-15T21:54:37.635" v="16292" actId="1076"/>
        <pc:sldMkLst>
          <pc:docMk/>
          <pc:sldMk cId="3955624174" sldId="2147470470"/>
        </pc:sldMkLst>
        <pc:spChg chg="del">
          <ac:chgData name="Miranda Quispe, Bruno Sebastian" userId="5df213b2-8b23-43f1-8137-24ac80ef972a" providerId="ADAL" clId="{E965C011-1063-4CD3-8CA5-A8D35C5C287B}" dt="2022-08-15T16:24:07.782" v="16278" actId="478"/>
          <ac:spMkLst>
            <pc:docMk/>
            <pc:sldMk cId="3955624174" sldId="2147470470"/>
            <ac:spMk id="4" creationId="{0AB967D7-6BF6-0FF0-4585-E941ECA87EF9}"/>
          </ac:spMkLst>
        </pc:spChg>
        <pc:picChg chg="add mod">
          <ac:chgData name="Miranda Quispe, Bruno Sebastian" userId="5df213b2-8b23-43f1-8137-24ac80ef972a" providerId="ADAL" clId="{E965C011-1063-4CD3-8CA5-A8D35C5C287B}" dt="2022-08-15T21:54:37.635" v="16292" actId="1076"/>
          <ac:picMkLst>
            <pc:docMk/>
            <pc:sldMk cId="3955624174" sldId="2147470470"/>
            <ac:picMk id="6" creationId="{CBD0B678-E360-8E90-8A6F-C06464D36D88}"/>
          </ac:picMkLst>
        </pc:picChg>
      </pc:sldChg>
      <pc:sldChg chg="addSp delSp modSp new mod">
        <pc:chgData name="Miranda Quispe, Bruno Sebastian" userId="5df213b2-8b23-43f1-8137-24ac80ef972a" providerId="ADAL" clId="{E965C011-1063-4CD3-8CA5-A8D35C5C287B}" dt="2022-08-29T21:19:52.411" v="20173" actId="20577"/>
        <pc:sldMkLst>
          <pc:docMk/>
          <pc:sldMk cId="2477853166" sldId="2147470471"/>
        </pc:sldMkLst>
        <pc:spChg chg="mod">
          <ac:chgData name="Miranda Quispe, Bruno Sebastian" userId="5df213b2-8b23-43f1-8137-24ac80ef972a" providerId="ADAL" clId="{E965C011-1063-4CD3-8CA5-A8D35C5C287B}" dt="2022-08-29T15:20:25.313" v="16390" actId="20577"/>
          <ac:spMkLst>
            <pc:docMk/>
            <pc:sldMk cId="2477853166" sldId="2147470471"/>
            <ac:spMk id="3" creationId="{C405F820-3144-FD67-24DB-59C730D06808}"/>
          </ac:spMkLst>
        </pc:spChg>
        <pc:spChg chg="add mod">
          <ac:chgData name="Miranda Quispe, Bruno Sebastian" userId="5df213b2-8b23-43f1-8137-24ac80ef972a" providerId="ADAL" clId="{E965C011-1063-4CD3-8CA5-A8D35C5C287B}" dt="2022-08-29T21:17:15.148" v="19747" actId="1076"/>
          <ac:spMkLst>
            <pc:docMk/>
            <pc:sldMk cId="2477853166" sldId="2147470471"/>
            <ac:spMk id="4" creationId="{34082B69-7EEB-7FC9-487C-3C6F4757BA2C}"/>
          </ac:spMkLst>
        </pc:spChg>
        <pc:spChg chg="del">
          <ac:chgData name="Miranda Quispe, Bruno Sebastian" userId="5df213b2-8b23-43f1-8137-24ac80ef972a" providerId="ADAL" clId="{E965C011-1063-4CD3-8CA5-A8D35C5C287B}" dt="2022-08-29T15:20:43.077" v="16391" actId="478"/>
          <ac:spMkLst>
            <pc:docMk/>
            <pc:sldMk cId="2477853166" sldId="2147470471"/>
            <ac:spMk id="4" creationId="{D9FAC61F-97F4-F493-1D3F-779F9B98F96C}"/>
          </ac:spMkLst>
        </pc:spChg>
        <pc:spChg chg="add mod">
          <ac:chgData name="Miranda Quispe, Bruno Sebastian" userId="5df213b2-8b23-43f1-8137-24ac80ef972a" providerId="ADAL" clId="{E965C011-1063-4CD3-8CA5-A8D35C5C287B}" dt="2022-08-29T21:17:15.148" v="19747" actId="1076"/>
          <ac:spMkLst>
            <pc:docMk/>
            <pc:sldMk cId="2477853166" sldId="2147470471"/>
            <ac:spMk id="5" creationId="{BB3E1C50-5FE6-9EF6-B348-28DAF13F4694}"/>
          </ac:spMkLst>
        </pc:spChg>
        <pc:spChg chg="add mod">
          <ac:chgData name="Miranda Quispe, Bruno Sebastian" userId="5df213b2-8b23-43f1-8137-24ac80ef972a" providerId="ADAL" clId="{E965C011-1063-4CD3-8CA5-A8D35C5C287B}" dt="2022-08-29T21:17:15.148" v="19747" actId="1076"/>
          <ac:spMkLst>
            <pc:docMk/>
            <pc:sldMk cId="2477853166" sldId="2147470471"/>
            <ac:spMk id="6" creationId="{2BDDE2E5-BBEF-C157-BF64-44D534857F12}"/>
          </ac:spMkLst>
        </pc:spChg>
        <pc:spChg chg="add mod">
          <ac:chgData name="Miranda Quispe, Bruno Sebastian" userId="5df213b2-8b23-43f1-8137-24ac80ef972a" providerId="ADAL" clId="{E965C011-1063-4CD3-8CA5-A8D35C5C287B}" dt="2022-08-29T21:17:15.148" v="19747" actId="1076"/>
          <ac:spMkLst>
            <pc:docMk/>
            <pc:sldMk cId="2477853166" sldId="2147470471"/>
            <ac:spMk id="7" creationId="{7FC6F655-BDDB-0B24-6F0D-DE419D9E5B28}"/>
          </ac:spMkLst>
        </pc:spChg>
        <pc:spChg chg="add del mod">
          <ac:chgData name="Miranda Quispe, Bruno Sebastian" userId="5df213b2-8b23-43f1-8137-24ac80ef972a" providerId="ADAL" clId="{E965C011-1063-4CD3-8CA5-A8D35C5C287B}" dt="2022-08-29T21:10:45.317" v="19039" actId="478"/>
          <ac:spMkLst>
            <pc:docMk/>
            <pc:sldMk cId="2477853166" sldId="2147470471"/>
            <ac:spMk id="8" creationId="{E22D2391-2EBE-6B44-C2E7-20918AC62415}"/>
          </ac:spMkLst>
        </pc:spChg>
        <pc:spChg chg="add mod">
          <ac:chgData name="Miranda Quispe, Bruno Sebastian" userId="5df213b2-8b23-43f1-8137-24ac80ef972a" providerId="ADAL" clId="{E965C011-1063-4CD3-8CA5-A8D35C5C287B}" dt="2022-08-29T21:17:15.148" v="19747" actId="1076"/>
          <ac:spMkLst>
            <pc:docMk/>
            <pc:sldMk cId="2477853166" sldId="2147470471"/>
            <ac:spMk id="9" creationId="{CAC0CF31-2DAD-D944-22C9-208E97849F42}"/>
          </ac:spMkLst>
        </pc:spChg>
        <pc:spChg chg="add mod">
          <ac:chgData name="Miranda Quispe, Bruno Sebastian" userId="5df213b2-8b23-43f1-8137-24ac80ef972a" providerId="ADAL" clId="{E965C011-1063-4CD3-8CA5-A8D35C5C287B}" dt="2022-08-29T21:17:15.148" v="19747" actId="1076"/>
          <ac:spMkLst>
            <pc:docMk/>
            <pc:sldMk cId="2477853166" sldId="2147470471"/>
            <ac:spMk id="10" creationId="{08A92A62-1A53-5AB0-FB8C-1D5E88B18A91}"/>
          </ac:spMkLst>
        </pc:spChg>
        <pc:spChg chg="add del mod">
          <ac:chgData name="Miranda Quispe, Bruno Sebastian" userId="5df213b2-8b23-43f1-8137-24ac80ef972a" providerId="ADAL" clId="{E965C011-1063-4CD3-8CA5-A8D35C5C287B}" dt="2022-08-29T21:11:10.465" v="19046" actId="478"/>
          <ac:spMkLst>
            <pc:docMk/>
            <pc:sldMk cId="2477853166" sldId="2147470471"/>
            <ac:spMk id="11" creationId="{1A383ABC-DE61-8518-EC24-AC77C5AEA6FA}"/>
          </ac:spMkLst>
        </pc:spChg>
        <pc:spChg chg="add del mod">
          <ac:chgData name="Miranda Quispe, Bruno Sebastian" userId="5df213b2-8b23-43f1-8137-24ac80ef972a" providerId="ADAL" clId="{E965C011-1063-4CD3-8CA5-A8D35C5C287B}" dt="2022-08-29T21:10:51.165" v="19041" actId="478"/>
          <ac:spMkLst>
            <pc:docMk/>
            <pc:sldMk cId="2477853166" sldId="2147470471"/>
            <ac:spMk id="12" creationId="{AF63755A-C6CE-83AD-FF1E-18DD0BF2D7C2}"/>
          </ac:spMkLst>
        </pc:spChg>
        <pc:spChg chg="add del mod">
          <ac:chgData name="Miranda Quispe, Bruno Sebastian" userId="5df213b2-8b23-43f1-8137-24ac80ef972a" providerId="ADAL" clId="{E965C011-1063-4CD3-8CA5-A8D35C5C287B}" dt="2022-08-29T21:10:55.173" v="19043" actId="478"/>
          <ac:spMkLst>
            <pc:docMk/>
            <pc:sldMk cId="2477853166" sldId="2147470471"/>
            <ac:spMk id="13" creationId="{CFD441DA-CB62-FD1C-6D16-21982C4AFC67}"/>
          </ac:spMkLst>
        </pc:spChg>
        <pc:spChg chg="add mod">
          <ac:chgData name="Miranda Quispe, Bruno Sebastian" userId="5df213b2-8b23-43f1-8137-24ac80ef972a" providerId="ADAL" clId="{E965C011-1063-4CD3-8CA5-A8D35C5C287B}" dt="2022-08-29T21:17:15.148" v="19747" actId="1076"/>
          <ac:spMkLst>
            <pc:docMk/>
            <pc:sldMk cId="2477853166" sldId="2147470471"/>
            <ac:spMk id="14" creationId="{00874B78-B708-82A7-49E1-29FC79D99E72}"/>
          </ac:spMkLst>
        </pc:spChg>
        <pc:spChg chg="add mod">
          <ac:chgData name="Miranda Quispe, Bruno Sebastian" userId="5df213b2-8b23-43f1-8137-24ac80ef972a" providerId="ADAL" clId="{E965C011-1063-4CD3-8CA5-A8D35C5C287B}" dt="2022-08-29T21:17:15.148" v="19747" actId="1076"/>
          <ac:spMkLst>
            <pc:docMk/>
            <pc:sldMk cId="2477853166" sldId="2147470471"/>
            <ac:spMk id="15" creationId="{5F9BA3D1-F1BD-3598-6C8E-BB9E7055D592}"/>
          </ac:spMkLst>
        </pc:spChg>
        <pc:spChg chg="add mod">
          <ac:chgData name="Miranda Quispe, Bruno Sebastian" userId="5df213b2-8b23-43f1-8137-24ac80ef972a" providerId="ADAL" clId="{E965C011-1063-4CD3-8CA5-A8D35C5C287B}" dt="2022-08-29T21:17:15.148" v="19747" actId="1076"/>
          <ac:spMkLst>
            <pc:docMk/>
            <pc:sldMk cId="2477853166" sldId="2147470471"/>
            <ac:spMk id="16" creationId="{16BC25AB-97AD-7FAB-EAB9-7B7596CFF5F3}"/>
          </ac:spMkLst>
        </pc:spChg>
        <pc:spChg chg="add mod">
          <ac:chgData name="Miranda Quispe, Bruno Sebastian" userId="5df213b2-8b23-43f1-8137-24ac80ef972a" providerId="ADAL" clId="{E965C011-1063-4CD3-8CA5-A8D35C5C287B}" dt="2022-08-29T21:17:15.148" v="19747" actId="1076"/>
          <ac:spMkLst>
            <pc:docMk/>
            <pc:sldMk cId="2477853166" sldId="2147470471"/>
            <ac:spMk id="17" creationId="{F646683A-51FB-1BED-E77D-F99ADFF44DCA}"/>
          </ac:spMkLst>
        </pc:spChg>
        <pc:spChg chg="add mod">
          <ac:chgData name="Miranda Quispe, Bruno Sebastian" userId="5df213b2-8b23-43f1-8137-24ac80ef972a" providerId="ADAL" clId="{E965C011-1063-4CD3-8CA5-A8D35C5C287B}" dt="2022-08-29T21:17:15.148" v="19747" actId="1076"/>
          <ac:spMkLst>
            <pc:docMk/>
            <pc:sldMk cId="2477853166" sldId="2147470471"/>
            <ac:spMk id="18" creationId="{BA110402-4B3E-F962-2885-DAE47EB07701}"/>
          </ac:spMkLst>
        </pc:spChg>
        <pc:spChg chg="add mod">
          <ac:chgData name="Miranda Quispe, Bruno Sebastian" userId="5df213b2-8b23-43f1-8137-24ac80ef972a" providerId="ADAL" clId="{E965C011-1063-4CD3-8CA5-A8D35C5C287B}" dt="2022-08-29T21:17:15.148" v="19747" actId="1076"/>
          <ac:spMkLst>
            <pc:docMk/>
            <pc:sldMk cId="2477853166" sldId="2147470471"/>
            <ac:spMk id="19" creationId="{0E02C5C6-BAC2-EA25-74AC-44BEF736B27F}"/>
          </ac:spMkLst>
        </pc:spChg>
        <pc:spChg chg="add mod">
          <ac:chgData name="Miranda Quispe, Bruno Sebastian" userId="5df213b2-8b23-43f1-8137-24ac80ef972a" providerId="ADAL" clId="{E965C011-1063-4CD3-8CA5-A8D35C5C287B}" dt="2022-08-29T21:19:52.411" v="20173" actId="20577"/>
          <ac:spMkLst>
            <pc:docMk/>
            <pc:sldMk cId="2477853166" sldId="2147470471"/>
            <ac:spMk id="20" creationId="{8787D3C2-C572-7EB3-2DF3-C4A81EC28C95}"/>
          </ac:spMkLst>
        </pc:spChg>
        <pc:spChg chg="add mod">
          <ac:chgData name="Miranda Quispe, Bruno Sebastian" userId="5df213b2-8b23-43f1-8137-24ac80ef972a" providerId="ADAL" clId="{E965C011-1063-4CD3-8CA5-A8D35C5C287B}" dt="2022-08-29T21:17:38.689" v="19773" actId="113"/>
          <ac:spMkLst>
            <pc:docMk/>
            <pc:sldMk cId="2477853166" sldId="2147470471"/>
            <ac:spMk id="21" creationId="{04E3B0F6-CF55-C794-F13A-CF95CC8809DC}"/>
          </ac:spMkLst>
        </pc:spChg>
        <pc:spChg chg="add del mod">
          <ac:chgData name="Miranda Quispe, Bruno Sebastian" userId="5df213b2-8b23-43f1-8137-24ac80ef972a" providerId="ADAL" clId="{E965C011-1063-4CD3-8CA5-A8D35C5C287B}" dt="2022-08-29T21:17:46.471" v="19775" actId="478"/>
          <ac:spMkLst>
            <pc:docMk/>
            <pc:sldMk cId="2477853166" sldId="2147470471"/>
            <ac:spMk id="22" creationId="{5FD93834-816E-AFDE-7902-0C72190772AE}"/>
          </ac:spMkLst>
        </pc:spChg>
      </pc:sldChg>
      <pc:sldChg chg="addSp delSp modSp new mod setBg modClrScheme chgLayout">
        <pc:chgData name="Miranda Quispe, Bruno Sebastian" userId="5df213b2-8b23-43f1-8137-24ac80ef972a" providerId="ADAL" clId="{E965C011-1063-4CD3-8CA5-A8D35C5C287B}" dt="2022-08-29T16:06:15.625" v="17026"/>
        <pc:sldMkLst>
          <pc:docMk/>
          <pc:sldMk cId="339240525" sldId="2147470472"/>
        </pc:sldMkLst>
        <pc:spChg chg="del mod ord">
          <ac:chgData name="Miranda Quispe, Bruno Sebastian" userId="5df213b2-8b23-43f1-8137-24ac80ef972a" providerId="ADAL" clId="{E965C011-1063-4CD3-8CA5-A8D35C5C287B}" dt="2022-08-29T15:24:56.492" v="16393" actId="700"/>
          <ac:spMkLst>
            <pc:docMk/>
            <pc:sldMk cId="339240525" sldId="2147470472"/>
            <ac:spMk id="2" creationId="{B9B3D579-22EE-14C0-69B1-7F3E8B8CA859}"/>
          </ac:spMkLst>
        </pc:spChg>
        <pc:spChg chg="del mod ord">
          <ac:chgData name="Miranda Quispe, Bruno Sebastian" userId="5df213b2-8b23-43f1-8137-24ac80ef972a" providerId="ADAL" clId="{E965C011-1063-4CD3-8CA5-A8D35C5C287B}" dt="2022-08-29T15:24:56.492" v="16393" actId="700"/>
          <ac:spMkLst>
            <pc:docMk/>
            <pc:sldMk cId="339240525" sldId="2147470472"/>
            <ac:spMk id="3" creationId="{6649AA70-3922-AED4-B19A-5DBC92A899C2}"/>
          </ac:spMkLst>
        </pc:spChg>
        <pc:spChg chg="add mod ord">
          <ac:chgData name="Miranda Quispe, Bruno Sebastian" userId="5df213b2-8b23-43f1-8137-24ac80ef972a" providerId="ADAL" clId="{E965C011-1063-4CD3-8CA5-A8D35C5C287B}" dt="2022-08-29T15:47:11.645" v="16749" actId="1076"/>
          <ac:spMkLst>
            <pc:docMk/>
            <pc:sldMk cId="339240525" sldId="2147470472"/>
            <ac:spMk id="4" creationId="{A787CBCF-61E6-BFAF-72A3-670132A4089F}"/>
          </ac:spMkLst>
        </pc:spChg>
        <pc:spChg chg="add mod ord">
          <ac:chgData name="Miranda Quispe, Bruno Sebastian" userId="5df213b2-8b23-43f1-8137-24ac80ef972a" providerId="ADAL" clId="{E965C011-1063-4CD3-8CA5-A8D35C5C287B}" dt="2022-08-29T15:29:37.168" v="16603" actId="20577"/>
          <ac:spMkLst>
            <pc:docMk/>
            <pc:sldMk cId="339240525" sldId="2147470472"/>
            <ac:spMk id="5" creationId="{C8577706-F1FB-7638-78EE-4C8DAFBB5564}"/>
          </ac:spMkLst>
        </pc:spChg>
        <pc:picChg chg="add mod">
          <ac:chgData name="Miranda Quispe, Bruno Sebastian" userId="5df213b2-8b23-43f1-8137-24ac80ef972a" providerId="ADAL" clId="{E965C011-1063-4CD3-8CA5-A8D35C5C287B}" dt="2022-08-29T15:45:15.665" v="16649" actId="1076"/>
          <ac:picMkLst>
            <pc:docMk/>
            <pc:sldMk cId="339240525" sldId="2147470472"/>
            <ac:picMk id="1026" creationId="{C58834AB-5D0C-A187-8D2F-2E1FFCE13728}"/>
          </ac:picMkLst>
        </pc:picChg>
      </pc:sldChg>
      <pc:sldChg chg="addSp delSp modSp add mod">
        <pc:chgData name="Miranda Quispe, Bruno Sebastian" userId="5df213b2-8b23-43f1-8137-24ac80ef972a" providerId="ADAL" clId="{E965C011-1063-4CD3-8CA5-A8D35C5C287B}" dt="2022-08-29T17:24:41.197" v="17590" actId="14826"/>
        <pc:sldMkLst>
          <pc:docMk/>
          <pc:sldMk cId="3354214248" sldId="2147470473"/>
        </pc:sldMkLst>
        <pc:spChg chg="add del mod">
          <ac:chgData name="Miranda Quispe, Bruno Sebastian" userId="5df213b2-8b23-43f1-8137-24ac80ef972a" providerId="ADAL" clId="{E965C011-1063-4CD3-8CA5-A8D35C5C287B}" dt="2022-08-29T17:24:08.363" v="17587"/>
          <ac:spMkLst>
            <pc:docMk/>
            <pc:sldMk cId="3354214248" sldId="2147470473"/>
            <ac:spMk id="2" creationId="{3A560AE8-F98E-D97F-E138-C0544C9A133B}"/>
          </ac:spMkLst>
        </pc:spChg>
        <pc:spChg chg="mod">
          <ac:chgData name="Miranda Quispe, Bruno Sebastian" userId="5df213b2-8b23-43f1-8137-24ac80ef972a" providerId="ADAL" clId="{E965C011-1063-4CD3-8CA5-A8D35C5C287B}" dt="2022-08-29T15:25:31.183" v="16404" actId="20577"/>
          <ac:spMkLst>
            <pc:docMk/>
            <pc:sldMk cId="3354214248" sldId="2147470473"/>
            <ac:spMk id="5" creationId="{3B62D8A6-822F-AAFA-4009-C7C73877A1D6}"/>
          </ac:spMkLst>
        </pc:spChg>
        <pc:grpChg chg="mod">
          <ac:chgData name="Miranda Quispe, Bruno Sebastian" userId="5df213b2-8b23-43f1-8137-24ac80ef972a" providerId="ADAL" clId="{E965C011-1063-4CD3-8CA5-A8D35C5C287B}" dt="2022-08-29T17:23:30.658" v="17575" actId="1076"/>
          <ac:grpSpMkLst>
            <pc:docMk/>
            <pc:sldMk cId="3354214248" sldId="2147470473"/>
            <ac:grpSpMk id="19" creationId="{1F6A253B-176E-B884-E8A5-EAEAF1E2D6BC}"/>
          </ac:grpSpMkLst>
        </pc:grpChg>
        <pc:graphicFrameChg chg="mod">
          <ac:chgData name="Miranda Quispe, Bruno Sebastian" userId="5df213b2-8b23-43f1-8137-24ac80ef972a" providerId="ADAL" clId="{E965C011-1063-4CD3-8CA5-A8D35C5C287B}" dt="2022-08-29T17:23:47.384" v="17581" actId="20577"/>
          <ac:graphicFrameMkLst>
            <pc:docMk/>
            <pc:sldMk cId="3354214248" sldId="2147470473"/>
            <ac:graphicFrameMk id="4" creationId="{61B55E45-E69E-FCA9-8F59-CA3C3D7A11B8}"/>
          </ac:graphicFrameMkLst>
        </pc:graphicFrameChg>
        <pc:picChg chg="add mod">
          <ac:chgData name="Miranda Quispe, Bruno Sebastian" userId="5df213b2-8b23-43f1-8137-24ac80ef972a" providerId="ADAL" clId="{E965C011-1063-4CD3-8CA5-A8D35C5C287B}" dt="2022-08-29T17:24:41.197" v="17590" actId="14826"/>
          <ac:picMkLst>
            <pc:docMk/>
            <pc:sldMk cId="3354214248" sldId="2147470473"/>
            <ac:picMk id="6" creationId="{C8302FF9-AFC1-6F20-FCD2-1EC0D7CF5942}"/>
          </ac:picMkLst>
        </pc:picChg>
        <pc:picChg chg="mod">
          <ac:chgData name="Miranda Quispe, Bruno Sebastian" userId="5df213b2-8b23-43f1-8137-24ac80ef972a" providerId="ADAL" clId="{E965C011-1063-4CD3-8CA5-A8D35C5C287B}" dt="2022-08-29T17:24:01.716" v="17585" actId="1076"/>
          <ac:picMkLst>
            <pc:docMk/>
            <pc:sldMk cId="3354214248" sldId="2147470473"/>
            <ac:picMk id="16" creationId="{EF17BF1D-6D48-AC24-92A0-3819AE06082B}"/>
          </ac:picMkLst>
        </pc:picChg>
        <pc:picChg chg="del mod">
          <ac:chgData name="Miranda Quispe, Bruno Sebastian" userId="5df213b2-8b23-43f1-8137-24ac80ef972a" providerId="ADAL" clId="{E965C011-1063-4CD3-8CA5-A8D35C5C287B}" dt="2022-08-29T17:23:57.149" v="17583" actId="478"/>
          <ac:picMkLst>
            <pc:docMk/>
            <pc:sldMk cId="3354214248" sldId="2147470473"/>
            <ac:picMk id="17" creationId="{6D95FA32-AF24-8827-882D-D8012D78A1AE}"/>
          </ac:picMkLst>
        </pc:picChg>
        <pc:picChg chg="del mod">
          <ac:chgData name="Miranda Quispe, Bruno Sebastian" userId="5df213b2-8b23-43f1-8137-24ac80ef972a" providerId="ADAL" clId="{E965C011-1063-4CD3-8CA5-A8D35C5C287B}" dt="2022-08-29T17:22:43.069" v="17562" actId="478"/>
          <ac:picMkLst>
            <pc:docMk/>
            <pc:sldMk cId="3354214248" sldId="2147470473"/>
            <ac:picMk id="18" creationId="{29601D9D-94AD-2328-AB6C-B8600311342A}"/>
          </ac:picMkLst>
        </pc:picChg>
      </pc:sldChg>
      <pc:sldChg chg="modSp add mod setBg">
        <pc:chgData name="Miranda Quispe, Bruno Sebastian" userId="5df213b2-8b23-43f1-8137-24ac80ef972a" providerId="ADAL" clId="{E965C011-1063-4CD3-8CA5-A8D35C5C287B}" dt="2022-08-29T16:04:09.911" v="16910"/>
        <pc:sldMkLst>
          <pc:docMk/>
          <pc:sldMk cId="2377068256" sldId="2147470474"/>
        </pc:sldMkLst>
        <pc:spChg chg="mod">
          <ac:chgData name="Miranda Quispe, Bruno Sebastian" userId="5df213b2-8b23-43f1-8137-24ac80ef972a" providerId="ADAL" clId="{E965C011-1063-4CD3-8CA5-A8D35C5C287B}" dt="2022-08-29T15:46:55.295" v="16746" actId="108"/>
          <ac:spMkLst>
            <pc:docMk/>
            <pc:sldMk cId="2377068256" sldId="2147470474"/>
            <ac:spMk id="4" creationId="{A787CBCF-61E6-BFAF-72A3-670132A4089F}"/>
          </ac:spMkLst>
        </pc:spChg>
        <pc:spChg chg="mod">
          <ac:chgData name="Miranda Quispe, Bruno Sebastian" userId="5df213b2-8b23-43f1-8137-24ac80ef972a" providerId="ADAL" clId="{E965C011-1063-4CD3-8CA5-A8D35C5C287B}" dt="2022-08-29T15:46:29.045" v="16745" actId="14100"/>
          <ac:spMkLst>
            <pc:docMk/>
            <pc:sldMk cId="2377068256" sldId="2147470474"/>
            <ac:spMk id="5" creationId="{C8577706-F1FB-7638-78EE-4C8DAFBB5564}"/>
          </ac:spMkLst>
        </pc:spChg>
      </pc:sldChg>
      <pc:sldChg chg="addSp delSp modSp add mod">
        <pc:chgData name="Miranda Quispe, Bruno Sebastian" userId="5df213b2-8b23-43f1-8137-24ac80ef972a" providerId="ADAL" clId="{E965C011-1063-4CD3-8CA5-A8D35C5C287B}" dt="2022-08-29T20:48:16.844" v="18874"/>
        <pc:sldMkLst>
          <pc:docMk/>
          <pc:sldMk cId="2281958424" sldId="2147470475"/>
        </pc:sldMkLst>
        <pc:spChg chg="mod">
          <ac:chgData name="Miranda Quispe, Bruno Sebastian" userId="5df213b2-8b23-43f1-8137-24ac80ef972a" providerId="ADAL" clId="{E965C011-1063-4CD3-8CA5-A8D35C5C287B}" dt="2022-08-29T15:57:36.157" v="16905" actId="27803"/>
          <ac:spMkLst>
            <pc:docMk/>
            <pc:sldMk cId="2281958424" sldId="2147470475"/>
            <ac:spMk id="6" creationId="{6AF6615D-AAB9-5C21-15E7-357FAFF28B52}"/>
          </ac:spMkLst>
        </pc:spChg>
        <pc:spChg chg="mod">
          <ac:chgData name="Miranda Quispe, Bruno Sebastian" userId="5df213b2-8b23-43f1-8137-24ac80ef972a" providerId="ADAL" clId="{E965C011-1063-4CD3-8CA5-A8D35C5C287B}" dt="2022-08-29T15:57:36.157" v="16905" actId="27803"/>
          <ac:spMkLst>
            <pc:docMk/>
            <pc:sldMk cId="2281958424" sldId="2147470475"/>
            <ac:spMk id="7" creationId="{E3D77BC8-F2E7-B7AA-B6EF-155D412BAA2D}"/>
          </ac:spMkLst>
        </pc:spChg>
        <pc:spChg chg="mod">
          <ac:chgData name="Miranda Quispe, Bruno Sebastian" userId="5df213b2-8b23-43f1-8137-24ac80ef972a" providerId="ADAL" clId="{E965C011-1063-4CD3-8CA5-A8D35C5C287B}" dt="2022-08-29T15:57:36.157" v="16905" actId="27803"/>
          <ac:spMkLst>
            <pc:docMk/>
            <pc:sldMk cId="2281958424" sldId="2147470475"/>
            <ac:spMk id="8" creationId="{8B6CD98B-2827-92B2-DC81-CDD1B0983F7A}"/>
          </ac:spMkLst>
        </pc:spChg>
        <pc:spChg chg="mod">
          <ac:chgData name="Miranda Quispe, Bruno Sebastian" userId="5df213b2-8b23-43f1-8137-24ac80ef972a" providerId="ADAL" clId="{E965C011-1063-4CD3-8CA5-A8D35C5C287B}" dt="2022-08-29T15:57:36.157" v="16905" actId="27803"/>
          <ac:spMkLst>
            <pc:docMk/>
            <pc:sldMk cId="2281958424" sldId="2147470475"/>
            <ac:spMk id="9" creationId="{18BDCF6C-158F-767B-6DF2-4AE8E636B075}"/>
          </ac:spMkLst>
        </pc:spChg>
        <pc:grpChg chg="mod">
          <ac:chgData name="Miranda Quispe, Bruno Sebastian" userId="5df213b2-8b23-43f1-8137-24ac80ef972a" providerId="ADAL" clId="{E965C011-1063-4CD3-8CA5-A8D35C5C287B}" dt="2022-08-29T15:57:36.157" v="16905" actId="27803"/>
          <ac:grpSpMkLst>
            <pc:docMk/>
            <pc:sldMk cId="2281958424" sldId="2147470475"/>
            <ac:grpSpMk id="2" creationId="{6A5C4F8D-8E24-3C94-DB6C-06F348B4B3C6}"/>
          </ac:grpSpMkLst>
        </pc:grpChg>
        <pc:grpChg chg="mod">
          <ac:chgData name="Miranda Quispe, Bruno Sebastian" userId="5df213b2-8b23-43f1-8137-24ac80ef972a" providerId="ADAL" clId="{E965C011-1063-4CD3-8CA5-A8D35C5C287B}" dt="2022-08-29T20:47:42.415" v="18861" actId="1076"/>
          <ac:grpSpMkLst>
            <pc:docMk/>
            <pc:sldMk cId="2281958424" sldId="2147470475"/>
            <ac:grpSpMk id="19" creationId="{1F6A253B-176E-B884-E8A5-EAEAF1E2D6BC}"/>
          </ac:grpSpMkLst>
        </pc:grpChg>
        <pc:graphicFrameChg chg="mod">
          <ac:chgData name="Miranda Quispe, Bruno Sebastian" userId="5df213b2-8b23-43f1-8137-24ac80ef972a" providerId="ADAL" clId="{E965C011-1063-4CD3-8CA5-A8D35C5C287B}" dt="2022-08-29T20:48:16.844" v="18874"/>
          <ac:graphicFrameMkLst>
            <pc:docMk/>
            <pc:sldMk cId="2281958424" sldId="2147470475"/>
            <ac:graphicFrameMk id="4" creationId="{61B55E45-E69E-FCA9-8F59-CA3C3D7A11B8}"/>
          </ac:graphicFrameMkLst>
        </pc:graphicFrameChg>
        <pc:picChg chg="mod">
          <ac:chgData name="Miranda Quispe, Bruno Sebastian" userId="5df213b2-8b23-43f1-8137-24ac80ef972a" providerId="ADAL" clId="{E965C011-1063-4CD3-8CA5-A8D35C5C287B}" dt="2022-08-29T20:47:49.674" v="18864" actId="1076"/>
          <ac:picMkLst>
            <pc:docMk/>
            <pc:sldMk cId="2281958424" sldId="2147470475"/>
            <ac:picMk id="16" creationId="{EF17BF1D-6D48-AC24-92A0-3819AE06082B}"/>
          </ac:picMkLst>
        </pc:picChg>
        <pc:picChg chg="add del mod">
          <ac:chgData name="Miranda Quispe, Bruno Sebastian" userId="5df213b2-8b23-43f1-8137-24ac80ef972a" providerId="ADAL" clId="{E965C011-1063-4CD3-8CA5-A8D35C5C287B}" dt="2022-08-29T20:48:00.164" v="18868" actId="1076"/>
          <ac:picMkLst>
            <pc:docMk/>
            <pc:sldMk cId="2281958424" sldId="2147470475"/>
            <ac:picMk id="17" creationId="{6D95FA32-AF24-8827-882D-D8012D78A1AE}"/>
          </ac:picMkLst>
        </pc:picChg>
        <pc:picChg chg="del mod">
          <ac:chgData name="Miranda Quispe, Bruno Sebastian" userId="5df213b2-8b23-43f1-8137-24ac80ef972a" providerId="ADAL" clId="{E965C011-1063-4CD3-8CA5-A8D35C5C287B}" dt="2022-08-29T20:47:40.283" v="18859" actId="478"/>
          <ac:picMkLst>
            <pc:docMk/>
            <pc:sldMk cId="2281958424" sldId="2147470475"/>
            <ac:picMk id="18" creationId="{29601D9D-94AD-2328-AB6C-B8600311342A}"/>
          </ac:picMkLst>
        </pc:picChg>
      </pc:sldChg>
      <pc:sldChg chg="addSp delSp modSp add mod setBg">
        <pc:chgData name="Miranda Quispe, Bruno Sebastian" userId="5df213b2-8b23-43f1-8137-24ac80ef972a" providerId="ADAL" clId="{E965C011-1063-4CD3-8CA5-A8D35C5C287B}" dt="2022-08-29T16:08:26.997" v="17036" actId="1076"/>
        <pc:sldMkLst>
          <pc:docMk/>
          <pc:sldMk cId="1821233650" sldId="2147470476"/>
        </pc:sldMkLst>
        <pc:spChg chg="mod">
          <ac:chgData name="Miranda Quispe, Bruno Sebastian" userId="5df213b2-8b23-43f1-8137-24ac80ef972a" providerId="ADAL" clId="{E965C011-1063-4CD3-8CA5-A8D35C5C287B}" dt="2022-08-29T16:05:22.435" v="16951" actId="20577"/>
          <ac:spMkLst>
            <pc:docMk/>
            <pc:sldMk cId="1821233650" sldId="2147470476"/>
            <ac:spMk id="7" creationId="{834DE61B-69D4-648C-09CD-329073E45B01}"/>
          </ac:spMkLst>
        </pc:spChg>
        <pc:spChg chg="mod">
          <ac:chgData name="Miranda Quispe, Bruno Sebastian" userId="5df213b2-8b23-43f1-8137-24ac80ef972a" providerId="ADAL" clId="{E965C011-1063-4CD3-8CA5-A8D35C5C287B}" dt="2022-08-29T16:05:56.675" v="17024" actId="20577"/>
          <ac:spMkLst>
            <pc:docMk/>
            <pc:sldMk cId="1821233650" sldId="2147470476"/>
            <ac:spMk id="8" creationId="{E6971E8D-A4BA-1641-A29A-4E7A935C21F1}"/>
          </ac:spMkLst>
        </pc:spChg>
        <pc:picChg chg="add mod">
          <ac:chgData name="Miranda Quispe, Bruno Sebastian" userId="5df213b2-8b23-43f1-8137-24ac80ef972a" providerId="ADAL" clId="{E965C011-1063-4CD3-8CA5-A8D35C5C287B}" dt="2022-08-29T16:08:26.997" v="17036" actId="1076"/>
          <ac:picMkLst>
            <pc:docMk/>
            <pc:sldMk cId="1821233650" sldId="2147470476"/>
            <ac:picMk id="2050" creationId="{154F3482-8019-3C32-61F4-C0B4C95AD0AB}"/>
          </ac:picMkLst>
        </pc:picChg>
        <pc:picChg chg="del">
          <ac:chgData name="Miranda Quispe, Bruno Sebastian" userId="5df213b2-8b23-43f1-8137-24ac80ef972a" providerId="ADAL" clId="{E965C011-1063-4CD3-8CA5-A8D35C5C287B}" dt="2022-08-29T16:08:23.231" v="17035" actId="478"/>
          <ac:picMkLst>
            <pc:docMk/>
            <pc:sldMk cId="1821233650" sldId="2147470476"/>
            <ac:picMk id="2060" creationId="{64009C4B-A332-5E33-8D76-8C575FB38D0F}"/>
          </ac:picMkLst>
        </pc:picChg>
      </pc:sldChg>
      <pc:sldChg chg="addSp delSp modSp new mod modClrScheme chgLayout">
        <pc:chgData name="Miranda Quispe, Bruno Sebastian" userId="5df213b2-8b23-43f1-8137-24ac80ef972a" providerId="ADAL" clId="{E965C011-1063-4CD3-8CA5-A8D35C5C287B}" dt="2022-08-29T16:14:16.360" v="17170"/>
        <pc:sldMkLst>
          <pc:docMk/>
          <pc:sldMk cId="2325900461" sldId="2147470477"/>
        </pc:sldMkLst>
        <pc:spChg chg="add del mod ord">
          <ac:chgData name="Miranda Quispe, Bruno Sebastian" userId="5df213b2-8b23-43f1-8137-24ac80ef972a" providerId="ADAL" clId="{E965C011-1063-4CD3-8CA5-A8D35C5C287B}" dt="2022-08-29T16:12:47.658" v="17040" actId="700"/>
          <ac:spMkLst>
            <pc:docMk/>
            <pc:sldMk cId="2325900461" sldId="2147470477"/>
            <ac:spMk id="2" creationId="{7B021970-6B7E-7B8F-9298-EF9F6D12CE51}"/>
          </ac:spMkLst>
        </pc:spChg>
        <pc:spChg chg="add del mod ord">
          <ac:chgData name="Miranda Quispe, Bruno Sebastian" userId="5df213b2-8b23-43f1-8137-24ac80ef972a" providerId="ADAL" clId="{E965C011-1063-4CD3-8CA5-A8D35C5C287B}" dt="2022-08-29T16:12:47.658" v="17040" actId="700"/>
          <ac:spMkLst>
            <pc:docMk/>
            <pc:sldMk cId="2325900461" sldId="2147470477"/>
            <ac:spMk id="3" creationId="{1FBDBEC0-71B8-6955-C9AD-3DA23399CEEC}"/>
          </ac:spMkLst>
        </pc:spChg>
        <pc:spChg chg="add del mod ord">
          <ac:chgData name="Miranda Quispe, Bruno Sebastian" userId="5df213b2-8b23-43f1-8137-24ac80ef972a" providerId="ADAL" clId="{E965C011-1063-4CD3-8CA5-A8D35C5C287B}" dt="2022-08-29T16:12:41.876" v="17039" actId="700"/>
          <ac:spMkLst>
            <pc:docMk/>
            <pc:sldMk cId="2325900461" sldId="2147470477"/>
            <ac:spMk id="4" creationId="{B601B273-B0A2-0DAA-85D3-BFC47882B74E}"/>
          </ac:spMkLst>
        </pc:spChg>
        <pc:spChg chg="add del mod ord">
          <ac:chgData name="Miranda Quispe, Bruno Sebastian" userId="5df213b2-8b23-43f1-8137-24ac80ef972a" providerId="ADAL" clId="{E965C011-1063-4CD3-8CA5-A8D35C5C287B}" dt="2022-08-29T16:12:41.876" v="17039" actId="700"/>
          <ac:spMkLst>
            <pc:docMk/>
            <pc:sldMk cId="2325900461" sldId="2147470477"/>
            <ac:spMk id="5" creationId="{0D0E2397-1C28-DD89-6641-EFAA0BD917C4}"/>
          </ac:spMkLst>
        </pc:spChg>
        <pc:spChg chg="add del mod ord">
          <ac:chgData name="Miranda Quispe, Bruno Sebastian" userId="5df213b2-8b23-43f1-8137-24ac80ef972a" providerId="ADAL" clId="{E965C011-1063-4CD3-8CA5-A8D35C5C287B}" dt="2022-08-29T16:12:41.876" v="17039" actId="700"/>
          <ac:spMkLst>
            <pc:docMk/>
            <pc:sldMk cId="2325900461" sldId="2147470477"/>
            <ac:spMk id="6" creationId="{C8E25CD5-112E-EBC6-A851-EBCC4EFFBE06}"/>
          </ac:spMkLst>
        </pc:spChg>
        <pc:spChg chg="add mod ord">
          <ac:chgData name="Miranda Quispe, Bruno Sebastian" userId="5df213b2-8b23-43f1-8137-24ac80ef972a" providerId="ADAL" clId="{E965C011-1063-4CD3-8CA5-A8D35C5C287B}" dt="2022-08-29T16:13:29.545" v="17168" actId="20577"/>
          <ac:spMkLst>
            <pc:docMk/>
            <pc:sldMk cId="2325900461" sldId="2147470477"/>
            <ac:spMk id="7" creationId="{BAEF12B0-FA48-AE82-2C14-8423BA09CCFE}"/>
          </ac:spMkLst>
        </pc:spChg>
        <pc:spChg chg="add del mod ord">
          <ac:chgData name="Miranda Quispe, Bruno Sebastian" userId="5df213b2-8b23-43f1-8137-24ac80ef972a" providerId="ADAL" clId="{E965C011-1063-4CD3-8CA5-A8D35C5C287B}" dt="2022-08-29T16:14:16.034" v="17169" actId="478"/>
          <ac:spMkLst>
            <pc:docMk/>
            <pc:sldMk cId="2325900461" sldId="2147470477"/>
            <ac:spMk id="8" creationId="{C4277829-D25D-E620-1DE0-85C4D140E279}"/>
          </ac:spMkLst>
        </pc:spChg>
        <pc:spChg chg="add mod">
          <ac:chgData name="Miranda Quispe, Bruno Sebastian" userId="5df213b2-8b23-43f1-8137-24ac80ef972a" providerId="ADAL" clId="{E965C011-1063-4CD3-8CA5-A8D35C5C287B}" dt="2022-08-29T16:14:16.360" v="17170"/>
          <ac:spMkLst>
            <pc:docMk/>
            <pc:sldMk cId="2325900461" sldId="2147470477"/>
            <ac:spMk id="17" creationId="{86917AAD-FCAE-8E67-4CA0-954C10CAE6DD}"/>
          </ac:spMkLst>
        </pc:spChg>
        <pc:spChg chg="add mod">
          <ac:chgData name="Miranda Quispe, Bruno Sebastian" userId="5df213b2-8b23-43f1-8137-24ac80ef972a" providerId="ADAL" clId="{E965C011-1063-4CD3-8CA5-A8D35C5C287B}" dt="2022-08-29T16:14:16.360" v="17170"/>
          <ac:spMkLst>
            <pc:docMk/>
            <pc:sldMk cId="2325900461" sldId="2147470477"/>
            <ac:spMk id="18" creationId="{6974CF6F-47A3-1F17-C92B-56F4AFBC6035}"/>
          </ac:spMkLst>
        </pc:spChg>
        <pc:spChg chg="add mod">
          <ac:chgData name="Miranda Quispe, Bruno Sebastian" userId="5df213b2-8b23-43f1-8137-24ac80ef972a" providerId="ADAL" clId="{E965C011-1063-4CD3-8CA5-A8D35C5C287B}" dt="2022-08-29T16:14:16.360" v="17170"/>
          <ac:spMkLst>
            <pc:docMk/>
            <pc:sldMk cId="2325900461" sldId="2147470477"/>
            <ac:spMk id="19" creationId="{983B80BC-1393-B462-6722-7FAF0C06F810}"/>
          </ac:spMkLst>
        </pc:spChg>
        <pc:spChg chg="add mod">
          <ac:chgData name="Miranda Quispe, Bruno Sebastian" userId="5df213b2-8b23-43f1-8137-24ac80ef972a" providerId="ADAL" clId="{E965C011-1063-4CD3-8CA5-A8D35C5C287B}" dt="2022-08-29T16:14:16.360" v="17170"/>
          <ac:spMkLst>
            <pc:docMk/>
            <pc:sldMk cId="2325900461" sldId="2147470477"/>
            <ac:spMk id="20" creationId="{12506D67-5956-91DF-200B-5AB0DF7AEFDD}"/>
          </ac:spMkLst>
        </pc:spChg>
        <pc:spChg chg="add mod">
          <ac:chgData name="Miranda Quispe, Bruno Sebastian" userId="5df213b2-8b23-43f1-8137-24ac80ef972a" providerId="ADAL" clId="{E965C011-1063-4CD3-8CA5-A8D35C5C287B}" dt="2022-08-29T16:14:16.360" v="17170"/>
          <ac:spMkLst>
            <pc:docMk/>
            <pc:sldMk cId="2325900461" sldId="2147470477"/>
            <ac:spMk id="21" creationId="{E0463DA0-E2F6-17B9-A106-3D04FABB66CE}"/>
          </ac:spMkLst>
        </pc:spChg>
        <pc:spChg chg="add mod">
          <ac:chgData name="Miranda Quispe, Bruno Sebastian" userId="5df213b2-8b23-43f1-8137-24ac80ef972a" providerId="ADAL" clId="{E965C011-1063-4CD3-8CA5-A8D35C5C287B}" dt="2022-08-29T16:14:16.360" v="17170"/>
          <ac:spMkLst>
            <pc:docMk/>
            <pc:sldMk cId="2325900461" sldId="2147470477"/>
            <ac:spMk id="22" creationId="{5229E0B5-6E71-AA64-974F-249AE30720F7}"/>
          </ac:spMkLst>
        </pc:spChg>
        <pc:spChg chg="add mod">
          <ac:chgData name="Miranda Quispe, Bruno Sebastian" userId="5df213b2-8b23-43f1-8137-24ac80ef972a" providerId="ADAL" clId="{E965C011-1063-4CD3-8CA5-A8D35C5C287B}" dt="2022-08-29T16:14:16.360" v="17170"/>
          <ac:spMkLst>
            <pc:docMk/>
            <pc:sldMk cId="2325900461" sldId="2147470477"/>
            <ac:spMk id="23" creationId="{698E16DB-8772-533C-B604-6AEA0095B37C}"/>
          </ac:spMkLst>
        </pc:spChg>
        <pc:spChg chg="add mod">
          <ac:chgData name="Miranda Quispe, Bruno Sebastian" userId="5df213b2-8b23-43f1-8137-24ac80ef972a" providerId="ADAL" clId="{E965C011-1063-4CD3-8CA5-A8D35C5C287B}" dt="2022-08-29T16:14:16.360" v="17170"/>
          <ac:spMkLst>
            <pc:docMk/>
            <pc:sldMk cId="2325900461" sldId="2147470477"/>
            <ac:spMk id="24" creationId="{1F3E73CE-9FDF-5EFE-A02F-FD5644EF1C7D}"/>
          </ac:spMkLst>
        </pc:spChg>
        <pc:spChg chg="add mod">
          <ac:chgData name="Miranda Quispe, Bruno Sebastian" userId="5df213b2-8b23-43f1-8137-24ac80ef972a" providerId="ADAL" clId="{E965C011-1063-4CD3-8CA5-A8D35C5C287B}" dt="2022-08-29T16:14:16.360" v="17170"/>
          <ac:spMkLst>
            <pc:docMk/>
            <pc:sldMk cId="2325900461" sldId="2147470477"/>
            <ac:spMk id="25" creationId="{B5660153-0D8D-C1B5-063B-74E2B66B1ED6}"/>
          </ac:spMkLst>
        </pc:spChg>
        <pc:spChg chg="add mod">
          <ac:chgData name="Miranda Quispe, Bruno Sebastian" userId="5df213b2-8b23-43f1-8137-24ac80ef972a" providerId="ADAL" clId="{E965C011-1063-4CD3-8CA5-A8D35C5C287B}" dt="2022-08-29T16:14:16.360" v="17170"/>
          <ac:spMkLst>
            <pc:docMk/>
            <pc:sldMk cId="2325900461" sldId="2147470477"/>
            <ac:spMk id="28" creationId="{94AA97BD-5894-0A5A-85A7-F23445820A9C}"/>
          </ac:spMkLst>
        </pc:spChg>
        <pc:spChg chg="add mod">
          <ac:chgData name="Miranda Quispe, Bruno Sebastian" userId="5df213b2-8b23-43f1-8137-24ac80ef972a" providerId="ADAL" clId="{E965C011-1063-4CD3-8CA5-A8D35C5C287B}" dt="2022-08-29T16:14:16.360" v="17170"/>
          <ac:spMkLst>
            <pc:docMk/>
            <pc:sldMk cId="2325900461" sldId="2147470477"/>
            <ac:spMk id="30" creationId="{052DAB56-D331-D01F-B0CC-84BE6D50D468}"/>
          </ac:spMkLst>
        </pc:spChg>
        <pc:spChg chg="add mod">
          <ac:chgData name="Miranda Quispe, Bruno Sebastian" userId="5df213b2-8b23-43f1-8137-24ac80ef972a" providerId="ADAL" clId="{E965C011-1063-4CD3-8CA5-A8D35C5C287B}" dt="2022-08-29T16:14:16.360" v="17170"/>
          <ac:spMkLst>
            <pc:docMk/>
            <pc:sldMk cId="2325900461" sldId="2147470477"/>
            <ac:spMk id="35" creationId="{FC5AB371-B229-2418-B81E-5365BBC9F638}"/>
          </ac:spMkLst>
        </pc:spChg>
        <pc:spChg chg="add mod">
          <ac:chgData name="Miranda Quispe, Bruno Sebastian" userId="5df213b2-8b23-43f1-8137-24ac80ef972a" providerId="ADAL" clId="{E965C011-1063-4CD3-8CA5-A8D35C5C287B}" dt="2022-08-29T16:14:16.360" v="17170"/>
          <ac:spMkLst>
            <pc:docMk/>
            <pc:sldMk cId="2325900461" sldId="2147470477"/>
            <ac:spMk id="36" creationId="{35AAE1F2-AEFA-AAFD-DDAA-2816F1BF2E9A}"/>
          </ac:spMkLst>
        </pc:spChg>
        <pc:spChg chg="add mod">
          <ac:chgData name="Miranda Quispe, Bruno Sebastian" userId="5df213b2-8b23-43f1-8137-24ac80ef972a" providerId="ADAL" clId="{E965C011-1063-4CD3-8CA5-A8D35C5C287B}" dt="2022-08-29T16:14:16.360" v="17170"/>
          <ac:spMkLst>
            <pc:docMk/>
            <pc:sldMk cId="2325900461" sldId="2147470477"/>
            <ac:spMk id="37" creationId="{82B08491-29F2-3A41-5C7F-E1B918216E08}"/>
          </ac:spMkLst>
        </pc:spChg>
        <pc:graphicFrameChg chg="add mod">
          <ac:chgData name="Miranda Quispe, Bruno Sebastian" userId="5df213b2-8b23-43f1-8137-24ac80ef972a" providerId="ADAL" clId="{E965C011-1063-4CD3-8CA5-A8D35C5C287B}" dt="2022-08-29T16:14:16.360" v="17170"/>
          <ac:graphicFrameMkLst>
            <pc:docMk/>
            <pc:sldMk cId="2325900461" sldId="2147470477"/>
            <ac:graphicFrameMk id="9" creationId="{FA565CAA-6DFE-64C0-0B1C-B348720D2ABA}"/>
          </ac:graphicFrameMkLst>
        </pc:graphicFrameChg>
        <pc:graphicFrameChg chg="add mod">
          <ac:chgData name="Miranda Quispe, Bruno Sebastian" userId="5df213b2-8b23-43f1-8137-24ac80ef972a" providerId="ADAL" clId="{E965C011-1063-4CD3-8CA5-A8D35C5C287B}" dt="2022-08-29T16:14:16.360" v="17170"/>
          <ac:graphicFrameMkLst>
            <pc:docMk/>
            <pc:sldMk cId="2325900461" sldId="2147470477"/>
            <ac:graphicFrameMk id="10" creationId="{6C33E8A1-4F0D-36CD-6DB8-5BEB406EB5C1}"/>
          </ac:graphicFrameMkLst>
        </pc:graphicFrameChg>
        <pc:picChg chg="add mod">
          <ac:chgData name="Miranda Quispe, Bruno Sebastian" userId="5df213b2-8b23-43f1-8137-24ac80ef972a" providerId="ADAL" clId="{E965C011-1063-4CD3-8CA5-A8D35C5C287B}" dt="2022-08-29T16:14:16.360" v="17170"/>
          <ac:picMkLst>
            <pc:docMk/>
            <pc:sldMk cId="2325900461" sldId="2147470477"/>
            <ac:picMk id="11" creationId="{D7645647-FD76-18F7-AC71-0EDF71B002B8}"/>
          </ac:picMkLst>
        </pc:picChg>
        <pc:picChg chg="add mod">
          <ac:chgData name="Miranda Quispe, Bruno Sebastian" userId="5df213b2-8b23-43f1-8137-24ac80ef972a" providerId="ADAL" clId="{E965C011-1063-4CD3-8CA5-A8D35C5C287B}" dt="2022-08-29T16:14:16.360" v="17170"/>
          <ac:picMkLst>
            <pc:docMk/>
            <pc:sldMk cId="2325900461" sldId="2147470477"/>
            <ac:picMk id="12" creationId="{F37473F1-7575-DC83-EC1C-A3217B490B7E}"/>
          </ac:picMkLst>
        </pc:picChg>
        <pc:picChg chg="add mod">
          <ac:chgData name="Miranda Quispe, Bruno Sebastian" userId="5df213b2-8b23-43f1-8137-24ac80ef972a" providerId="ADAL" clId="{E965C011-1063-4CD3-8CA5-A8D35C5C287B}" dt="2022-08-29T16:14:16.360" v="17170"/>
          <ac:picMkLst>
            <pc:docMk/>
            <pc:sldMk cId="2325900461" sldId="2147470477"/>
            <ac:picMk id="13" creationId="{F37F67DD-B526-F812-3DFB-25AECFB7AD60}"/>
          </ac:picMkLst>
        </pc:picChg>
        <pc:picChg chg="add mod">
          <ac:chgData name="Miranda Quispe, Bruno Sebastian" userId="5df213b2-8b23-43f1-8137-24ac80ef972a" providerId="ADAL" clId="{E965C011-1063-4CD3-8CA5-A8D35C5C287B}" dt="2022-08-29T16:14:16.360" v="17170"/>
          <ac:picMkLst>
            <pc:docMk/>
            <pc:sldMk cId="2325900461" sldId="2147470477"/>
            <ac:picMk id="14" creationId="{8862F1D8-3CB3-2394-4CAA-29D384C09B42}"/>
          </ac:picMkLst>
        </pc:picChg>
        <pc:picChg chg="add mod">
          <ac:chgData name="Miranda Quispe, Bruno Sebastian" userId="5df213b2-8b23-43f1-8137-24ac80ef972a" providerId="ADAL" clId="{E965C011-1063-4CD3-8CA5-A8D35C5C287B}" dt="2022-08-29T16:14:16.360" v="17170"/>
          <ac:picMkLst>
            <pc:docMk/>
            <pc:sldMk cId="2325900461" sldId="2147470477"/>
            <ac:picMk id="15" creationId="{71F64F93-D458-7D1F-59A0-310600C0A1BF}"/>
          </ac:picMkLst>
        </pc:picChg>
        <pc:picChg chg="add mod">
          <ac:chgData name="Miranda Quispe, Bruno Sebastian" userId="5df213b2-8b23-43f1-8137-24ac80ef972a" providerId="ADAL" clId="{E965C011-1063-4CD3-8CA5-A8D35C5C287B}" dt="2022-08-29T16:14:16.360" v="17170"/>
          <ac:picMkLst>
            <pc:docMk/>
            <pc:sldMk cId="2325900461" sldId="2147470477"/>
            <ac:picMk id="16" creationId="{90080499-00B9-B7B2-5E4A-EE9BFC3D3A84}"/>
          </ac:picMkLst>
        </pc:picChg>
        <pc:picChg chg="add mod">
          <ac:chgData name="Miranda Quispe, Bruno Sebastian" userId="5df213b2-8b23-43f1-8137-24ac80ef972a" providerId="ADAL" clId="{E965C011-1063-4CD3-8CA5-A8D35C5C287B}" dt="2022-08-29T16:14:16.360" v="17170"/>
          <ac:picMkLst>
            <pc:docMk/>
            <pc:sldMk cId="2325900461" sldId="2147470477"/>
            <ac:picMk id="26" creationId="{F96C4B35-8E6A-C92C-2845-0FA72220B93C}"/>
          </ac:picMkLst>
        </pc:picChg>
        <pc:picChg chg="add mod">
          <ac:chgData name="Miranda Quispe, Bruno Sebastian" userId="5df213b2-8b23-43f1-8137-24ac80ef972a" providerId="ADAL" clId="{E965C011-1063-4CD3-8CA5-A8D35C5C287B}" dt="2022-08-29T16:14:16.360" v="17170"/>
          <ac:picMkLst>
            <pc:docMk/>
            <pc:sldMk cId="2325900461" sldId="2147470477"/>
            <ac:picMk id="27" creationId="{B696CAB0-6E0E-4D4E-30BE-916304095598}"/>
          </ac:picMkLst>
        </pc:picChg>
        <pc:picChg chg="add mod">
          <ac:chgData name="Miranda Quispe, Bruno Sebastian" userId="5df213b2-8b23-43f1-8137-24ac80ef972a" providerId="ADAL" clId="{E965C011-1063-4CD3-8CA5-A8D35C5C287B}" dt="2022-08-29T16:14:16.360" v="17170"/>
          <ac:picMkLst>
            <pc:docMk/>
            <pc:sldMk cId="2325900461" sldId="2147470477"/>
            <ac:picMk id="29" creationId="{ED943950-AF94-E051-DB68-2EBB778D7A65}"/>
          </ac:picMkLst>
        </pc:picChg>
        <pc:picChg chg="add mod">
          <ac:chgData name="Miranda Quispe, Bruno Sebastian" userId="5df213b2-8b23-43f1-8137-24ac80ef972a" providerId="ADAL" clId="{E965C011-1063-4CD3-8CA5-A8D35C5C287B}" dt="2022-08-29T16:14:16.360" v="17170"/>
          <ac:picMkLst>
            <pc:docMk/>
            <pc:sldMk cId="2325900461" sldId="2147470477"/>
            <ac:picMk id="31" creationId="{5F856167-D544-6DD1-7098-A80574D33F8E}"/>
          </ac:picMkLst>
        </pc:picChg>
        <pc:picChg chg="add mod">
          <ac:chgData name="Miranda Quispe, Bruno Sebastian" userId="5df213b2-8b23-43f1-8137-24ac80ef972a" providerId="ADAL" clId="{E965C011-1063-4CD3-8CA5-A8D35C5C287B}" dt="2022-08-29T16:14:16.360" v="17170"/>
          <ac:picMkLst>
            <pc:docMk/>
            <pc:sldMk cId="2325900461" sldId="2147470477"/>
            <ac:picMk id="32" creationId="{91E904EE-2162-E51A-0BDE-6CAD13961CB6}"/>
          </ac:picMkLst>
        </pc:picChg>
        <pc:picChg chg="add mod">
          <ac:chgData name="Miranda Quispe, Bruno Sebastian" userId="5df213b2-8b23-43f1-8137-24ac80ef972a" providerId="ADAL" clId="{E965C011-1063-4CD3-8CA5-A8D35C5C287B}" dt="2022-08-29T16:14:16.360" v="17170"/>
          <ac:picMkLst>
            <pc:docMk/>
            <pc:sldMk cId="2325900461" sldId="2147470477"/>
            <ac:picMk id="33" creationId="{D5199075-8087-FDB0-0134-BD8BEF3A6FFA}"/>
          </ac:picMkLst>
        </pc:picChg>
        <pc:picChg chg="add mod">
          <ac:chgData name="Miranda Quispe, Bruno Sebastian" userId="5df213b2-8b23-43f1-8137-24ac80ef972a" providerId="ADAL" clId="{E965C011-1063-4CD3-8CA5-A8D35C5C287B}" dt="2022-08-29T16:14:16.360" v="17170"/>
          <ac:picMkLst>
            <pc:docMk/>
            <pc:sldMk cId="2325900461" sldId="2147470477"/>
            <ac:picMk id="34" creationId="{D3453142-9A9E-7B6D-BE43-D9EAE411B8D1}"/>
          </ac:picMkLst>
        </pc:picChg>
        <pc:picChg chg="add mod">
          <ac:chgData name="Miranda Quispe, Bruno Sebastian" userId="5df213b2-8b23-43f1-8137-24ac80ef972a" providerId="ADAL" clId="{E965C011-1063-4CD3-8CA5-A8D35C5C287B}" dt="2022-08-29T16:14:16.360" v="17170"/>
          <ac:picMkLst>
            <pc:docMk/>
            <pc:sldMk cId="2325900461" sldId="2147470477"/>
            <ac:picMk id="38" creationId="{B502E259-1C75-8279-D6D0-7C38050AEA79}"/>
          </ac:picMkLst>
        </pc:picChg>
      </pc:sldChg>
      <pc:sldChg chg="addSp delSp modSp new mod">
        <pc:chgData name="Miranda Quispe, Bruno Sebastian" userId="5df213b2-8b23-43f1-8137-24ac80ef972a" providerId="ADAL" clId="{E965C011-1063-4CD3-8CA5-A8D35C5C287B}" dt="2022-08-29T17:19:50.321" v="17527" actId="20577"/>
        <pc:sldMkLst>
          <pc:docMk/>
          <pc:sldMk cId="3607387609" sldId="2147470478"/>
        </pc:sldMkLst>
        <pc:spChg chg="mod">
          <ac:chgData name="Miranda Quispe, Bruno Sebastian" userId="5df213b2-8b23-43f1-8137-24ac80ef972a" providerId="ADAL" clId="{E965C011-1063-4CD3-8CA5-A8D35C5C287B}" dt="2022-08-29T16:19:19.914" v="17263" actId="20577"/>
          <ac:spMkLst>
            <pc:docMk/>
            <pc:sldMk cId="3607387609" sldId="2147470478"/>
            <ac:spMk id="3" creationId="{0AA64239-BFD6-7B83-458A-A866E5C9A6AA}"/>
          </ac:spMkLst>
        </pc:spChg>
        <pc:spChg chg="del">
          <ac:chgData name="Miranda Quispe, Bruno Sebastian" userId="5df213b2-8b23-43f1-8137-24ac80ef972a" providerId="ADAL" clId="{E965C011-1063-4CD3-8CA5-A8D35C5C287B}" dt="2022-08-29T16:22:10.305" v="17264" actId="478"/>
          <ac:spMkLst>
            <pc:docMk/>
            <pc:sldMk cId="3607387609" sldId="2147470478"/>
            <ac:spMk id="4" creationId="{D696A13B-79C4-0800-CA7E-7AE10AA4568C}"/>
          </ac:spMkLst>
        </pc:spChg>
        <pc:spChg chg="add mod">
          <ac:chgData name="Miranda Quispe, Bruno Sebastian" userId="5df213b2-8b23-43f1-8137-24ac80ef972a" providerId="ADAL" clId="{E965C011-1063-4CD3-8CA5-A8D35C5C287B}" dt="2022-08-29T16:22:15.026" v="17265"/>
          <ac:spMkLst>
            <pc:docMk/>
            <pc:sldMk cId="3607387609" sldId="2147470478"/>
            <ac:spMk id="13" creationId="{EC4DB6FC-8D70-289F-A00F-83772C4E3714}"/>
          </ac:spMkLst>
        </pc:spChg>
        <pc:spChg chg="add mod">
          <ac:chgData name="Miranda Quispe, Bruno Sebastian" userId="5df213b2-8b23-43f1-8137-24ac80ef972a" providerId="ADAL" clId="{E965C011-1063-4CD3-8CA5-A8D35C5C287B}" dt="2022-08-29T16:22:15.026" v="17265"/>
          <ac:spMkLst>
            <pc:docMk/>
            <pc:sldMk cId="3607387609" sldId="2147470478"/>
            <ac:spMk id="14" creationId="{2CDD4CE4-1F01-99FA-CE03-ACFA6EF054EF}"/>
          </ac:spMkLst>
        </pc:spChg>
        <pc:spChg chg="add mod">
          <ac:chgData name="Miranda Quispe, Bruno Sebastian" userId="5df213b2-8b23-43f1-8137-24ac80ef972a" providerId="ADAL" clId="{E965C011-1063-4CD3-8CA5-A8D35C5C287B}" dt="2022-08-29T16:22:15.026" v="17265"/>
          <ac:spMkLst>
            <pc:docMk/>
            <pc:sldMk cId="3607387609" sldId="2147470478"/>
            <ac:spMk id="15" creationId="{0AD81197-2969-6CDD-99A8-AB20066D6614}"/>
          </ac:spMkLst>
        </pc:spChg>
        <pc:spChg chg="add mod">
          <ac:chgData name="Miranda Quispe, Bruno Sebastian" userId="5df213b2-8b23-43f1-8137-24ac80ef972a" providerId="ADAL" clId="{E965C011-1063-4CD3-8CA5-A8D35C5C287B}" dt="2022-08-29T16:22:15.026" v="17265"/>
          <ac:spMkLst>
            <pc:docMk/>
            <pc:sldMk cId="3607387609" sldId="2147470478"/>
            <ac:spMk id="16" creationId="{1BE7918B-55A2-8F16-A2BE-A8D53AD87FBC}"/>
          </ac:spMkLst>
        </pc:spChg>
        <pc:spChg chg="add mod">
          <ac:chgData name="Miranda Quispe, Bruno Sebastian" userId="5df213b2-8b23-43f1-8137-24ac80ef972a" providerId="ADAL" clId="{E965C011-1063-4CD3-8CA5-A8D35C5C287B}" dt="2022-08-29T16:22:15.026" v="17265"/>
          <ac:spMkLst>
            <pc:docMk/>
            <pc:sldMk cId="3607387609" sldId="2147470478"/>
            <ac:spMk id="17" creationId="{5F91924B-C9D3-78DD-3BE8-4458B7A5274F}"/>
          </ac:spMkLst>
        </pc:spChg>
        <pc:spChg chg="add mod">
          <ac:chgData name="Miranda Quispe, Bruno Sebastian" userId="5df213b2-8b23-43f1-8137-24ac80ef972a" providerId="ADAL" clId="{E965C011-1063-4CD3-8CA5-A8D35C5C287B}" dt="2022-08-29T16:22:15.026" v="17265"/>
          <ac:spMkLst>
            <pc:docMk/>
            <pc:sldMk cId="3607387609" sldId="2147470478"/>
            <ac:spMk id="18" creationId="{7AB7F72B-D57D-2BD8-04CC-8ABF826E6FD7}"/>
          </ac:spMkLst>
        </pc:spChg>
        <pc:spChg chg="add mod">
          <ac:chgData name="Miranda Quispe, Bruno Sebastian" userId="5df213b2-8b23-43f1-8137-24ac80ef972a" providerId="ADAL" clId="{E965C011-1063-4CD3-8CA5-A8D35C5C287B}" dt="2022-08-29T16:22:15.026" v="17265"/>
          <ac:spMkLst>
            <pc:docMk/>
            <pc:sldMk cId="3607387609" sldId="2147470478"/>
            <ac:spMk id="19" creationId="{83911434-F374-4745-D4F1-44D2C4C458B7}"/>
          </ac:spMkLst>
        </pc:spChg>
        <pc:spChg chg="add mod">
          <ac:chgData name="Miranda Quispe, Bruno Sebastian" userId="5df213b2-8b23-43f1-8137-24ac80ef972a" providerId="ADAL" clId="{E965C011-1063-4CD3-8CA5-A8D35C5C287B}" dt="2022-08-29T16:22:15.026" v="17265"/>
          <ac:spMkLst>
            <pc:docMk/>
            <pc:sldMk cId="3607387609" sldId="2147470478"/>
            <ac:spMk id="20" creationId="{202899AC-BC3F-B08F-A5AE-DF0D62293069}"/>
          </ac:spMkLst>
        </pc:spChg>
        <pc:spChg chg="add mod">
          <ac:chgData name="Miranda Quispe, Bruno Sebastian" userId="5df213b2-8b23-43f1-8137-24ac80ef972a" providerId="ADAL" clId="{E965C011-1063-4CD3-8CA5-A8D35C5C287B}" dt="2022-08-29T16:22:15.026" v="17265"/>
          <ac:spMkLst>
            <pc:docMk/>
            <pc:sldMk cId="3607387609" sldId="2147470478"/>
            <ac:spMk id="21" creationId="{833AC56F-471D-191F-2665-25EC5EC803DF}"/>
          </ac:spMkLst>
        </pc:spChg>
        <pc:spChg chg="add mod">
          <ac:chgData name="Miranda Quispe, Bruno Sebastian" userId="5df213b2-8b23-43f1-8137-24ac80ef972a" providerId="ADAL" clId="{E965C011-1063-4CD3-8CA5-A8D35C5C287B}" dt="2022-08-29T16:22:15.026" v="17265"/>
          <ac:spMkLst>
            <pc:docMk/>
            <pc:sldMk cId="3607387609" sldId="2147470478"/>
            <ac:spMk id="24" creationId="{0C1C3F92-E2E1-AE18-52CB-93253CC7B91F}"/>
          </ac:spMkLst>
        </pc:spChg>
        <pc:spChg chg="add mod">
          <ac:chgData name="Miranda Quispe, Bruno Sebastian" userId="5df213b2-8b23-43f1-8137-24ac80ef972a" providerId="ADAL" clId="{E965C011-1063-4CD3-8CA5-A8D35C5C287B}" dt="2022-08-29T16:22:15.026" v="17265"/>
          <ac:spMkLst>
            <pc:docMk/>
            <pc:sldMk cId="3607387609" sldId="2147470478"/>
            <ac:spMk id="26" creationId="{8D21301D-788F-9C73-FD83-E0EDB42C2E85}"/>
          </ac:spMkLst>
        </pc:spChg>
        <pc:spChg chg="add mod">
          <ac:chgData name="Miranda Quispe, Bruno Sebastian" userId="5df213b2-8b23-43f1-8137-24ac80ef972a" providerId="ADAL" clId="{E965C011-1063-4CD3-8CA5-A8D35C5C287B}" dt="2022-08-29T16:22:15.026" v="17265"/>
          <ac:spMkLst>
            <pc:docMk/>
            <pc:sldMk cId="3607387609" sldId="2147470478"/>
            <ac:spMk id="31" creationId="{0CFCA8AC-C265-5201-AF6F-9B0FC72455F1}"/>
          </ac:spMkLst>
        </pc:spChg>
        <pc:spChg chg="add mod">
          <ac:chgData name="Miranda Quispe, Bruno Sebastian" userId="5df213b2-8b23-43f1-8137-24ac80ef972a" providerId="ADAL" clId="{E965C011-1063-4CD3-8CA5-A8D35C5C287B}" dt="2022-08-29T16:22:15.026" v="17265"/>
          <ac:spMkLst>
            <pc:docMk/>
            <pc:sldMk cId="3607387609" sldId="2147470478"/>
            <ac:spMk id="32" creationId="{6B9BADD5-1BAD-7EF1-47F3-D02914FBCFAE}"/>
          </ac:spMkLst>
        </pc:spChg>
        <pc:spChg chg="add mod">
          <ac:chgData name="Miranda Quispe, Bruno Sebastian" userId="5df213b2-8b23-43f1-8137-24ac80ef972a" providerId="ADAL" clId="{E965C011-1063-4CD3-8CA5-A8D35C5C287B}" dt="2022-08-29T16:22:15.026" v="17265"/>
          <ac:spMkLst>
            <pc:docMk/>
            <pc:sldMk cId="3607387609" sldId="2147470478"/>
            <ac:spMk id="33" creationId="{C17AF765-45A4-8B69-2BA5-FB0FE94E4AE7}"/>
          </ac:spMkLst>
        </pc:spChg>
        <pc:spChg chg="add mod">
          <ac:chgData name="Miranda Quispe, Bruno Sebastian" userId="5df213b2-8b23-43f1-8137-24ac80ef972a" providerId="ADAL" clId="{E965C011-1063-4CD3-8CA5-A8D35C5C287B}" dt="2022-08-29T17:19:50.321" v="17527" actId="20577"/>
          <ac:spMkLst>
            <pc:docMk/>
            <pc:sldMk cId="3607387609" sldId="2147470478"/>
            <ac:spMk id="35" creationId="{06BD6952-A8F2-6ABF-5CB7-2F37FC1A8027}"/>
          </ac:spMkLst>
        </pc:spChg>
        <pc:spChg chg="add mod">
          <ac:chgData name="Miranda Quispe, Bruno Sebastian" userId="5df213b2-8b23-43f1-8137-24ac80ef972a" providerId="ADAL" clId="{E965C011-1063-4CD3-8CA5-A8D35C5C287B}" dt="2022-08-29T16:22:15.026" v="17265"/>
          <ac:spMkLst>
            <pc:docMk/>
            <pc:sldMk cId="3607387609" sldId="2147470478"/>
            <ac:spMk id="36" creationId="{D0E00C8B-B6BF-1A15-2632-833D34E352FF}"/>
          </ac:spMkLst>
        </pc:spChg>
        <pc:spChg chg="add mod">
          <ac:chgData name="Miranda Quispe, Bruno Sebastian" userId="5df213b2-8b23-43f1-8137-24ac80ef972a" providerId="ADAL" clId="{E965C011-1063-4CD3-8CA5-A8D35C5C287B}" dt="2022-08-29T16:22:15.026" v="17265"/>
          <ac:spMkLst>
            <pc:docMk/>
            <pc:sldMk cId="3607387609" sldId="2147470478"/>
            <ac:spMk id="37" creationId="{45F55CB0-0072-93F0-189C-E570BE60FC0C}"/>
          </ac:spMkLst>
        </pc:spChg>
        <pc:spChg chg="add mod">
          <ac:chgData name="Miranda Quispe, Bruno Sebastian" userId="5df213b2-8b23-43f1-8137-24ac80ef972a" providerId="ADAL" clId="{E965C011-1063-4CD3-8CA5-A8D35C5C287B}" dt="2022-08-29T16:22:15.026" v="17265"/>
          <ac:spMkLst>
            <pc:docMk/>
            <pc:sldMk cId="3607387609" sldId="2147470478"/>
            <ac:spMk id="38" creationId="{DC40416C-EF64-CF4D-6DFB-153EB672D456}"/>
          </ac:spMkLst>
        </pc:spChg>
        <pc:graphicFrameChg chg="add mod">
          <ac:chgData name="Miranda Quispe, Bruno Sebastian" userId="5df213b2-8b23-43f1-8137-24ac80ef972a" providerId="ADAL" clId="{E965C011-1063-4CD3-8CA5-A8D35C5C287B}" dt="2022-08-29T16:22:15.026" v="17265"/>
          <ac:graphicFrameMkLst>
            <pc:docMk/>
            <pc:sldMk cId="3607387609" sldId="2147470478"/>
            <ac:graphicFrameMk id="5" creationId="{CD67974C-C791-1048-9A59-CE601B3F1C94}"/>
          </ac:graphicFrameMkLst>
        </pc:graphicFrameChg>
        <pc:graphicFrameChg chg="add mod">
          <ac:chgData name="Miranda Quispe, Bruno Sebastian" userId="5df213b2-8b23-43f1-8137-24ac80ef972a" providerId="ADAL" clId="{E965C011-1063-4CD3-8CA5-A8D35C5C287B}" dt="2022-08-29T16:22:15.026" v="17265"/>
          <ac:graphicFrameMkLst>
            <pc:docMk/>
            <pc:sldMk cId="3607387609" sldId="2147470478"/>
            <ac:graphicFrameMk id="6" creationId="{BB164869-6103-F596-B005-E7A7BABAECB8}"/>
          </ac:graphicFrameMkLst>
        </pc:graphicFrameChg>
        <pc:picChg chg="add mod">
          <ac:chgData name="Miranda Quispe, Bruno Sebastian" userId="5df213b2-8b23-43f1-8137-24ac80ef972a" providerId="ADAL" clId="{E965C011-1063-4CD3-8CA5-A8D35C5C287B}" dt="2022-08-29T16:22:15.026" v="17265"/>
          <ac:picMkLst>
            <pc:docMk/>
            <pc:sldMk cId="3607387609" sldId="2147470478"/>
            <ac:picMk id="7" creationId="{C4657107-7622-BF15-33F0-64E94ED13D48}"/>
          </ac:picMkLst>
        </pc:picChg>
        <pc:picChg chg="add mod">
          <ac:chgData name="Miranda Quispe, Bruno Sebastian" userId="5df213b2-8b23-43f1-8137-24ac80ef972a" providerId="ADAL" clId="{E965C011-1063-4CD3-8CA5-A8D35C5C287B}" dt="2022-08-29T16:22:15.026" v="17265"/>
          <ac:picMkLst>
            <pc:docMk/>
            <pc:sldMk cId="3607387609" sldId="2147470478"/>
            <ac:picMk id="8" creationId="{0D31E9B0-CF10-0521-2755-4B2324214293}"/>
          </ac:picMkLst>
        </pc:picChg>
        <pc:picChg chg="add mod">
          <ac:chgData name="Miranda Quispe, Bruno Sebastian" userId="5df213b2-8b23-43f1-8137-24ac80ef972a" providerId="ADAL" clId="{E965C011-1063-4CD3-8CA5-A8D35C5C287B}" dt="2022-08-29T16:22:15.026" v="17265"/>
          <ac:picMkLst>
            <pc:docMk/>
            <pc:sldMk cId="3607387609" sldId="2147470478"/>
            <ac:picMk id="9" creationId="{B1F3032C-4B92-F9C4-EAE7-BDADA4FFC547}"/>
          </ac:picMkLst>
        </pc:picChg>
        <pc:picChg chg="add mod">
          <ac:chgData name="Miranda Quispe, Bruno Sebastian" userId="5df213b2-8b23-43f1-8137-24ac80ef972a" providerId="ADAL" clId="{E965C011-1063-4CD3-8CA5-A8D35C5C287B}" dt="2022-08-29T16:22:15.026" v="17265"/>
          <ac:picMkLst>
            <pc:docMk/>
            <pc:sldMk cId="3607387609" sldId="2147470478"/>
            <ac:picMk id="10" creationId="{C41EEED8-A0EC-4880-E3F2-97E12618D6AC}"/>
          </ac:picMkLst>
        </pc:picChg>
        <pc:picChg chg="add mod">
          <ac:chgData name="Miranda Quispe, Bruno Sebastian" userId="5df213b2-8b23-43f1-8137-24ac80ef972a" providerId="ADAL" clId="{E965C011-1063-4CD3-8CA5-A8D35C5C287B}" dt="2022-08-29T16:22:15.026" v="17265"/>
          <ac:picMkLst>
            <pc:docMk/>
            <pc:sldMk cId="3607387609" sldId="2147470478"/>
            <ac:picMk id="11" creationId="{8A066EA1-A74F-DC5B-5D47-C4F437D62053}"/>
          </ac:picMkLst>
        </pc:picChg>
        <pc:picChg chg="add mod">
          <ac:chgData name="Miranda Quispe, Bruno Sebastian" userId="5df213b2-8b23-43f1-8137-24ac80ef972a" providerId="ADAL" clId="{E965C011-1063-4CD3-8CA5-A8D35C5C287B}" dt="2022-08-29T16:22:15.026" v="17265"/>
          <ac:picMkLst>
            <pc:docMk/>
            <pc:sldMk cId="3607387609" sldId="2147470478"/>
            <ac:picMk id="12" creationId="{204865D6-0820-EC00-0B4C-2748CF29240F}"/>
          </ac:picMkLst>
        </pc:picChg>
        <pc:picChg chg="add mod">
          <ac:chgData name="Miranda Quispe, Bruno Sebastian" userId="5df213b2-8b23-43f1-8137-24ac80ef972a" providerId="ADAL" clId="{E965C011-1063-4CD3-8CA5-A8D35C5C287B}" dt="2022-08-29T16:22:15.026" v="17265"/>
          <ac:picMkLst>
            <pc:docMk/>
            <pc:sldMk cId="3607387609" sldId="2147470478"/>
            <ac:picMk id="22" creationId="{E21863F3-A7F8-F50B-711A-B1E4123C95C1}"/>
          </ac:picMkLst>
        </pc:picChg>
        <pc:picChg chg="add mod">
          <ac:chgData name="Miranda Quispe, Bruno Sebastian" userId="5df213b2-8b23-43f1-8137-24ac80ef972a" providerId="ADAL" clId="{E965C011-1063-4CD3-8CA5-A8D35C5C287B}" dt="2022-08-29T16:22:15.026" v="17265"/>
          <ac:picMkLst>
            <pc:docMk/>
            <pc:sldMk cId="3607387609" sldId="2147470478"/>
            <ac:picMk id="23" creationId="{0A88E5C2-4D4C-13D2-8013-780A1257C561}"/>
          </ac:picMkLst>
        </pc:picChg>
        <pc:picChg chg="add mod">
          <ac:chgData name="Miranda Quispe, Bruno Sebastian" userId="5df213b2-8b23-43f1-8137-24ac80ef972a" providerId="ADAL" clId="{E965C011-1063-4CD3-8CA5-A8D35C5C287B}" dt="2022-08-29T16:22:15.026" v="17265"/>
          <ac:picMkLst>
            <pc:docMk/>
            <pc:sldMk cId="3607387609" sldId="2147470478"/>
            <ac:picMk id="25" creationId="{317F4718-066F-224E-0FE7-B1D4ABC762BF}"/>
          </ac:picMkLst>
        </pc:picChg>
        <pc:picChg chg="add mod">
          <ac:chgData name="Miranda Quispe, Bruno Sebastian" userId="5df213b2-8b23-43f1-8137-24ac80ef972a" providerId="ADAL" clId="{E965C011-1063-4CD3-8CA5-A8D35C5C287B}" dt="2022-08-29T16:22:15.026" v="17265"/>
          <ac:picMkLst>
            <pc:docMk/>
            <pc:sldMk cId="3607387609" sldId="2147470478"/>
            <ac:picMk id="27" creationId="{5ED6CB10-C3DA-D582-7582-CC285C6FC439}"/>
          </ac:picMkLst>
        </pc:picChg>
        <pc:picChg chg="add mod">
          <ac:chgData name="Miranda Quispe, Bruno Sebastian" userId="5df213b2-8b23-43f1-8137-24ac80ef972a" providerId="ADAL" clId="{E965C011-1063-4CD3-8CA5-A8D35C5C287B}" dt="2022-08-29T16:22:15.026" v="17265"/>
          <ac:picMkLst>
            <pc:docMk/>
            <pc:sldMk cId="3607387609" sldId="2147470478"/>
            <ac:picMk id="28" creationId="{F38D05F4-82AC-94BD-A848-C5465F5A69C1}"/>
          </ac:picMkLst>
        </pc:picChg>
        <pc:picChg chg="add mod">
          <ac:chgData name="Miranda Quispe, Bruno Sebastian" userId="5df213b2-8b23-43f1-8137-24ac80ef972a" providerId="ADAL" clId="{E965C011-1063-4CD3-8CA5-A8D35C5C287B}" dt="2022-08-29T16:22:15.026" v="17265"/>
          <ac:picMkLst>
            <pc:docMk/>
            <pc:sldMk cId="3607387609" sldId="2147470478"/>
            <ac:picMk id="29" creationId="{E02EF6DC-2CBA-E798-D975-C08914BEF272}"/>
          </ac:picMkLst>
        </pc:picChg>
        <pc:picChg chg="add mod">
          <ac:chgData name="Miranda Quispe, Bruno Sebastian" userId="5df213b2-8b23-43f1-8137-24ac80ef972a" providerId="ADAL" clId="{E965C011-1063-4CD3-8CA5-A8D35C5C287B}" dt="2022-08-29T16:22:15.026" v="17265"/>
          <ac:picMkLst>
            <pc:docMk/>
            <pc:sldMk cId="3607387609" sldId="2147470478"/>
            <ac:picMk id="30" creationId="{13B0AC61-44B4-1297-AB45-B7CE0720B201}"/>
          </ac:picMkLst>
        </pc:picChg>
        <pc:picChg chg="add mod">
          <ac:chgData name="Miranda Quispe, Bruno Sebastian" userId="5df213b2-8b23-43f1-8137-24ac80ef972a" providerId="ADAL" clId="{E965C011-1063-4CD3-8CA5-A8D35C5C287B}" dt="2022-08-29T16:22:15.026" v="17265"/>
          <ac:picMkLst>
            <pc:docMk/>
            <pc:sldMk cId="3607387609" sldId="2147470478"/>
            <ac:picMk id="34" creationId="{6D6D5FAA-C913-7458-81B8-B1259D3048E9}"/>
          </ac:picMkLst>
        </pc:picChg>
        <pc:picChg chg="add mod">
          <ac:chgData name="Miranda Quispe, Bruno Sebastian" userId="5df213b2-8b23-43f1-8137-24ac80ef972a" providerId="ADAL" clId="{E965C011-1063-4CD3-8CA5-A8D35C5C287B}" dt="2022-08-29T16:22:22.130" v="17266"/>
          <ac:picMkLst>
            <pc:docMk/>
            <pc:sldMk cId="3607387609" sldId="2147470478"/>
            <ac:picMk id="39" creationId="{086D3DE2-BD36-7D1B-48E4-FBF91D4FD306}"/>
          </ac:picMkLst>
        </pc:picChg>
      </pc:sldChg>
      <pc:sldChg chg="addSp delSp modSp new mod">
        <pc:chgData name="Miranda Quispe, Bruno Sebastian" userId="5df213b2-8b23-43f1-8137-24ac80ef972a" providerId="ADAL" clId="{E965C011-1063-4CD3-8CA5-A8D35C5C287B}" dt="2022-08-29T17:35:33.196" v="17764" actId="1076"/>
        <pc:sldMkLst>
          <pc:docMk/>
          <pc:sldMk cId="2284306167" sldId="2147470479"/>
        </pc:sldMkLst>
        <pc:spChg chg="mod">
          <ac:chgData name="Miranda Quispe, Bruno Sebastian" userId="5df213b2-8b23-43f1-8137-24ac80ef972a" providerId="ADAL" clId="{E965C011-1063-4CD3-8CA5-A8D35C5C287B}" dt="2022-08-29T16:51:36.729" v="17311" actId="14100"/>
          <ac:spMkLst>
            <pc:docMk/>
            <pc:sldMk cId="2284306167" sldId="2147470479"/>
            <ac:spMk id="3" creationId="{C1753FB9-D2C4-53C0-5FDB-2BC43CF11533}"/>
          </ac:spMkLst>
        </pc:spChg>
        <pc:spChg chg="del">
          <ac:chgData name="Miranda Quispe, Bruno Sebastian" userId="5df213b2-8b23-43f1-8137-24ac80ef972a" providerId="ADAL" clId="{E965C011-1063-4CD3-8CA5-A8D35C5C287B}" dt="2022-08-29T16:51:07.924" v="17268" actId="478"/>
          <ac:spMkLst>
            <pc:docMk/>
            <pc:sldMk cId="2284306167" sldId="2147470479"/>
            <ac:spMk id="4" creationId="{071809AE-758D-2CC0-89F3-88A79A6CEF17}"/>
          </ac:spMkLst>
        </pc:spChg>
        <pc:spChg chg="add del">
          <ac:chgData name="Miranda Quispe, Bruno Sebastian" userId="5df213b2-8b23-43f1-8137-24ac80ef972a" providerId="ADAL" clId="{E965C011-1063-4CD3-8CA5-A8D35C5C287B}" dt="2022-08-29T16:51:15.351" v="17270" actId="478"/>
          <ac:spMkLst>
            <pc:docMk/>
            <pc:sldMk cId="2284306167" sldId="2147470479"/>
            <ac:spMk id="6" creationId="{C6F31936-32DB-3290-2DFD-ED55CDED6739}"/>
          </ac:spMkLst>
        </pc:spChg>
        <pc:spChg chg="add mod">
          <ac:chgData name="Miranda Quispe, Bruno Sebastian" userId="5df213b2-8b23-43f1-8137-24ac80ef972a" providerId="ADAL" clId="{E965C011-1063-4CD3-8CA5-A8D35C5C287B}" dt="2022-08-29T17:35:33.196" v="17764" actId="1076"/>
          <ac:spMkLst>
            <pc:docMk/>
            <pc:sldMk cId="2284306167" sldId="2147470479"/>
            <ac:spMk id="9" creationId="{A9EC52A6-67A4-6982-D194-439956F01086}"/>
          </ac:spMkLst>
        </pc:spChg>
        <pc:picChg chg="add mod">
          <ac:chgData name="Miranda Quispe, Bruno Sebastian" userId="5df213b2-8b23-43f1-8137-24ac80ef972a" providerId="ADAL" clId="{E965C011-1063-4CD3-8CA5-A8D35C5C287B}" dt="2022-08-29T17:00:40.071" v="17316"/>
          <ac:picMkLst>
            <pc:docMk/>
            <pc:sldMk cId="2284306167" sldId="2147470479"/>
            <ac:picMk id="8" creationId="{E3D37477-3570-3CD2-1555-502285DBFEFB}"/>
          </ac:picMkLst>
        </pc:picChg>
      </pc:sldChg>
      <pc:sldChg chg="addSp delSp modSp new mod ord">
        <pc:chgData name="Miranda Quispe, Bruno Sebastian" userId="5df213b2-8b23-43f1-8137-24ac80ef972a" providerId="ADAL" clId="{E965C011-1063-4CD3-8CA5-A8D35C5C287B}" dt="2022-08-31T16:04:09.372" v="20234" actId="20577"/>
        <pc:sldMkLst>
          <pc:docMk/>
          <pc:sldMk cId="2927046441" sldId="2147470480"/>
        </pc:sldMkLst>
        <pc:spChg chg="mod">
          <ac:chgData name="Miranda Quispe, Bruno Sebastian" userId="5df213b2-8b23-43f1-8137-24ac80ef972a" providerId="ADAL" clId="{E965C011-1063-4CD3-8CA5-A8D35C5C287B}" dt="2022-08-29T17:03:27.814" v="17389" actId="14100"/>
          <ac:spMkLst>
            <pc:docMk/>
            <pc:sldMk cId="2927046441" sldId="2147470480"/>
            <ac:spMk id="3" creationId="{1FE49BFA-3DEA-8CA1-F9BA-BFD446885728}"/>
          </ac:spMkLst>
        </pc:spChg>
        <pc:spChg chg="del">
          <ac:chgData name="Miranda Quispe, Bruno Sebastian" userId="5df213b2-8b23-43f1-8137-24ac80ef972a" providerId="ADAL" clId="{E965C011-1063-4CD3-8CA5-A8D35C5C287B}" dt="2022-08-29T17:03:30.229" v="17390" actId="478"/>
          <ac:spMkLst>
            <pc:docMk/>
            <pc:sldMk cId="2927046441" sldId="2147470480"/>
            <ac:spMk id="4" creationId="{A29250B6-EC8D-20BB-40C7-4E7E1B106E85}"/>
          </ac:spMkLst>
        </pc:spChg>
        <pc:spChg chg="add del mod">
          <ac:chgData name="Miranda Quispe, Bruno Sebastian" userId="5df213b2-8b23-43f1-8137-24ac80ef972a" providerId="ADAL" clId="{E965C011-1063-4CD3-8CA5-A8D35C5C287B}" dt="2022-08-29T17:16:06.039" v="17394"/>
          <ac:spMkLst>
            <pc:docMk/>
            <pc:sldMk cId="2927046441" sldId="2147470480"/>
            <ac:spMk id="7" creationId="{2CEEC312-F2FB-9D0A-3C06-9A009FD1EEA7}"/>
          </ac:spMkLst>
        </pc:spChg>
        <pc:spChg chg="add mod">
          <ac:chgData name="Miranda Quispe, Bruno Sebastian" userId="5df213b2-8b23-43f1-8137-24ac80ef972a" providerId="ADAL" clId="{E965C011-1063-4CD3-8CA5-A8D35C5C287B}" dt="2022-08-29T17:19:31.043" v="17503" actId="108"/>
          <ac:spMkLst>
            <pc:docMk/>
            <pc:sldMk cId="2927046441" sldId="2147470480"/>
            <ac:spMk id="8" creationId="{2AAFF66F-4EE6-830E-C954-3CFBE2E9F755}"/>
          </ac:spMkLst>
        </pc:spChg>
        <pc:spChg chg="add mod">
          <ac:chgData name="Miranda Quispe, Bruno Sebastian" userId="5df213b2-8b23-43f1-8137-24ac80ef972a" providerId="ADAL" clId="{E965C011-1063-4CD3-8CA5-A8D35C5C287B}" dt="2022-08-29T17:19:13.973" v="17500" actId="1076"/>
          <ac:spMkLst>
            <pc:docMk/>
            <pc:sldMk cId="2927046441" sldId="2147470480"/>
            <ac:spMk id="11" creationId="{35139CC1-7B93-1755-B55B-50C2C6DA6E09}"/>
          </ac:spMkLst>
        </pc:spChg>
        <pc:spChg chg="add mod">
          <ac:chgData name="Miranda Quispe, Bruno Sebastian" userId="5df213b2-8b23-43f1-8137-24ac80ef972a" providerId="ADAL" clId="{E965C011-1063-4CD3-8CA5-A8D35C5C287B}" dt="2022-08-29T17:19:13.973" v="17500" actId="1076"/>
          <ac:spMkLst>
            <pc:docMk/>
            <pc:sldMk cId="2927046441" sldId="2147470480"/>
            <ac:spMk id="12" creationId="{85E8AB3D-E91D-ACCA-21BA-A3038954FFEB}"/>
          </ac:spMkLst>
        </pc:spChg>
        <pc:spChg chg="add mod">
          <ac:chgData name="Miranda Quispe, Bruno Sebastian" userId="5df213b2-8b23-43f1-8137-24ac80ef972a" providerId="ADAL" clId="{E965C011-1063-4CD3-8CA5-A8D35C5C287B}" dt="2022-08-29T17:19:13.973" v="17500" actId="1076"/>
          <ac:spMkLst>
            <pc:docMk/>
            <pc:sldMk cId="2927046441" sldId="2147470480"/>
            <ac:spMk id="13" creationId="{180DC2CD-5443-543E-7A6F-E1DB3817CE6C}"/>
          </ac:spMkLst>
        </pc:spChg>
        <pc:spChg chg="add mod">
          <ac:chgData name="Miranda Quispe, Bruno Sebastian" userId="5df213b2-8b23-43f1-8137-24ac80ef972a" providerId="ADAL" clId="{E965C011-1063-4CD3-8CA5-A8D35C5C287B}" dt="2022-08-29T17:19:13.973" v="17500" actId="1076"/>
          <ac:spMkLst>
            <pc:docMk/>
            <pc:sldMk cId="2927046441" sldId="2147470480"/>
            <ac:spMk id="14" creationId="{002F104D-A696-06F2-9C1A-88E324EDDD48}"/>
          </ac:spMkLst>
        </pc:spChg>
        <pc:spChg chg="add mod">
          <ac:chgData name="Miranda Quispe, Bruno Sebastian" userId="5df213b2-8b23-43f1-8137-24ac80ef972a" providerId="ADAL" clId="{E965C011-1063-4CD3-8CA5-A8D35C5C287B}" dt="2022-08-29T17:19:13.973" v="17500" actId="1076"/>
          <ac:spMkLst>
            <pc:docMk/>
            <pc:sldMk cId="2927046441" sldId="2147470480"/>
            <ac:spMk id="15" creationId="{208606B0-4EC0-16B8-C328-F2A21A7A0B47}"/>
          </ac:spMkLst>
        </pc:spChg>
        <pc:spChg chg="add mod">
          <ac:chgData name="Miranda Quispe, Bruno Sebastian" userId="5df213b2-8b23-43f1-8137-24ac80ef972a" providerId="ADAL" clId="{E965C011-1063-4CD3-8CA5-A8D35C5C287B}" dt="2022-08-29T17:19:13.973" v="17500" actId="1076"/>
          <ac:spMkLst>
            <pc:docMk/>
            <pc:sldMk cId="2927046441" sldId="2147470480"/>
            <ac:spMk id="16" creationId="{A6B61694-EA4C-9D68-BC4F-AE67D07B91CB}"/>
          </ac:spMkLst>
        </pc:spChg>
        <pc:spChg chg="add mod">
          <ac:chgData name="Miranda Quispe, Bruno Sebastian" userId="5df213b2-8b23-43f1-8137-24ac80ef972a" providerId="ADAL" clId="{E965C011-1063-4CD3-8CA5-A8D35C5C287B}" dt="2022-08-29T17:19:13.973" v="17500" actId="1076"/>
          <ac:spMkLst>
            <pc:docMk/>
            <pc:sldMk cId="2927046441" sldId="2147470480"/>
            <ac:spMk id="17" creationId="{B32C1708-6D43-DD2E-A222-0EE0A6A66729}"/>
          </ac:spMkLst>
        </pc:spChg>
        <pc:spChg chg="add mod">
          <ac:chgData name="Miranda Quispe, Bruno Sebastian" userId="5df213b2-8b23-43f1-8137-24ac80ef972a" providerId="ADAL" clId="{E965C011-1063-4CD3-8CA5-A8D35C5C287B}" dt="2022-08-29T17:19:13.973" v="17500" actId="1076"/>
          <ac:spMkLst>
            <pc:docMk/>
            <pc:sldMk cId="2927046441" sldId="2147470480"/>
            <ac:spMk id="18" creationId="{CC84B774-3099-7852-5B08-4F9A7F54A1A7}"/>
          </ac:spMkLst>
        </pc:spChg>
        <pc:spChg chg="add del mod">
          <ac:chgData name="Miranda Quispe, Bruno Sebastian" userId="5df213b2-8b23-43f1-8137-24ac80ef972a" providerId="ADAL" clId="{E965C011-1063-4CD3-8CA5-A8D35C5C287B}" dt="2022-08-29T17:17:08.947" v="17404"/>
          <ac:spMkLst>
            <pc:docMk/>
            <pc:sldMk cId="2927046441" sldId="2147470480"/>
            <ac:spMk id="19" creationId="{83BDD1F5-A5F2-8AA6-967B-9EB97ED7BCE7}"/>
          </ac:spMkLst>
        </pc:spChg>
        <pc:spChg chg="add del mod">
          <ac:chgData name="Miranda Quispe, Bruno Sebastian" userId="5df213b2-8b23-43f1-8137-24ac80ef972a" providerId="ADAL" clId="{E965C011-1063-4CD3-8CA5-A8D35C5C287B}" dt="2022-08-29T17:17:08.947" v="17404"/>
          <ac:spMkLst>
            <pc:docMk/>
            <pc:sldMk cId="2927046441" sldId="2147470480"/>
            <ac:spMk id="22" creationId="{A43E42FD-E44B-F53F-4362-232E4F1FA5EF}"/>
          </ac:spMkLst>
        </pc:spChg>
        <pc:spChg chg="add del mod">
          <ac:chgData name="Miranda Quispe, Bruno Sebastian" userId="5df213b2-8b23-43f1-8137-24ac80ef972a" providerId="ADAL" clId="{E965C011-1063-4CD3-8CA5-A8D35C5C287B}" dt="2022-08-29T17:17:08.947" v="17404"/>
          <ac:spMkLst>
            <pc:docMk/>
            <pc:sldMk cId="2927046441" sldId="2147470480"/>
            <ac:spMk id="23" creationId="{D79212A9-5575-8B71-F1DF-06502739AC5A}"/>
          </ac:spMkLst>
        </pc:spChg>
        <pc:spChg chg="add del mod">
          <ac:chgData name="Miranda Quispe, Bruno Sebastian" userId="5df213b2-8b23-43f1-8137-24ac80ef972a" providerId="ADAL" clId="{E965C011-1063-4CD3-8CA5-A8D35C5C287B}" dt="2022-08-29T17:17:08.947" v="17404"/>
          <ac:spMkLst>
            <pc:docMk/>
            <pc:sldMk cId="2927046441" sldId="2147470480"/>
            <ac:spMk id="24" creationId="{3E59079A-ECCA-B5AE-8D32-E08E1D7A4359}"/>
          </ac:spMkLst>
        </pc:spChg>
        <pc:spChg chg="add del mod">
          <ac:chgData name="Miranda Quispe, Bruno Sebastian" userId="5df213b2-8b23-43f1-8137-24ac80ef972a" providerId="ADAL" clId="{E965C011-1063-4CD3-8CA5-A8D35C5C287B}" dt="2022-08-29T17:17:08.947" v="17404"/>
          <ac:spMkLst>
            <pc:docMk/>
            <pc:sldMk cId="2927046441" sldId="2147470480"/>
            <ac:spMk id="25" creationId="{4E3832F2-E4F3-1A0B-720C-1880827B82B5}"/>
          </ac:spMkLst>
        </pc:spChg>
        <pc:spChg chg="add del mod">
          <ac:chgData name="Miranda Quispe, Bruno Sebastian" userId="5df213b2-8b23-43f1-8137-24ac80ef972a" providerId="ADAL" clId="{E965C011-1063-4CD3-8CA5-A8D35C5C287B}" dt="2022-08-29T17:17:08.947" v="17404"/>
          <ac:spMkLst>
            <pc:docMk/>
            <pc:sldMk cId="2927046441" sldId="2147470480"/>
            <ac:spMk id="26" creationId="{2CCBD42C-A11F-45E7-30CC-5B5AF888F6BD}"/>
          </ac:spMkLst>
        </pc:spChg>
        <pc:spChg chg="add del mod">
          <ac:chgData name="Miranda Quispe, Bruno Sebastian" userId="5df213b2-8b23-43f1-8137-24ac80ef972a" providerId="ADAL" clId="{E965C011-1063-4CD3-8CA5-A8D35C5C287B}" dt="2022-08-29T17:17:08.947" v="17404"/>
          <ac:spMkLst>
            <pc:docMk/>
            <pc:sldMk cId="2927046441" sldId="2147470480"/>
            <ac:spMk id="27" creationId="{988E8788-DF7F-CC05-2EA2-DFDA36A83418}"/>
          </ac:spMkLst>
        </pc:spChg>
        <pc:spChg chg="add del mod">
          <ac:chgData name="Miranda Quispe, Bruno Sebastian" userId="5df213b2-8b23-43f1-8137-24ac80ef972a" providerId="ADAL" clId="{E965C011-1063-4CD3-8CA5-A8D35C5C287B}" dt="2022-08-29T17:17:08.947" v="17404"/>
          <ac:spMkLst>
            <pc:docMk/>
            <pc:sldMk cId="2927046441" sldId="2147470480"/>
            <ac:spMk id="28" creationId="{CC9B3C4A-38EC-D5FB-E841-A845076AABB9}"/>
          </ac:spMkLst>
        </pc:spChg>
        <pc:spChg chg="add del mod">
          <ac:chgData name="Miranda Quispe, Bruno Sebastian" userId="5df213b2-8b23-43f1-8137-24ac80ef972a" providerId="ADAL" clId="{E965C011-1063-4CD3-8CA5-A8D35C5C287B}" dt="2022-08-29T17:17:08.947" v="17404"/>
          <ac:spMkLst>
            <pc:docMk/>
            <pc:sldMk cId="2927046441" sldId="2147470480"/>
            <ac:spMk id="29" creationId="{801752CE-1A8A-D48B-983B-51AC23A82CC5}"/>
          </ac:spMkLst>
        </pc:spChg>
        <pc:spChg chg="add mod">
          <ac:chgData name="Miranda Quispe, Bruno Sebastian" userId="5df213b2-8b23-43f1-8137-24ac80ef972a" providerId="ADAL" clId="{E965C011-1063-4CD3-8CA5-A8D35C5C287B}" dt="2022-08-29T17:19:59.098" v="17544" actId="20577"/>
          <ac:spMkLst>
            <pc:docMk/>
            <pc:sldMk cId="2927046441" sldId="2147470480"/>
            <ac:spMk id="30" creationId="{F7DE7626-C58D-7B18-F37D-99C9470EBD89}"/>
          </ac:spMkLst>
        </pc:spChg>
        <pc:graphicFrameChg chg="add del mod">
          <ac:chgData name="Miranda Quispe, Bruno Sebastian" userId="5df213b2-8b23-43f1-8137-24ac80ef972a" providerId="ADAL" clId="{E965C011-1063-4CD3-8CA5-A8D35C5C287B}" dt="2022-08-29T17:03:56.322" v="17392"/>
          <ac:graphicFrameMkLst>
            <pc:docMk/>
            <pc:sldMk cId="2927046441" sldId="2147470480"/>
            <ac:graphicFrameMk id="5" creationId="{9CF194C9-C700-59FF-6BB0-BD06B6CF9144}"/>
          </ac:graphicFrameMkLst>
        </pc:graphicFrameChg>
        <pc:graphicFrameChg chg="add del mod">
          <ac:chgData name="Miranda Quispe, Bruno Sebastian" userId="5df213b2-8b23-43f1-8137-24ac80ef972a" providerId="ADAL" clId="{E965C011-1063-4CD3-8CA5-A8D35C5C287B}" dt="2022-08-29T17:03:56.322" v="17392"/>
          <ac:graphicFrameMkLst>
            <pc:docMk/>
            <pc:sldMk cId="2927046441" sldId="2147470480"/>
            <ac:graphicFrameMk id="6" creationId="{0938B2C3-EB17-AA76-A6AC-4A8CA4F4D2A9}"/>
          </ac:graphicFrameMkLst>
        </pc:graphicFrameChg>
        <pc:graphicFrameChg chg="add mod">
          <ac:chgData name="Miranda Quispe, Bruno Sebastian" userId="5df213b2-8b23-43f1-8137-24ac80ef972a" providerId="ADAL" clId="{E965C011-1063-4CD3-8CA5-A8D35C5C287B}" dt="2022-08-31T16:04:09.372" v="20234" actId="20577"/>
          <ac:graphicFrameMkLst>
            <pc:docMk/>
            <pc:sldMk cId="2927046441" sldId="2147470480"/>
            <ac:graphicFrameMk id="9" creationId="{C69A9D76-6887-17EE-C6EA-2522766AB466}"/>
          </ac:graphicFrameMkLst>
        </pc:graphicFrameChg>
        <pc:graphicFrameChg chg="add mod">
          <ac:chgData name="Miranda Quispe, Bruno Sebastian" userId="5df213b2-8b23-43f1-8137-24ac80ef972a" providerId="ADAL" clId="{E965C011-1063-4CD3-8CA5-A8D35C5C287B}" dt="2022-08-29T17:19:13.973" v="17500" actId="1076"/>
          <ac:graphicFrameMkLst>
            <pc:docMk/>
            <pc:sldMk cId="2927046441" sldId="2147470480"/>
            <ac:graphicFrameMk id="10" creationId="{2025DE90-BD88-A217-750B-82AA9ECAD063}"/>
          </ac:graphicFrameMkLst>
        </pc:graphicFrameChg>
        <pc:graphicFrameChg chg="add del mod">
          <ac:chgData name="Miranda Quispe, Bruno Sebastian" userId="5df213b2-8b23-43f1-8137-24ac80ef972a" providerId="ADAL" clId="{E965C011-1063-4CD3-8CA5-A8D35C5C287B}" dt="2022-08-29T17:17:08.947" v="17404"/>
          <ac:graphicFrameMkLst>
            <pc:docMk/>
            <pc:sldMk cId="2927046441" sldId="2147470480"/>
            <ac:graphicFrameMk id="20" creationId="{11B1870A-6E4D-80B4-A5BB-AB044EE7969D}"/>
          </ac:graphicFrameMkLst>
        </pc:graphicFrameChg>
        <pc:graphicFrameChg chg="add del mod">
          <ac:chgData name="Miranda Quispe, Bruno Sebastian" userId="5df213b2-8b23-43f1-8137-24ac80ef972a" providerId="ADAL" clId="{E965C011-1063-4CD3-8CA5-A8D35C5C287B}" dt="2022-08-29T17:17:08.947" v="17404"/>
          <ac:graphicFrameMkLst>
            <pc:docMk/>
            <pc:sldMk cId="2927046441" sldId="2147470480"/>
            <ac:graphicFrameMk id="21" creationId="{88F3CF68-7428-E377-9D6C-521E965906F1}"/>
          </ac:graphicFrameMkLst>
        </pc:graphicFrameChg>
      </pc:sldChg>
      <pc:sldChg chg="addSp delSp modSp add mod setBg">
        <pc:chgData name="Miranda Quispe, Bruno Sebastian" userId="5df213b2-8b23-43f1-8137-24ac80ef972a" providerId="ADAL" clId="{E965C011-1063-4CD3-8CA5-A8D35C5C287B}" dt="2022-08-29T19:42:16.225" v="18064" actId="478"/>
        <pc:sldMkLst>
          <pc:docMk/>
          <pc:sldMk cId="334788663" sldId="2147470481"/>
        </pc:sldMkLst>
        <pc:spChg chg="mod">
          <ac:chgData name="Miranda Quispe, Bruno Sebastian" userId="5df213b2-8b23-43f1-8137-24ac80ef972a" providerId="ADAL" clId="{E965C011-1063-4CD3-8CA5-A8D35C5C287B}" dt="2022-08-29T17:31:11.005" v="17637" actId="20577"/>
          <ac:spMkLst>
            <pc:docMk/>
            <pc:sldMk cId="334788663" sldId="2147470481"/>
            <ac:spMk id="7" creationId="{834DE61B-69D4-648C-09CD-329073E45B01}"/>
          </ac:spMkLst>
        </pc:spChg>
        <pc:spChg chg="mod">
          <ac:chgData name="Miranda Quispe, Bruno Sebastian" userId="5df213b2-8b23-43f1-8137-24ac80ef972a" providerId="ADAL" clId="{E965C011-1063-4CD3-8CA5-A8D35C5C287B}" dt="2022-08-29T17:31:36.719" v="17716" actId="20577"/>
          <ac:spMkLst>
            <pc:docMk/>
            <pc:sldMk cId="334788663" sldId="2147470481"/>
            <ac:spMk id="8" creationId="{E6971E8D-A4BA-1641-A29A-4E7A935C21F1}"/>
          </ac:spMkLst>
        </pc:spChg>
        <pc:picChg chg="add del">
          <ac:chgData name="Miranda Quispe, Bruno Sebastian" userId="5df213b2-8b23-43f1-8137-24ac80ef972a" providerId="ADAL" clId="{E965C011-1063-4CD3-8CA5-A8D35C5C287B}" dt="2022-08-29T19:42:16.225" v="18064" actId="478"/>
          <ac:picMkLst>
            <pc:docMk/>
            <pc:sldMk cId="334788663" sldId="2147470481"/>
            <ac:picMk id="2050" creationId="{154F3482-8019-3C32-61F4-C0B4C95AD0AB}"/>
          </ac:picMkLst>
        </pc:picChg>
        <pc:picChg chg="add del mod">
          <ac:chgData name="Miranda Quispe, Bruno Sebastian" userId="5df213b2-8b23-43f1-8137-24ac80ef972a" providerId="ADAL" clId="{E965C011-1063-4CD3-8CA5-A8D35C5C287B}" dt="2022-08-29T17:39:24.368" v="17769" actId="478"/>
          <ac:picMkLst>
            <pc:docMk/>
            <pc:sldMk cId="334788663" sldId="2147470481"/>
            <ac:picMk id="4098" creationId="{2E87FB9D-A96F-1BDA-FF05-F6BA855A8690}"/>
          </ac:picMkLst>
        </pc:picChg>
        <pc:picChg chg="add mod">
          <ac:chgData name="Miranda Quispe, Bruno Sebastian" userId="5df213b2-8b23-43f1-8137-24ac80ef972a" providerId="ADAL" clId="{E965C011-1063-4CD3-8CA5-A8D35C5C287B}" dt="2022-08-29T19:42:14.587" v="18063" actId="167"/>
          <ac:picMkLst>
            <pc:docMk/>
            <pc:sldMk cId="334788663" sldId="2147470481"/>
            <ac:picMk id="4100" creationId="{F0FC4572-D0D5-F456-FFAE-D8F42E9DADB4}"/>
          </ac:picMkLst>
        </pc:picChg>
      </pc:sldChg>
      <pc:sldChg chg="addSp delSp modSp new mod modClrScheme chgLayout modNotesTx">
        <pc:chgData name="Miranda Quispe, Bruno Sebastian" userId="5df213b2-8b23-43f1-8137-24ac80ef972a" providerId="ADAL" clId="{E965C011-1063-4CD3-8CA5-A8D35C5C287B}" dt="2022-09-05T20:24:51.265" v="23153" actId="20577"/>
        <pc:sldMkLst>
          <pc:docMk/>
          <pc:sldMk cId="3735948153" sldId="2147470482"/>
        </pc:sldMkLst>
        <pc:spChg chg="del mod ord">
          <ac:chgData name="Miranda Quispe, Bruno Sebastian" userId="5df213b2-8b23-43f1-8137-24ac80ef972a" providerId="ADAL" clId="{E965C011-1063-4CD3-8CA5-A8D35C5C287B}" dt="2022-08-29T19:28:59.194" v="17771" actId="700"/>
          <ac:spMkLst>
            <pc:docMk/>
            <pc:sldMk cId="3735948153" sldId="2147470482"/>
            <ac:spMk id="2" creationId="{82B6FDB0-5D40-95DE-C774-78CBE9C89FC1}"/>
          </ac:spMkLst>
        </pc:spChg>
        <pc:spChg chg="del mod ord">
          <ac:chgData name="Miranda Quispe, Bruno Sebastian" userId="5df213b2-8b23-43f1-8137-24ac80ef972a" providerId="ADAL" clId="{E965C011-1063-4CD3-8CA5-A8D35C5C287B}" dt="2022-08-29T19:28:59.194" v="17771" actId="700"/>
          <ac:spMkLst>
            <pc:docMk/>
            <pc:sldMk cId="3735948153" sldId="2147470482"/>
            <ac:spMk id="3" creationId="{6B17BD56-77FE-2CDE-883B-B927EA6014FC}"/>
          </ac:spMkLst>
        </pc:spChg>
        <pc:spChg chg="add mod ord">
          <ac:chgData name="Miranda Quispe, Bruno Sebastian" userId="5df213b2-8b23-43f1-8137-24ac80ef972a" providerId="ADAL" clId="{E965C011-1063-4CD3-8CA5-A8D35C5C287B}" dt="2022-08-29T19:30:47.389" v="17838" actId="700"/>
          <ac:spMkLst>
            <pc:docMk/>
            <pc:sldMk cId="3735948153" sldId="2147470482"/>
            <ac:spMk id="4" creationId="{62F93EF1-CDDF-EA55-69EE-53E6D9E4FAC8}"/>
          </ac:spMkLst>
        </pc:spChg>
        <pc:spChg chg="add del mod ord">
          <ac:chgData name="Miranda Quispe, Bruno Sebastian" userId="5df213b2-8b23-43f1-8137-24ac80ef972a" providerId="ADAL" clId="{E965C011-1063-4CD3-8CA5-A8D35C5C287B}" dt="2022-08-29T19:29:03.992" v="17772" actId="478"/>
          <ac:spMkLst>
            <pc:docMk/>
            <pc:sldMk cId="3735948153" sldId="2147470482"/>
            <ac:spMk id="5" creationId="{CA3C1066-16BA-868E-FD2E-A92E08B5BB80}"/>
          </ac:spMkLst>
        </pc:spChg>
        <pc:spChg chg="add mod">
          <ac:chgData name="Miranda Quispe, Bruno Sebastian" userId="5df213b2-8b23-43f1-8137-24ac80ef972a" providerId="ADAL" clId="{E965C011-1063-4CD3-8CA5-A8D35C5C287B}" dt="2022-08-29T19:29:43.414" v="17836"/>
          <ac:spMkLst>
            <pc:docMk/>
            <pc:sldMk cId="3735948153" sldId="2147470482"/>
            <ac:spMk id="6" creationId="{5C6FE9C1-FD7C-4981-7915-25E866361ECE}"/>
          </ac:spMkLst>
        </pc:spChg>
        <pc:spChg chg="add mod">
          <ac:chgData name="Miranda Quispe, Bruno Sebastian" userId="5df213b2-8b23-43f1-8137-24ac80ef972a" providerId="ADAL" clId="{E965C011-1063-4CD3-8CA5-A8D35C5C287B}" dt="2022-08-29T19:29:43.414" v="17836"/>
          <ac:spMkLst>
            <pc:docMk/>
            <pc:sldMk cId="3735948153" sldId="2147470482"/>
            <ac:spMk id="7" creationId="{116266FD-8084-CA62-42F3-BAB06C8DA109}"/>
          </ac:spMkLst>
        </pc:spChg>
        <pc:spChg chg="add mod">
          <ac:chgData name="Miranda Quispe, Bruno Sebastian" userId="5df213b2-8b23-43f1-8137-24ac80ef972a" providerId="ADAL" clId="{E965C011-1063-4CD3-8CA5-A8D35C5C287B}" dt="2022-08-29T19:29:43.414" v="17836"/>
          <ac:spMkLst>
            <pc:docMk/>
            <pc:sldMk cId="3735948153" sldId="2147470482"/>
            <ac:spMk id="8" creationId="{77A3FF8B-9285-D731-1D35-88D24365C7CD}"/>
          </ac:spMkLst>
        </pc:spChg>
        <pc:spChg chg="add mod">
          <ac:chgData name="Miranda Quispe, Bruno Sebastian" userId="5df213b2-8b23-43f1-8137-24ac80ef972a" providerId="ADAL" clId="{E965C011-1063-4CD3-8CA5-A8D35C5C287B}" dt="2022-08-29T19:29:43.414" v="17836"/>
          <ac:spMkLst>
            <pc:docMk/>
            <pc:sldMk cId="3735948153" sldId="2147470482"/>
            <ac:spMk id="9" creationId="{21D30807-4441-BCAB-AD07-F396683256F1}"/>
          </ac:spMkLst>
        </pc:spChg>
        <pc:spChg chg="add mod">
          <ac:chgData name="Miranda Quispe, Bruno Sebastian" userId="5df213b2-8b23-43f1-8137-24ac80ef972a" providerId="ADAL" clId="{E965C011-1063-4CD3-8CA5-A8D35C5C287B}" dt="2022-08-29T19:29:43.414" v="17836"/>
          <ac:spMkLst>
            <pc:docMk/>
            <pc:sldMk cId="3735948153" sldId="2147470482"/>
            <ac:spMk id="10" creationId="{9EA2FE17-2250-6434-0A73-F8519BD70E2A}"/>
          </ac:spMkLst>
        </pc:spChg>
        <pc:spChg chg="add mod">
          <ac:chgData name="Miranda Quispe, Bruno Sebastian" userId="5df213b2-8b23-43f1-8137-24ac80ef972a" providerId="ADAL" clId="{E965C011-1063-4CD3-8CA5-A8D35C5C287B}" dt="2022-08-29T19:29:43.414" v="17836"/>
          <ac:spMkLst>
            <pc:docMk/>
            <pc:sldMk cId="3735948153" sldId="2147470482"/>
            <ac:spMk id="11" creationId="{02A8D38D-C785-EF87-161C-B06CFCD31907}"/>
          </ac:spMkLst>
        </pc:spChg>
        <pc:spChg chg="add mod">
          <ac:chgData name="Miranda Quispe, Bruno Sebastian" userId="5df213b2-8b23-43f1-8137-24ac80ef972a" providerId="ADAL" clId="{E965C011-1063-4CD3-8CA5-A8D35C5C287B}" dt="2022-08-29T19:29:43.414" v="17836"/>
          <ac:spMkLst>
            <pc:docMk/>
            <pc:sldMk cId="3735948153" sldId="2147470482"/>
            <ac:spMk id="12" creationId="{C87C3BBE-3F19-71B5-1A31-00BC534E8FD7}"/>
          </ac:spMkLst>
        </pc:spChg>
        <pc:spChg chg="add mod">
          <ac:chgData name="Miranda Quispe, Bruno Sebastian" userId="5df213b2-8b23-43f1-8137-24ac80ef972a" providerId="ADAL" clId="{E965C011-1063-4CD3-8CA5-A8D35C5C287B}" dt="2022-08-29T19:29:43.414" v="17836"/>
          <ac:spMkLst>
            <pc:docMk/>
            <pc:sldMk cId="3735948153" sldId="2147470482"/>
            <ac:spMk id="13" creationId="{097D5D98-3F98-7BE6-741D-3E49631E9D28}"/>
          </ac:spMkLst>
        </pc:spChg>
        <pc:spChg chg="add mod">
          <ac:chgData name="Miranda Quispe, Bruno Sebastian" userId="5df213b2-8b23-43f1-8137-24ac80ef972a" providerId="ADAL" clId="{E965C011-1063-4CD3-8CA5-A8D35C5C287B}" dt="2022-08-29T19:29:43.414" v="17836"/>
          <ac:spMkLst>
            <pc:docMk/>
            <pc:sldMk cId="3735948153" sldId="2147470482"/>
            <ac:spMk id="14" creationId="{F62E6ACD-0745-48B5-B5D1-AF91763AC8E4}"/>
          </ac:spMkLst>
        </pc:spChg>
        <pc:spChg chg="add mod">
          <ac:chgData name="Miranda Quispe, Bruno Sebastian" userId="5df213b2-8b23-43f1-8137-24ac80ef972a" providerId="ADAL" clId="{E965C011-1063-4CD3-8CA5-A8D35C5C287B}" dt="2022-08-29T19:29:43.414" v="17836"/>
          <ac:spMkLst>
            <pc:docMk/>
            <pc:sldMk cId="3735948153" sldId="2147470482"/>
            <ac:spMk id="15" creationId="{83359917-3DC3-DB71-5E38-BA4C3C5B8080}"/>
          </ac:spMkLst>
        </pc:spChg>
        <pc:spChg chg="add mod ord">
          <ac:chgData name="Miranda Quispe, Bruno Sebastian" userId="5df213b2-8b23-43f1-8137-24ac80ef972a" providerId="ADAL" clId="{E965C011-1063-4CD3-8CA5-A8D35C5C287B}" dt="2022-08-29T19:30:59.389" v="17889" actId="20577"/>
          <ac:spMkLst>
            <pc:docMk/>
            <pc:sldMk cId="3735948153" sldId="2147470482"/>
            <ac:spMk id="16" creationId="{A665DC45-A424-5543-2F5B-04388D84ADBA}"/>
          </ac:spMkLst>
        </pc:spChg>
      </pc:sldChg>
      <pc:sldChg chg="addSp modSp new mod">
        <pc:chgData name="Miranda Quispe, Bruno Sebastian" userId="5df213b2-8b23-43f1-8137-24ac80ef972a" providerId="ADAL" clId="{E965C011-1063-4CD3-8CA5-A8D35C5C287B}" dt="2022-08-29T19:32:09.587" v="18004"/>
        <pc:sldMkLst>
          <pc:docMk/>
          <pc:sldMk cId="667924693" sldId="2147470483"/>
        </pc:sldMkLst>
        <pc:spChg chg="mod">
          <ac:chgData name="Miranda Quispe, Bruno Sebastian" userId="5df213b2-8b23-43f1-8137-24ac80ef972a" providerId="ADAL" clId="{E965C011-1063-4CD3-8CA5-A8D35C5C287B}" dt="2022-08-29T19:31:09.335" v="17897" actId="20577"/>
          <ac:spMkLst>
            <pc:docMk/>
            <pc:sldMk cId="667924693" sldId="2147470483"/>
            <ac:spMk id="3" creationId="{9A6269A3-0C55-6D20-7555-5A76E53D22DD}"/>
          </ac:spMkLst>
        </pc:spChg>
        <pc:spChg chg="mod">
          <ac:chgData name="Miranda Quispe, Bruno Sebastian" userId="5df213b2-8b23-43f1-8137-24ac80ef972a" providerId="ADAL" clId="{E965C011-1063-4CD3-8CA5-A8D35C5C287B}" dt="2022-08-29T19:31:48.884" v="18001" actId="14100"/>
          <ac:spMkLst>
            <pc:docMk/>
            <pc:sldMk cId="667924693" sldId="2147470483"/>
            <ac:spMk id="4" creationId="{64CFB0FD-7A33-0100-4E8C-E0482236A197}"/>
          </ac:spMkLst>
        </pc:spChg>
        <pc:graphicFrameChg chg="add mod modGraphic">
          <ac:chgData name="Miranda Quispe, Bruno Sebastian" userId="5df213b2-8b23-43f1-8137-24ac80ef972a" providerId="ADAL" clId="{E965C011-1063-4CD3-8CA5-A8D35C5C287B}" dt="2022-08-29T19:32:09.587" v="18004"/>
          <ac:graphicFrameMkLst>
            <pc:docMk/>
            <pc:sldMk cId="667924693" sldId="2147470483"/>
            <ac:graphicFrameMk id="5" creationId="{4286E9B7-9443-19D5-9C10-D117D4E4315D}"/>
          </ac:graphicFrameMkLst>
        </pc:graphicFrameChg>
      </pc:sldChg>
      <pc:sldChg chg="addSp delSp modSp new mod">
        <pc:chgData name="Miranda Quispe, Bruno Sebastian" userId="5df213b2-8b23-43f1-8137-24ac80ef972a" providerId="ADAL" clId="{E965C011-1063-4CD3-8CA5-A8D35C5C287B}" dt="2022-09-05T15:18:28.457" v="20457" actId="1076"/>
        <pc:sldMkLst>
          <pc:docMk/>
          <pc:sldMk cId="2357647409" sldId="2147470484"/>
        </pc:sldMkLst>
        <pc:spChg chg="mod">
          <ac:chgData name="Miranda Quispe, Bruno Sebastian" userId="5df213b2-8b23-43f1-8137-24ac80ef972a" providerId="ADAL" clId="{E965C011-1063-4CD3-8CA5-A8D35C5C287B}" dt="2022-09-05T14:55:34.688" v="20423"/>
          <ac:spMkLst>
            <pc:docMk/>
            <pc:sldMk cId="2357647409" sldId="2147470484"/>
            <ac:spMk id="3" creationId="{58320812-3C87-B5A5-0417-2A4DF1FB7FF5}"/>
          </ac:spMkLst>
        </pc:spChg>
        <pc:spChg chg="del">
          <ac:chgData name="Miranda Quispe, Bruno Sebastian" userId="5df213b2-8b23-43f1-8137-24ac80ef972a" providerId="ADAL" clId="{E965C011-1063-4CD3-8CA5-A8D35C5C287B}" dt="2022-09-05T14:55:38.986" v="20424" actId="478"/>
          <ac:spMkLst>
            <pc:docMk/>
            <pc:sldMk cId="2357647409" sldId="2147470484"/>
            <ac:spMk id="4" creationId="{ADC8BB21-EB89-DFAC-3F9E-97104F5CED5F}"/>
          </ac:spMkLst>
        </pc:spChg>
        <pc:picChg chg="add del mod">
          <ac:chgData name="Miranda Quispe, Bruno Sebastian" userId="5df213b2-8b23-43f1-8137-24ac80ef972a" providerId="ADAL" clId="{E965C011-1063-4CD3-8CA5-A8D35C5C287B}" dt="2022-09-05T15:18:09.593" v="20448" actId="478"/>
          <ac:picMkLst>
            <pc:docMk/>
            <pc:sldMk cId="2357647409" sldId="2147470484"/>
            <ac:picMk id="6" creationId="{787EA68D-1BFE-8C9B-755D-88A599D9C3DD}"/>
          </ac:picMkLst>
        </pc:picChg>
        <pc:picChg chg="add mod">
          <ac:chgData name="Miranda Quispe, Bruno Sebastian" userId="5df213b2-8b23-43f1-8137-24ac80ef972a" providerId="ADAL" clId="{E965C011-1063-4CD3-8CA5-A8D35C5C287B}" dt="2022-09-05T15:18:28.457" v="20457" actId="1076"/>
          <ac:picMkLst>
            <pc:docMk/>
            <pc:sldMk cId="2357647409" sldId="2147470484"/>
            <ac:picMk id="1026" creationId="{A51B1CB6-9887-FAB1-1A69-726BA1D38E5E}"/>
          </ac:picMkLst>
        </pc:picChg>
      </pc:sldChg>
      <pc:sldChg chg="addSp delSp modSp add del mod setBg">
        <pc:chgData name="Miranda Quispe, Bruno Sebastian" userId="5df213b2-8b23-43f1-8137-24ac80ef972a" providerId="ADAL" clId="{E965C011-1063-4CD3-8CA5-A8D35C5C287B}" dt="2022-08-29T20:48:35.704" v="18878" actId="47"/>
        <pc:sldMkLst>
          <pc:docMk/>
          <pc:sldMk cId="3786658419" sldId="2147470484"/>
        </pc:sldMkLst>
        <pc:spChg chg="mod">
          <ac:chgData name="Miranda Quispe, Bruno Sebastian" userId="5df213b2-8b23-43f1-8137-24ac80ef972a" providerId="ADAL" clId="{E965C011-1063-4CD3-8CA5-A8D35C5C287B}" dt="2022-08-29T19:43:15.441" v="18096" actId="20577"/>
          <ac:spMkLst>
            <pc:docMk/>
            <pc:sldMk cId="3786658419" sldId="2147470484"/>
            <ac:spMk id="7" creationId="{834DE61B-69D4-648C-09CD-329073E45B01}"/>
          </ac:spMkLst>
        </pc:spChg>
        <pc:spChg chg="mod">
          <ac:chgData name="Miranda Quispe, Bruno Sebastian" userId="5df213b2-8b23-43f1-8137-24ac80ef972a" providerId="ADAL" clId="{E965C011-1063-4CD3-8CA5-A8D35C5C287B}" dt="2022-08-29T19:55:49.815" v="18249" actId="20577"/>
          <ac:spMkLst>
            <pc:docMk/>
            <pc:sldMk cId="3786658419" sldId="2147470484"/>
            <ac:spMk id="8" creationId="{E6971E8D-A4BA-1641-A29A-4E7A935C21F1}"/>
          </ac:spMkLst>
        </pc:spChg>
        <pc:picChg chg="del">
          <ac:chgData name="Miranda Quispe, Bruno Sebastian" userId="5df213b2-8b23-43f1-8137-24ac80ef972a" providerId="ADAL" clId="{E965C011-1063-4CD3-8CA5-A8D35C5C287B}" dt="2022-08-29T20:02:46.905" v="18259" actId="478"/>
          <ac:picMkLst>
            <pc:docMk/>
            <pc:sldMk cId="3786658419" sldId="2147470484"/>
            <ac:picMk id="4100" creationId="{F0FC4572-D0D5-F456-FFAE-D8F42E9DADB4}"/>
          </ac:picMkLst>
        </pc:picChg>
        <pc:picChg chg="add del mod">
          <ac:chgData name="Miranda Quispe, Bruno Sebastian" userId="5df213b2-8b23-43f1-8137-24ac80ef972a" providerId="ADAL" clId="{E965C011-1063-4CD3-8CA5-A8D35C5C287B}" dt="2022-08-29T19:51:49.701" v="18107" actId="478"/>
          <ac:picMkLst>
            <pc:docMk/>
            <pc:sldMk cId="3786658419" sldId="2147470484"/>
            <ac:picMk id="5122" creationId="{5E07DBCE-EFC5-2658-B60B-02D25CA3D793}"/>
          </ac:picMkLst>
        </pc:picChg>
        <pc:picChg chg="add del mod">
          <ac:chgData name="Miranda Quispe, Bruno Sebastian" userId="5df213b2-8b23-43f1-8137-24ac80ef972a" providerId="ADAL" clId="{E965C011-1063-4CD3-8CA5-A8D35C5C287B}" dt="2022-08-29T20:02:26.694" v="18250" actId="478"/>
          <ac:picMkLst>
            <pc:docMk/>
            <pc:sldMk cId="3786658419" sldId="2147470484"/>
            <ac:picMk id="5124" creationId="{CA91E39B-7125-F83D-334A-D6D62F4B1C4A}"/>
          </ac:picMkLst>
        </pc:picChg>
        <pc:picChg chg="add mod">
          <ac:chgData name="Miranda Quispe, Bruno Sebastian" userId="5df213b2-8b23-43f1-8137-24ac80ef972a" providerId="ADAL" clId="{E965C011-1063-4CD3-8CA5-A8D35C5C287B}" dt="2022-08-29T20:02:45.528" v="18258" actId="167"/>
          <ac:picMkLst>
            <pc:docMk/>
            <pc:sldMk cId="3786658419" sldId="2147470484"/>
            <ac:picMk id="5126" creationId="{3F8B1740-FCBC-BE54-ACC0-C9BF15630767}"/>
          </ac:picMkLst>
        </pc:picChg>
      </pc:sldChg>
      <pc:sldChg chg="addSp delSp modSp new mod modClrScheme chgLayout">
        <pc:chgData name="Miranda Quispe, Bruno Sebastian" userId="5df213b2-8b23-43f1-8137-24ac80ef972a" providerId="ADAL" clId="{E965C011-1063-4CD3-8CA5-A8D35C5C287B}" dt="2022-09-05T16:28:33.933" v="23144" actId="1076"/>
        <pc:sldMkLst>
          <pc:docMk/>
          <pc:sldMk cId="430589194" sldId="2147470485"/>
        </pc:sldMkLst>
        <pc:spChg chg="add del mod ord">
          <ac:chgData name="Miranda Quispe, Bruno Sebastian" userId="5df213b2-8b23-43f1-8137-24ac80ef972a" providerId="ADAL" clId="{E965C011-1063-4CD3-8CA5-A8D35C5C287B}" dt="2022-09-05T16:17:24.552" v="22640" actId="700"/>
          <ac:spMkLst>
            <pc:docMk/>
            <pc:sldMk cId="430589194" sldId="2147470485"/>
            <ac:spMk id="2" creationId="{07F76416-3509-E18A-A834-28CCDAF83DBC}"/>
          </ac:spMkLst>
        </pc:spChg>
        <pc:spChg chg="mod ord">
          <ac:chgData name="Miranda Quispe, Bruno Sebastian" userId="5df213b2-8b23-43f1-8137-24ac80ef972a" providerId="ADAL" clId="{E965C011-1063-4CD3-8CA5-A8D35C5C287B}" dt="2022-09-05T16:17:24.552" v="22640" actId="700"/>
          <ac:spMkLst>
            <pc:docMk/>
            <pc:sldMk cId="430589194" sldId="2147470485"/>
            <ac:spMk id="3" creationId="{8863346C-928B-FAFF-CF50-39B1FEAD1B32}"/>
          </ac:spMkLst>
        </pc:spChg>
        <pc:spChg chg="add del mod ord">
          <ac:chgData name="Miranda Quispe, Bruno Sebastian" userId="5df213b2-8b23-43f1-8137-24ac80ef972a" providerId="ADAL" clId="{E965C011-1063-4CD3-8CA5-A8D35C5C287B}" dt="2022-09-05T16:10:56.001" v="22596" actId="700"/>
          <ac:spMkLst>
            <pc:docMk/>
            <pc:sldMk cId="430589194" sldId="2147470485"/>
            <ac:spMk id="4" creationId="{03E790F7-164F-AAA4-720C-4E744D58550B}"/>
          </ac:spMkLst>
        </pc:spChg>
        <pc:spChg chg="add del mod ord">
          <ac:chgData name="Miranda Quispe, Bruno Sebastian" userId="5df213b2-8b23-43f1-8137-24ac80ef972a" providerId="ADAL" clId="{E965C011-1063-4CD3-8CA5-A8D35C5C287B}" dt="2022-09-05T16:10:56.001" v="22596" actId="700"/>
          <ac:spMkLst>
            <pc:docMk/>
            <pc:sldMk cId="430589194" sldId="2147470485"/>
            <ac:spMk id="5" creationId="{5B18CD12-46F3-D53D-8B81-41FB6C47D0C5}"/>
          </ac:spMkLst>
        </pc:spChg>
        <pc:spChg chg="add mod ord">
          <ac:chgData name="Miranda Quispe, Bruno Sebastian" userId="5df213b2-8b23-43f1-8137-24ac80ef972a" providerId="ADAL" clId="{E965C011-1063-4CD3-8CA5-A8D35C5C287B}" dt="2022-09-05T16:18:23.826" v="22669" actId="20577"/>
          <ac:spMkLst>
            <pc:docMk/>
            <pc:sldMk cId="430589194" sldId="2147470485"/>
            <ac:spMk id="6" creationId="{73752F87-6794-76D0-B5CD-6E550A45E58A}"/>
          </ac:spMkLst>
        </pc:spChg>
        <pc:spChg chg="add del mod ord">
          <ac:chgData name="Miranda Quispe, Bruno Sebastian" userId="5df213b2-8b23-43f1-8137-24ac80ef972a" providerId="ADAL" clId="{E965C011-1063-4CD3-8CA5-A8D35C5C287B}" dt="2022-09-05T16:18:26.773" v="22670" actId="478"/>
          <ac:spMkLst>
            <pc:docMk/>
            <pc:sldMk cId="430589194" sldId="2147470485"/>
            <ac:spMk id="7" creationId="{F64C5389-B8BD-BE7E-1CE1-8056D5810B61}"/>
          </ac:spMkLst>
        </pc:spChg>
        <pc:spChg chg="add mod">
          <ac:chgData name="Miranda Quispe, Bruno Sebastian" userId="5df213b2-8b23-43f1-8137-24ac80ef972a" providerId="ADAL" clId="{E965C011-1063-4CD3-8CA5-A8D35C5C287B}" dt="2022-09-05T16:27:14.476" v="22997" actId="14100"/>
          <ac:spMkLst>
            <pc:docMk/>
            <pc:sldMk cId="430589194" sldId="2147470485"/>
            <ac:spMk id="10" creationId="{A083C3D3-334E-A099-B26D-8B0E8580F1EA}"/>
          </ac:spMkLst>
        </pc:spChg>
        <pc:spChg chg="add mod">
          <ac:chgData name="Miranda Quispe, Bruno Sebastian" userId="5df213b2-8b23-43f1-8137-24ac80ef972a" providerId="ADAL" clId="{E965C011-1063-4CD3-8CA5-A8D35C5C287B}" dt="2022-09-05T16:28:33.933" v="23144" actId="1076"/>
          <ac:spMkLst>
            <pc:docMk/>
            <pc:sldMk cId="430589194" sldId="2147470485"/>
            <ac:spMk id="13" creationId="{10EC639B-F15D-C92B-6D51-946B59F3BEFD}"/>
          </ac:spMkLst>
        </pc:spChg>
        <pc:grpChg chg="add mod">
          <ac:chgData name="Miranda Quispe, Bruno Sebastian" userId="5df213b2-8b23-43f1-8137-24ac80ef972a" providerId="ADAL" clId="{E965C011-1063-4CD3-8CA5-A8D35C5C287B}" dt="2022-09-05T16:28:30.613" v="23143" actId="1076"/>
          <ac:grpSpMkLst>
            <pc:docMk/>
            <pc:sldMk cId="430589194" sldId="2147470485"/>
            <ac:grpSpMk id="11" creationId="{9C0CFDAC-0E87-C41B-E8BD-DBF7100F3CC5}"/>
          </ac:grpSpMkLst>
        </pc:grpChg>
        <pc:graphicFrameChg chg="add mod modGraphic">
          <ac:chgData name="Miranda Quispe, Bruno Sebastian" userId="5df213b2-8b23-43f1-8137-24ac80ef972a" providerId="ADAL" clId="{E965C011-1063-4CD3-8CA5-A8D35C5C287B}" dt="2022-09-05T16:27:04.763" v="22995" actId="122"/>
          <ac:graphicFrameMkLst>
            <pc:docMk/>
            <pc:sldMk cId="430589194" sldId="2147470485"/>
            <ac:graphicFrameMk id="8" creationId="{7E43A6C9-8C73-52FF-FC2E-23437790AE2D}"/>
          </ac:graphicFrameMkLst>
        </pc:graphicFrameChg>
      </pc:sldChg>
      <pc:sldChg chg="add del">
        <pc:chgData name="Miranda Quispe, Bruno Sebastian" userId="5df213b2-8b23-43f1-8137-24ac80ef972a" providerId="ADAL" clId="{E965C011-1063-4CD3-8CA5-A8D35C5C287B}" dt="2022-08-29T20:27:39.559" v="18545" actId="47"/>
        <pc:sldMkLst>
          <pc:docMk/>
          <pc:sldMk cId="1885428064" sldId="2147470485"/>
        </pc:sldMkLst>
      </pc:sldChg>
      <pc:sldChg chg="addSp delSp modSp new del mod modClrScheme chgLayout">
        <pc:chgData name="Miranda Quispe, Bruno Sebastian" userId="5df213b2-8b23-43f1-8137-24ac80ef972a" providerId="ADAL" clId="{E965C011-1063-4CD3-8CA5-A8D35C5C287B}" dt="2022-08-29T20:15:15.749" v="18262" actId="47"/>
        <pc:sldMkLst>
          <pc:docMk/>
          <pc:sldMk cId="2570214718" sldId="2147470485"/>
        </pc:sldMkLst>
        <pc:spChg chg="del mod ord">
          <ac:chgData name="Miranda Quispe, Bruno Sebastian" userId="5df213b2-8b23-43f1-8137-24ac80ef972a" providerId="ADAL" clId="{E965C011-1063-4CD3-8CA5-A8D35C5C287B}" dt="2022-08-29T20:03:28.812" v="18261" actId="700"/>
          <ac:spMkLst>
            <pc:docMk/>
            <pc:sldMk cId="2570214718" sldId="2147470485"/>
            <ac:spMk id="2" creationId="{8CE2E1A4-CC32-887D-ED5A-B1C6EFDF71FE}"/>
          </ac:spMkLst>
        </pc:spChg>
        <pc:spChg chg="del mod ord">
          <ac:chgData name="Miranda Quispe, Bruno Sebastian" userId="5df213b2-8b23-43f1-8137-24ac80ef972a" providerId="ADAL" clId="{E965C011-1063-4CD3-8CA5-A8D35C5C287B}" dt="2022-08-29T20:03:28.812" v="18261" actId="700"/>
          <ac:spMkLst>
            <pc:docMk/>
            <pc:sldMk cId="2570214718" sldId="2147470485"/>
            <ac:spMk id="3" creationId="{E9D17E36-C472-C400-381D-C9B33E67788A}"/>
          </ac:spMkLst>
        </pc:spChg>
        <pc:spChg chg="add mod ord">
          <ac:chgData name="Miranda Quispe, Bruno Sebastian" userId="5df213b2-8b23-43f1-8137-24ac80ef972a" providerId="ADAL" clId="{E965C011-1063-4CD3-8CA5-A8D35C5C287B}" dt="2022-08-29T20:03:28.812" v="18261" actId="700"/>
          <ac:spMkLst>
            <pc:docMk/>
            <pc:sldMk cId="2570214718" sldId="2147470485"/>
            <ac:spMk id="4" creationId="{BDCE759E-8072-F0FB-5855-8465BDE3C0D9}"/>
          </ac:spMkLst>
        </pc:spChg>
        <pc:spChg chg="add mod ord">
          <ac:chgData name="Miranda Quispe, Bruno Sebastian" userId="5df213b2-8b23-43f1-8137-24ac80ef972a" providerId="ADAL" clId="{E965C011-1063-4CD3-8CA5-A8D35C5C287B}" dt="2022-08-29T20:03:28.812" v="18261" actId="700"/>
          <ac:spMkLst>
            <pc:docMk/>
            <pc:sldMk cId="2570214718" sldId="2147470485"/>
            <ac:spMk id="5" creationId="{87A8A72C-D71F-827B-3D9B-F952DA1FA1B8}"/>
          </ac:spMkLst>
        </pc:spChg>
      </pc:sldChg>
      <pc:sldChg chg="add del">
        <pc:chgData name="Miranda Quispe, Bruno Sebastian" userId="5df213b2-8b23-43f1-8137-24ac80ef972a" providerId="ADAL" clId="{E965C011-1063-4CD3-8CA5-A8D35C5C287B}" dt="2022-08-29T20:27:33.494" v="18543"/>
        <pc:sldMkLst>
          <pc:docMk/>
          <pc:sldMk cId="2811169331" sldId="2147470485"/>
        </pc:sldMkLst>
      </pc:sldChg>
      <pc:sldChg chg="addSp delSp modSp add mod setBg">
        <pc:chgData name="Miranda Quispe, Bruno Sebastian" userId="5df213b2-8b23-43f1-8137-24ac80ef972a" providerId="ADAL" clId="{E965C011-1063-4CD3-8CA5-A8D35C5C287B}" dt="2022-09-14T19:56:26.535" v="32985" actId="20577"/>
        <pc:sldMkLst>
          <pc:docMk/>
          <pc:sldMk cId="1947129988" sldId="2147470486"/>
        </pc:sldMkLst>
        <pc:spChg chg="mod">
          <ac:chgData name="Miranda Quispe, Bruno Sebastian" userId="5df213b2-8b23-43f1-8137-24ac80ef972a" providerId="ADAL" clId="{E965C011-1063-4CD3-8CA5-A8D35C5C287B}" dt="2022-09-14T19:56:26.535" v="32985" actId="20577"/>
          <ac:spMkLst>
            <pc:docMk/>
            <pc:sldMk cId="1947129988" sldId="2147470486"/>
            <ac:spMk id="7" creationId="{834DE61B-69D4-648C-09CD-329073E45B01}"/>
          </ac:spMkLst>
        </pc:spChg>
        <pc:spChg chg="mod">
          <ac:chgData name="Miranda Quispe, Bruno Sebastian" userId="5df213b2-8b23-43f1-8137-24ac80ef972a" providerId="ADAL" clId="{E965C011-1063-4CD3-8CA5-A8D35C5C287B}" dt="2022-09-12T02:09:03.854" v="23721" actId="20577"/>
          <ac:spMkLst>
            <pc:docMk/>
            <pc:sldMk cId="1947129988" sldId="2147470486"/>
            <ac:spMk id="8" creationId="{E6971E8D-A4BA-1641-A29A-4E7A935C21F1}"/>
          </ac:spMkLst>
        </pc:spChg>
        <pc:picChg chg="add mod">
          <ac:chgData name="Miranda Quispe, Bruno Sebastian" userId="5df213b2-8b23-43f1-8137-24ac80ef972a" providerId="ADAL" clId="{E965C011-1063-4CD3-8CA5-A8D35C5C287B}" dt="2022-09-12T00:51:50.789" v="23227" actId="167"/>
          <ac:picMkLst>
            <pc:docMk/>
            <pc:sldMk cId="1947129988" sldId="2147470486"/>
            <ac:picMk id="1026" creationId="{961F36AB-A26E-9A06-78C3-9644D1A281BD}"/>
          </ac:picMkLst>
        </pc:picChg>
        <pc:picChg chg="add del mod">
          <ac:chgData name="Miranda Quispe, Bruno Sebastian" userId="5df213b2-8b23-43f1-8137-24ac80ef972a" providerId="ADAL" clId="{E965C011-1063-4CD3-8CA5-A8D35C5C287B}" dt="2022-09-12T00:57:54.667" v="23232" actId="478"/>
          <ac:picMkLst>
            <pc:docMk/>
            <pc:sldMk cId="1947129988" sldId="2147470486"/>
            <ac:picMk id="1028" creationId="{2E444785-B970-1A89-326A-6A088B1B0EC3}"/>
          </ac:picMkLst>
        </pc:picChg>
        <pc:picChg chg="del mod">
          <ac:chgData name="Miranda Quispe, Bruno Sebastian" userId="5df213b2-8b23-43f1-8137-24ac80ef972a" providerId="ADAL" clId="{E965C011-1063-4CD3-8CA5-A8D35C5C287B}" dt="2022-09-12T00:51:52.231" v="23228" actId="478"/>
          <ac:picMkLst>
            <pc:docMk/>
            <pc:sldMk cId="1947129988" sldId="2147470486"/>
            <ac:picMk id="4098" creationId="{DF7DBC55-D07B-3E14-B80E-28D12ED09E76}"/>
          </ac:picMkLst>
        </pc:picChg>
      </pc:sldChg>
      <pc:sldChg chg="addSp delSp modSp new mod setBg modClrScheme chgLayout">
        <pc:chgData name="Miranda Quispe, Bruno Sebastian" userId="5df213b2-8b23-43f1-8137-24ac80ef972a" providerId="ADAL" clId="{E965C011-1063-4CD3-8CA5-A8D35C5C287B}" dt="2022-09-15T17:55:39.715" v="34742" actId="20577"/>
        <pc:sldMkLst>
          <pc:docMk/>
          <pc:sldMk cId="1706658169" sldId="2147470487"/>
        </pc:sldMkLst>
        <pc:spChg chg="del mod ord">
          <ac:chgData name="Miranda Quispe, Bruno Sebastian" userId="5df213b2-8b23-43f1-8137-24ac80ef972a" providerId="ADAL" clId="{E965C011-1063-4CD3-8CA5-A8D35C5C287B}" dt="2022-09-12T01:29:42.694" v="23234" actId="700"/>
          <ac:spMkLst>
            <pc:docMk/>
            <pc:sldMk cId="1706658169" sldId="2147470487"/>
            <ac:spMk id="2" creationId="{46286031-9EE3-23C7-2C16-4844A2433EA4}"/>
          </ac:spMkLst>
        </pc:spChg>
        <pc:spChg chg="add mod">
          <ac:chgData name="Miranda Quispe, Bruno Sebastian" userId="5df213b2-8b23-43f1-8137-24ac80ef972a" providerId="ADAL" clId="{E965C011-1063-4CD3-8CA5-A8D35C5C287B}" dt="2022-09-15T17:55:39.715" v="34742" actId="20577"/>
          <ac:spMkLst>
            <pc:docMk/>
            <pc:sldMk cId="1706658169" sldId="2147470487"/>
            <ac:spMk id="3" creationId="{5491AE18-2A7E-1031-B526-00364653584A}"/>
          </ac:spMkLst>
        </pc:spChg>
        <pc:spChg chg="del mod ord">
          <ac:chgData name="Miranda Quispe, Bruno Sebastian" userId="5df213b2-8b23-43f1-8137-24ac80ef972a" providerId="ADAL" clId="{E965C011-1063-4CD3-8CA5-A8D35C5C287B}" dt="2022-09-12T01:29:42.694" v="23234" actId="700"/>
          <ac:spMkLst>
            <pc:docMk/>
            <pc:sldMk cId="1706658169" sldId="2147470487"/>
            <ac:spMk id="3" creationId="{78AFDDD0-4310-3073-1BE5-E7CC5B3B8E67}"/>
          </ac:spMkLst>
        </pc:spChg>
        <pc:spChg chg="add mod ord">
          <ac:chgData name="Miranda Quispe, Bruno Sebastian" userId="5df213b2-8b23-43f1-8137-24ac80ef972a" providerId="ADAL" clId="{E965C011-1063-4CD3-8CA5-A8D35C5C287B}" dt="2022-09-12T02:07:30.642" v="23406" actId="20577"/>
          <ac:spMkLst>
            <pc:docMk/>
            <pc:sldMk cId="1706658169" sldId="2147470487"/>
            <ac:spMk id="4" creationId="{B52EBE22-621D-B28F-B761-1BEE8749E7FA}"/>
          </ac:spMkLst>
        </pc:spChg>
        <pc:spChg chg="add del mod ord">
          <ac:chgData name="Miranda Quispe, Bruno Sebastian" userId="5df213b2-8b23-43f1-8137-24ac80ef972a" providerId="ADAL" clId="{E965C011-1063-4CD3-8CA5-A8D35C5C287B}" dt="2022-09-12T01:29:50.202" v="23235" actId="478"/>
          <ac:spMkLst>
            <pc:docMk/>
            <pc:sldMk cId="1706658169" sldId="2147470487"/>
            <ac:spMk id="5" creationId="{869939B6-C0DF-25D8-B906-6DAB7F0F57B1}"/>
          </ac:spMkLst>
        </pc:spChg>
        <pc:spChg chg="add mod">
          <ac:chgData name="Miranda Quispe, Bruno Sebastian" userId="5df213b2-8b23-43f1-8137-24ac80ef972a" providerId="ADAL" clId="{E965C011-1063-4CD3-8CA5-A8D35C5C287B}" dt="2022-09-15T17:55:15.729" v="34741" actId="20577"/>
          <ac:spMkLst>
            <pc:docMk/>
            <pc:sldMk cId="1706658169" sldId="2147470487"/>
            <ac:spMk id="6" creationId="{F93A9D8E-8C9A-B99A-DC4D-51AC9C288D57}"/>
          </ac:spMkLst>
        </pc:spChg>
        <pc:spChg chg="add mod">
          <ac:chgData name="Miranda Quispe, Bruno Sebastian" userId="5df213b2-8b23-43f1-8137-24ac80ef972a" providerId="ADAL" clId="{E965C011-1063-4CD3-8CA5-A8D35C5C287B}" dt="2022-09-13T16:55:31.583" v="32930" actId="14100"/>
          <ac:spMkLst>
            <pc:docMk/>
            <pc:sldMk cId="1706658169" sldId="2147470487"/>
            <ac:spMk id="8" creationId="{94354B9F-C984-9CCB-5163-EF61F9E74A5D}"/>
          </ac:spMkLst>
        </pc:spChg>
        <pc:spChg chg="add mod">
          <ac:chgData name="Miranda Quispe, Bruno Sebastian" userId="5df213b2-8b23-43f1-8137-24ac80ef972a" providerId="ADAL" clId="{E965C011-1063-4CD3-8CA5-A8D35C5C287B}" dt="2022-09-13T16:51:25.406" v="32294" actId="1076"/>
          <ac:spMkLst>
            <pc:docMk/>
            <pc:sldMk cId="1706658169" sldId="2147470487"/>
            <ac:spMk id="10" creationId="{84C8E8E7-F4E7-502D-0D12-732A6A9FA7E4}"/>
          </ac:spMkLst>
        </pc:spChg>
        <pc:spChg chg="add">
          <ac:chgData name="Miranda Quispe, Bruno Sebastian" userId="5df213b2-8b23-43f1-8137-24ac80ef972a" providerId="ADAL" clId="{E965C011-1063-4CD3-8CA5-A8D35C5C287B}" dt="2022-09-13T16:27:33.887" v="31623" actId="22"/>
          <ac:spMkLst>
            <pc:docMk/>
            <pc:sldMk cId="1706658169" sldId="2147470487"/>
            <ac:spMk id="12" creationId="{6F676E37-B2BB-CB24-2CDE-906A1EBD7957}"/>
          </ac:spMkLst>
        </pc:spChg>
        <pc:spChg chg="add">
          <ac:chgData name="Miranda Quispe, Bruno Sebastian" userId="5df213b2-8b23-43f1-8137-24ac80ef972a" providerId="ADAL" clId="{E965C011-1063-4CD3-8CA5-A8D35C5C287B}" dt="2022-09-13T16:27:33.887" v="31623" actId="22"/>
          <ac:spMkLst>
            <pc:docMk/>
            <pc:sldMk cId="1706658169" sldId="2147470487"/>
            <ac:spMk id="14" creationId="{1AA876A8-F307-733B-5FC7-02772BF96C10}"/>
          </ac:spMkLst>
        </pc:spChg>
        <pc:picChg chg="add del mod">
          <ac:chgData name="Miranda Quispe, Bruno Sebastian" userId="5df213b2-8b23-43f1-8137-24ac80ef972a" providerId="ADAL" clId="{E965C011-1063-4CD3-8CA5-A8D35C5C287B}" dt="2022-09-12T01:30:06.480" v="23240" actId="478"/>
          <ac:picMkLst>
            <pc:docMk/>
            <pc:sldMk cId="1706658169" sldId="2147470487"/>
            <ac:picMk id="2050" creationId="{748A1E15-96D5-2CE5-533D-1276F8949B58}"/>
          </ac:picMkLst>
        </pc:picChg>
      </pc:sldChg>
      <pc:sldChg chg="addSp delSp modSp new mod modClrScheme chgLayout">
        <pc:chgData name="Miranda Quispe, Bruno Sebastian" userId="5df213b2-8b23-43f1-8137-24ac80ef972a" providerId="ADAL" clId="{E965C011-1063-4CD3-8CA5-A8D35C5C287B}" dt="2022-09-14T20:03:17.738" v="33085" actId="20577"/>
        <pc:sldMkLst>
          <pc:docMk/>
          <pc:sldMk cId="4124837709" sldId="2147470488"/>
        </pc:sldMkLst>
        <pc:spChg chg="del mod ord">
          <ac:chgData name="Miranda Quispe, Bruno Sebastian" userId="5df213b2-8b23-43f1-8137-24ac80ef972a" providerId="ADAL" clId="{E965C011-1063-4CD3-8CA5-A8D35C5C287B}" dt="2022-09-12T02:09:17.856" v="23723" actId="700"/>
          <ac:spMkLst>
            <pc:docMk/>
            <pc:sldMk cId="4124837709" sldId="2147470488"/>
            <ac:spMk id="2" creationId="{1BE5F6A3-FEFE-E2A9-BADF-46CE49CFA7D2}"/>
          </ac:spMkLst>
        </pc:spChg>
        <pc:spChg chg="del mod ord">
          <ac:chgData name="Miranda Quispe, Bruno Sebastian" userId="5df213b2-8b23-43f1-8137-24ac80ef972a" providerId="ADAL" clId="{E965C011-1063-4CD3-8CA5-A8D35C5C287B}" dt="2022-09-12T02:09:17.856" v="23723" actId="700"/>
          <ac:spMkLst>
            <pc:docMk/>
            <pc:sldMk cId="4124837709" sldId="2147470488"/>
            <ac:spMk id="3" creationId="{E625D4DB-FB0E-9642-A828-6F616A437459}"/>
          </ac:spMkLst>
        </pc:spChg>
        <pc:spChg chg="add mod ord">
          <ac:chgData name="Miranda Quispe, Bruno Sebastian" userId="5df213b2-8b23-43f1-8137-24ac80ef972a" providerId="ADAL" clId="{E965C011-1063-4CD3-8CA5-A8D35C5C287B}" dt="2022-09-12T02:24:15.989" v="24307" actId="1076"/>
          <ac:spMkLst>
            <pc:docMk/>
            <pc:sldMk cId="4124837709" sldId="2147470488"/>
            <ac:spMk id="4" creationId="{FDB57992-E4BF-9826-74D3-7679E977F6A8}"/>
          </ac:spMkLst>
        </pc:spChg>
        <pc:spChg chg="add del mod ord">
          <ac:chgData name="Miranda Quispe, Bruno Sebastian" userId="5df213b2-8b23-43f1-8137-24ac80ef972a" providerId="ADAL" clId="{E965C011-1063-4CD3-8CA5-A8D35C5C287B}" dt="2022-09-12T02:13:23.245" v="23746" actId="478"/>
          <ac:spMkLst>
            <pc:docMk/>
            <pc:sldMk cId="4124837709" sldId="2147470488"/>
            <ac:spMk id="5" creationId="{06CC7F2A-4A79-0624-4955-A80A5C4BC859}"/>
          </ac:spMkLst>
        </pc:spChg>
        <pc:spChg chg="add mod">
          <ac:chgData name="Miranda Quispe, Bruno Sebastian" userId="5df213b2-8b23-43f1-8137-24ac80ef972a" providerId="ADAL" clId="{E965C011-1063-4CD3-8CA5-A8D35C5C287B}" dt="2022-09-14T20:01:36.422" v="33075" actId="20577"/>
          <ac:spMkLst>
            <pc:docMk/>
            <pc:sldMk cId="4124837709" sldId="2147470488"/>
            <ac:spMk id="7" creationId="{7F06538F-433D-0B51-00DC-FB5B7A464A90}"/>
          </ac:spMkLst>
        </pc:spChg>
        <pc:spChg chg="add mod">
          <ac:chgData name="Miranda Quispe, Bruno Sebastian" userId="5df213b2-8b23-43f1-8137-24ac80ef972a" providerId="ADAL" clId="{E965C011-1063-4CD3-8CA5-A8D35C5C287B}" dt="2022-09-12T02:27:40.339" v="24348" actId="1076"/>
          <ac:spMkLst>
            <pc:docMk/>
            <pc:sldMk cId="4124837709" sldId="2147470488"/>
            <ac:spMk id="9" creationId="{EB8A4F4F-F55E-6B0E-D4EE-61E67CA26A13}"/>
          </ac:spMkLst>
        </pc:spChg>
        <pc:spChg chg="add mod">
          <ac:chgData name="Miranda Quispe, Bruno Sebastian" userId="5df213b2-8b23-43f1-8137-24ac80ef972a" providerId="ADAL" clId="{E965C011-1063-4CD3-8CA5-A8D35C5C287B}" dt="2022-09-12T02:27:47.236" v="24350" actId="1076"/>
          <ac:spMkLst>
            <pc:docMk/>
            <pc:sldMk cId="4124837709" sldId="2147470488"/>
            <ac:spMk id="11" creationId="{61EF8B22-1124-42A1-00F5-3D68E0C68F14}"/>
          </ac:spMkLst>
        </pc:spChg>
        <pc:spChg chg="add mod">
          <ac:chgData name="Miranda Quispe, Bruno Sebastian" userId="5df213b2-8b23-43f1-8137-24ac80ef972a" providerId="ADAL" clId="{E965C011-1063-4CD3-8CA5-A8D35C5C287B}" dt="2022-09-14T20:03:17.738" v="33085" actId="20577"/>
          <ac:spMkLst>
            <pc:docMk/>
            <pc:sldMk cId="4124837709" sldId="2147470488"/>
            <ac:spMk id="12" creationId="{06E0D071-A140-63A1-AC65-325F1F7E549C}"/>
          </ac:spMkLst>
        </pc:spChg>
        <pc:spChg chg="add mod">
          <ac:chgData name="Miranda Quispe, Bruno Sebastian" userId="5df213b2-8b23-43f1-8137-24ac80ef972a" providerId="ADAL" clId="{E965C011-1063-4CD3-8CA5-A8D35C5C287B}" dt="2022-09-14T20:02:58.719" v="33079" actId="20577"/>
          <ac:spMkLst>
            <pc:docMk/>
            <pc:sldMk cId="4124837709" sldId="2147470488"/>
            <ac:spMk id="14" creationId="{3DDBC9B5-F33A-6792-9189-5506F47C6F15}"/>
          </ac:spMkLst>
        </pc:spChg>
        <pc:spChg chg="add mod">
          <ac:chgData name="Miranda Quispe, Bruno Sebastian" userId="5df213b2-8b23-43f1-8137-24ac80ef972a" providerId="ADAL" clId="{E965C011-1063-4CD3-8CA5-A8D35C5C287B}" dt="2022-09-14T20:03:05.435" v="33082" actId="20577"/>
          <ac:spMkLst>
            <pc:docMk/>
            <pc:sldMk cId="4124837709" sldId="2147470488"/>
            <ac:spMk id="16" creationId="{64897A70-684D-6D0E-3B3A-92B3C19880BF}"/>
          </ac:spMkLst>
        </pc:spChg>
        <pc:spChg chg="add mod">
          <ac:chgData name="Miranda Quispe, Bruno Sebastian" userId="5df213b2-8b23-43f1-8137-24ac80ef972a" providerId="ADAL" clId="{E965C011-1063-4CD3-8CA5-A8D35C5C287B}" dt="2022-09-12T02:28:58.941" v="24362" actId="1076"/>
          <ac:spMkLst>
            <pc:docMk/>
            <pc:sldMk cId="4124837709" sldId="2147470488"/>
            <ac:spMk id="17" creationId="{B20F09FB-CB59-C5DF-2650-1A196976D304}"/>
          </ac:spMkLst>
        </pc:spChg>
        <pc:spChg chg="add mod">
          <ac:chgData name="Miranda Quispe, Bruno Sebastian" userId="5df213b2-8b23-43f1-8137-24ac80ef972a" providerId="ADAL" clId="{E965C011-1063-4CD3-8CA5-A8D35C5C287B}" dt="2022-09-12T02:29:25.612" v="24419" actId="1076"/>
          <ac:spMkLst>
            <pc:docMk/>
            <pc:sldMk cId="4124837709" sldId="2147470488"/>
            <ac:spMk id="19" creationId="{4477086F-F7A9-90EC-2289-C3D0F1ACE069}"/>
          </ac:spMkLst>
        </pc:spChg>
        <pc:graphicFrameChg chg="add mod modGraphic">
          <ac:chgData name="Miranda Quispe, Bruno Sebastian" userId="5df213b2-8b23-43f1-8137-24ac80ef972a" providerId="ADAL" clId="{E965C011-1063-4CD3-8CA5-A8D35C5C287B}" dt="2022-09-12T02:24:11.665" v="24305" actId="14100"/>
          <ac:graphicFrameMkLst>
            <pc:docMk/>
            <pc:sldMk cId="4124837709" sldId="2147470488"/>
            <ac:graphicFrameMk id="6" creationId="{417C9E6D-76C3-E652-E0B0-BDB3F44998AC}"/>
          </ac:graphicFrameMkLst>
        </pc:graphicFrameChg>
      </pc:sldChg>
      <pc:sldChg chg="addSp delSp modSp new mod setBg">
        <pc:chgData name="Miranda Quispe, Bruno Sebastian" userId="5df213b2-8b23-43f1-8137-24ac80ef972a" providerId="ADAL" clId="{E965C011-1063-4CD3-8CA5-A8D35C5C287B}" dt="2022-09-14T20:16:52.353" v="33259" actId="20577"/>
        <pc:sldMkLst>
          <pc:docMk/>
          <pc:sldMk cId="1011605204" sldId="2147470489"/>
        </pc:sldMkLst>
        <pc:spChg chg="mod">
          <ac:chgData name="Miranda Quispe, Bruno Sebastian" userId="5df213b2-8b23-43f1-8137-24ac80ef972a" providerId="ADAL" clId="{E965C011-1063-4CD3-8CA5-A8D35C5C287B}" dt="2022-09-12T02:22:54.566" v="24297" actId="20577"/>
          <ac:spMkLst>
            <pc:docMk/>
            <pc:sldMk cId="1011605204" sldId="2147470489"/>
            <ac:spMk id="3" creationId="{04F4714C-B5B7-A20C-D260-6BFA84294702}"/>
          </ac:spMkLst>
        </pc:spChg>
        <pc:spChg chg="del">
          <ac:chgData name="Miranda Quispe, Bruno Sebastian" userId="5df213b2-8b23-43f1-8137-24ac80ef972a" providerId="ADAL" clId="{E965C011-1063-4CD3-8CA5-A8D35C5C287B}" dt="2022-09-12T02:23:01.865" v="24298" actId="478"/>
          <ac:spMkLst>
            <pc:docMk/>
            <pc:sldMk cId="1011605204" sldId="2147470489"/>
            <ac:spMk id="4" creationId="{11F338E0-59E0-DD7D-8DA8-F8939A2187E5}"/>
          </ac:spMkLst>
        </pc:spChg>
        <pc:spChg chg="add del mod ord">
          <ac:chgData name="Miranda Quispe, Bruno Sebastian" userId="5df213b2-8b23-43f1-8137-24ac80ef972a" providerId="ADAL" clId="{E965C011-1063-4CD3-8CA5-A8D35C5C287B}" dt="2022-09-12T03:21:11.221" v="25967" actId="478"/>
          <ac:spMkLst>
            <pc:docMk/>
            <pc:sldMk cId="1011605204" sldId="2147470489"/>
            <ac:spMk id="19" creationId="{BE6FE52A-40D4-CF55-CA78-AA4A6391EFE9}"/>
          </ac:spMkLst>
        </pc:spChg>
        <pc:spChg chg="add mod">
          <ac:chgData name="Miranda Quispe, Bruno Sebastian" userId="5df213b2-8b23-43f1-8137-24ac80ef972a" providerId="ADAL" clId="{E965C011-1063-4CD3-8CA5-A8D35C5C287B}" dt="2022-09-12T03:22:38.546" v="26004" actId="1076"/>
          <ac:spMkLst>
            <pc:docMk/>
            <pc:sldMk cId="1011605204" sldId="2147470489"/>
            <ac:spMk id="27" creationId="{BBC193CD-FB21-CAB2-2B7E-C50110174A44}"/>
          </ac:spMkLst>
        </pc:spChg>
        <pc:spChg chg="add mod">
          <ac:chgData name="Miranda Quispe, Bruno Sebastian" userId="5df213b2-8b23-43f1-8137-24ac80ef972a" providerId="ADAL" clId="{E965C011-1063-4CD3-8CA5-A8D35C5C287B}" dt="2022-09-12T03:22:50.143" v="26018" actId="20577"/>
          <ac:spMkLst>
            <pc:docMk/>
            <pc:sldMk cId="1011605204" sldId="2147470489"/>
            <ac:spMk id="29" creationId="{35D8ABC0-5FFF-0788-33BE-53E9AA768314}"/>
          </ac:spMkLst>
        </pc:spChg>
        <pc:spChg chg="add mod">
          <ac:chgData name="Miranda Quispe, Bruno Sebastian" userId="5df213b2-8b23-43f1-8137-24ac80ef972a" providerId="ADAL" clId="{E965C011-1063-4CD3-8CA5-A8D35C5C287B}" dt="2022-09-12T03:23:03.578" v="26031" actId="1076"/>
          <ac:spMkLst>
            <pc:docMk/>
            <pc:sldMk cId="1011605204" sldId="2147470489"/>
            <ac:spMk id="31" creationId="{FA3E79D4-4340-6E7C-1226-B2857A375E1F}"/>
          </ac:spMkLst>
        </pc:spChg>
        <pc:graphicFrameChg chg="add mod modGraphic">
          <ac:chgData name="Miranda Quispe, Bruno Sebastian" userId="5df213b2-8b23-43f1-8137-24ac80ef972a" providerId="ADAL" clId="{E965C011-1063-4CD3-8CA5-A8D35C5C287B}" dt="2022-09-12T03:09:35.029" v="25651" actId="1076"/>
          <ac:graphicFrameMkLst>
            <pc:docMk/>
            <pc:sldMk cId="1011605204" sldId="2147470489"/>
            <ac:graphicFrameMk id="7" creationId="{E563A551-5A37-7328-3CC6-5A1941808A0C}"/>
          </ac:graphicFrameMkLst>
        </pc:graphicFrameChg>
        <pc:graphicFrameChg chg="add mod">
          <ac:chgData name="Miranda Quispe, Bruno Sebastian" userId="5df213b2-8b23-43f1-8137-24ac80ef972a" providerId="ADAL" clId="{E965C011-1063-4CD3-8CA5-A8D35C5C287B}" dt="2022-09-12T03:09:17.146" v="25649" actId="13782"/>
          <ac:graphicFrameMkLst>
            <pc:docMk/>
            <pc:sldMk cId="1011605204" sldId="2147470489"/>
            <ac:graphicFrameMk id="9" creationId="{E9F27DB6-F2EC-5882-82DC-543133DFBDB5}"/>
          </ac:graphicFrameMkLst>
        </pc:graphicFrameChg>
        <pc:graphicFrameChg chg="add del mod">
          <ac:chgData name="Miranda Quispe, Bruno Sebastian" userId="5df213b2-8b23-43f1-8137-24ac80ef972a" providerId="ADAL" clId="{E965C011-1063-4CD3-8CA5-A8D35C5C287B}" dt="2022-09-12T03:07:32.107" v="25639" actId="478"/>
          <ac:graphicFrameMkLst>
            <pc:docMk/>
            <pc:sldMk cId="1011605204" sldId="2147470489"/>
            <ac:graphicFrameMk id="11" creationId="{91461E99-83BA-9435-0350-69FF58790967}"/>
          </ac:graphicFrameMkLst>
        </pc:graphicFrameChg>
        <pc:graphicFrameChg chg="add del mod modGraphic">
          <ac:chgData name="Miranda Quispe, Bruno Sebastian" userId="5df213b2-8b23-43f1-8137-24ac80ef972a" providerId="ADAL" clId="{E965C011-1063-4CD3-8CA5-A8D35C5C287B}" dt="2022-09-12T03:08:40.757" v="25646" actId="478"/>
          <ac:graphicFrameMkLst>
            <pc:docMk/>
            <pc:sldMk cId="1011605204" sldId="2147470489"/>
            <ac:graphicFrameMk id="14" creationId="{19BCAFA9-06A9-C644-6FCD-37D79147F21C}"/>
          </ac:graphicFrameMkLst>
        </pc:graphicFrameChg>
        <pc:graphicFrameChg chg="add del modGraphic">
          <ac:chgData name="Miranda Quispe, Bruno Sebastian" userId="5df213b2-8b23-43f1-8137-24ac80ef972a" providerId="ADAL" clId="{E965C011-1063-4CD3-8CA5-A8D35C5C287B}" dt="2022-09-12T03:09:11.557" v="25648" actId="478"/>
          <ac:graphicFrameMkLst>
            <pc:docMk/>
            <pc:sldMk cId="1011605204" sldId="2147470489"/>
            <ac:graphicFrameMk id="15" creationId="{9F249702-CCF7-E6C7-5057-514F12ACE0C1}"/>
          </ac:graphicFrameMkLst>
        </pc:graphicFrameChg>
        <pc:graphicFrameChg chg="add mod modGraphic">
          <ac:chgData name="Miranda Quispe, Bruno Sebastian" userId="5df213b2-8b23-43f1-8137-24ac80ef972a" providerId="ADAL" clId="{E965C011-1063-4CD3-8CA5-A8D35C5C287B}" dt="2022-09-14T20:16:52.353" v="33259" actId="20577"/>
          <ac:graphicFrameMkLst>
            <pc:docMk/>
            <pc:sldMk cId="1011605204" sldId="2147470489"/>
            <ac:graphicFrameMk id="16" creationId="{4CF97249-BFAC-6CBC-6855-DD1A99BFCC55}"/>
          </ac:graphicFrameMkLst>
        </pc:graphicFrameChg>
        <pc:graphicFrameChg chg="add del mod modGraphic">
          <ac:chgData name="Miranda Quispe, Bruno Sebastian" userId="5df213b2-8b23-43f1-8137-24ac80ef972a" providerId="ADAL" clId="{E965C011-1063-4CD3-8CA5-A8D35C5C287B}" dt="2022-09-12T03:18:48.596" v="25948" actId="478"/>
          <ac:graphicFrameMkLst>
            <pc:docMk/>
            <pc:sldMk cId="1011605204" sldId="2147470489"/>
            <ac:graphicFrameMk id="17" creationId="{80190D24-021E-76FB-6AF1-E74E4D6ACDD8}"/>
          </ac:graphicFrameMkLst>
        </pc:graphicFrameChg>
        <pc:graphicFrameChg chg="add del mod modGraphic">
          <ac:chgData name="Miranda Quispe, Bruno Sebastian" userId="5df213b2-8b23-43f1-8137-24ac80ef972a" providerId="ADAL" clId="{E965C011-1063-4CD3-8CA5-A8D35C5C287B}" dt="2022-09-12T03:19:35.484" v="25955" actId="478"/>
          <ac:graphicFrameMkLst>
            <pc:docMk/>
            <pc:sldMk cId="1011605204" sldId="2147470489"/>
            <ac:graphicFrameMk id="18" creationId="{B3BC5E54-ABFB-7253-AACD-17594BE71A2C}"/>
          </ac:graphicFrameMkLst>
        </pc:graphicFrameChg>
        <pc:cxnChg chg="add mod">
          <ac:chgData name="Miranda Quispe, Bruno Sebastian" userId="5df213b2-8b23-43f1-8137-24ac80ef972a" providerId="ADAL" clId="{E965C011-1063-4CD3-8CA5-A8D35C5C287B}" dt="2022-09-13T15:53:20.270" v="31343" actId="208"/>
          <ac:cxnSpMkLst>
            <pc:docMk/>
            <pc:sldMk cId="1011605204" sldId="2147470489"/>
            <ac:cxnSpMk id="21" creationId="{2FBCEAED-815D-F19D-34D7-DC89BE1EBBD9}"/>
          </ac:cxnSpMkLst>
        </pc:cxnChg>
        <pc:cxnChg chg="add mod">
          <ac:chgData name="Miranda Quispe, Bruno Sebastian" userId="5df213b2-8b23-43f1-8137-24ac80ef972a" providerId="ADAL" clId="{E965C011-1063-4CD3-8CA5-A8D35C5C287B}" dt="2022-09-13T15:53:21.878" v="31344" actId="208"/>
          <ac:cxnSpMkLst>
            <pc:docMk/>
            <pc:sldMk cId="1011605204" sldId="2147470489"/>
            <ac:cxnSpMk id="22" creationId="{792544B1-9FE8-52D7-AC50-60988EFE21DB}"/>
          </ac:cxnSpMkLst>
        </pc:cxnChg>
        <pc:cxnChg chg="add mod">
          <ac:chgData name="Miranda Quispe, Bruno Sebastian" userId="5df213b2-8b23-43f1-8137-24ac80ef972a" providerId="ADAL" clId="{E965C011-1063-4CD3-8CA5-A8D35C5C287B}" dt="2022-09-13T15:53:18.725" v="31342" actId="208"/>
          <ac:cxnSpMkLst>
            <pc:docMk/>
            <pc:sldMk cId="1011605204" sldId="2147470489"/>
            <ac:cxnSpMk id="23" creationId="{CED99601-86A1-A4FB-14E7-E23618A0E773}"/>
          </ac:cxnSpMkLst>
        </pc:cxnChg>
      </pc:sldChg>
      <pc:sldChg chg="addSp delSp modSp new mod modClrScheme chgLayout modNotesTx">
        <pc:chgData name="Miranda Quispe, Bruno Sebastian" userId="5df213b2-8b23-43f1-8137-24ac80ef972a" providerId="ADAL" clId="{E965C011-1063-4CD3-8CA5-A8D35C5C287B}" dt="2022-09-15T15:42:48.309" v="34021" actId="20577"/>
        <pc:sldMkLst>
          <pc:docMk/>
          <pc:sldMk cId="674772914" sldId="2147470490"/>
        </pc:sldMkLst>
        <pc:spChg chg="mod ord">
          <ac:chgData name="Miranda Quispe, Bruno Sebastian" userId="5df213b2-8b23-43f1-8137-24ac80ef972a" providerId="ADAL" clId="{E965C011-1063-4CD3-8CA5-A8D35C5C287B}" dt="2022-09-12T02:33:15.747" v="24554" actId="700"/>
          <ac:spMkLst>
            <pc:docMk/>
            <pc:sldMk cId="674772914" sldId="2147470490"/>
            <ac:spMk id="2" creationId="{C8084939-26A4-B98B-BCEC-75FA3491FB66}"/>
          </ac:spMkLst>
        </pc:spChg>
        <pc:spChg chg="del mod ord">
          <ac:chgData name="Miranda Quispe, Bruno Sebastian" userId="5df213b2-8b23-43f1-8137-24ac80ef972a" providerId="ADAL" clId="{E965C011-1063-4CD3-8CA5-A8D35C5C287B}" dt="2022-09-12T02:33:19.378" v="24555" actId="478"/>
          <ac:spMkLst>
            <pc:docMk/>
            <pc:sldMk cId="674772914" sldId="2147470490"/>
            <ac:spMk id="3" creationId="{698B9038-8EC7-3347-EDA5-B07A085477B7}"/>
          </ac:spMkLst>
        </pc:spChg>
        <pc:spChg chg="del">
          <ac:chgData name="Miranda Quispe, Bruno Sebastian" userId="5df213b2-8b23-43f1-8137-24ac80ef972a" providerId="ADAL" clId="{E965C011-1063-4CD3-8CA5-A8D35C5C287B}" dt="2022-09-12T02:31:58.069" v="24489" actId="478"/>
          <ac:spMkLst>
            <pc:docMk/>
            <pc:sldMk cId="674772914" sldId="2147470490"/>
            <ac:spMk id="4" creationId="{A03CB876-67E6-E87C-9C1A-D6F1033E1C23}"/>
          </ac:spMkLst>
        </pc:spChg>
        <pc:spChg chg="add">
          <ac:chgData name="Miranda Quispe, Bruno Sebastian" userId="5df213b2-8b23-43f1-8137-24ac80ef972a" providerId="ADAL" clId="{E965C011-1063-4CD3-8CA5-A8D35C5C287B}" dt="2022-09-15T15:41:12.057" v="33972" actId="22"/>
          <ac:spMkLst>
            <pc:docMk/>
            <pc:sldMk cId="674772914" sldId="2147470490"/>
            <ac:spMk id="4" creationId="{C8ABF831-1BE0-1F3E-DDDD-DF625DCF3D48}"/>
          </ac:spMkLst>
        </pc:spChg>
        <pc:spChg chg="add mod ord">
          <ac:chgData name="Miranda Quispe, Bruno Sebastian" userId="5df213b2-8b23-43f1-8137-24ac80ef972a" providerId="ADAL" clId="{E965C011-1063-4CD3-8CA5-A8D35C5C287B}" dt="2022-09-12T02:33:56.884" v="24601" actId="313"/>
          <ac:spMkLst>
            <pc:docMk/>
            <pc:sldMk cId="674772914" sldId="2147470490"/>
            <ac:spMk id="7" creationId="{8CF5C771-0200-7AC5-C610-2946883292BB}"/>
          </ac:spMkLst>
        </pc:spChg>
        <pc:graphicFrameChg chg="add mod modGraphic">
          <ac:chgData name="Miranda Quispe, Bruno Sebastian" userId="5df213b2-8b23-43f1-8137-24ac80ef972a" providerId="ADAL" clId="{E965C011-1063-4CD3-8CA5-A8D35C5C287B}" dt="2022-09-15T15:42:48.309" v="34021" actId="20577"/>
          <ac:graphicFrameMkLst>
            <pc:docMk/>
            <pc:sldMk cId="674772914" sldId="2147470490"/>
            <ac:graphicFrameMk id="6" creationId="{BDFDF6B4-44BC-EE9F-DC7E-FEF8EB4B7904}"/>
          </ac:graphicFrameMkLst>
        </pc:graphicFrameChg>
      </pc:sldChg>
      <pc:sldChg chg="delSp modSp add del mod">
        <pc:chgData name="Miranda Quispe, Bruno Sebastian" userId="5df213b2-8b23-43f1-8137-24ac80ef972a" providerId="ADAL" clId="{E965C011-1063-4CD3-8CA5-A8D35C5C287B}" dt="2022-09-12T02:31:24.656" v="24427" actId="2696"/>
        <pc:sldMkLst>
          <pc:docMk/>
          <pc:sldMk cId="1710815910" sldId="2147470490"/>
        </pc:sldMkLst>
        <pc:spChg chg="mod">
          <ac:chgData name="Miranda Quispe, Bruno Sebastian" userId="5df213b2-8b23-43f1-8137-24ac80ef972a" providerId="ADAL" clId="{E965C011-1063-4CD3-8CA5-A8D35C5C287B}" dt="2022-09-12T02:31:21.180" v="24426" actId="1076"/>
          <ac:spMkLst>
            <pc:docMk/>
            <pc:sldMk cId="1710815910" sldId="2147470490"/>
            <ac:spMk id="4" creationId="{FDB57992-E4BF-9826-74D3-7679E977F6A8}"/>
          </ac:spMkLst>
        </pc:spChg>
        <pc:spChg chg="del">
          <ac:chgData name="Miranda Quispe, Bruno Sebastian" userId="5df213b2-8b23-43f1-8137-24ac80ef972a" providerId="ADAL" clId="{E965C011-1063-4CD3-8CA5-A8D35C5C287B}" dt="2022-09-12T02:31:19.863" v="24425" actId="478"/>
          <ac:spMkLst>
            <pc:docMk/>
            <pc:sldMk cId="1710815910" sldId="2147470490"/>
            <ac:spMk id="9" creationId="{EB8A4F4F-F55E-6B0E-D4EE-61E67CA26A13}"/>
          </ac:spMkLst>
        </pc:spChg>
        <pc:spChg chg="mod">
          <ac:chgData name="Miranda Quispe, Bruno Sebastian" userId="5df213b2-8b23-43f1-8137-24ac80ef972a" providerId="ADAL" clId="{E965C011-1063-4CD3-8CA5-A8D35C5C287B}" dt="2022-09-12T02:31:18.849" v="24424" actId="6549"/>
          <ac:spMkLst>
            <pc:docMk/>
            <pc:sldMk cId="1710815910" sldId="2147470490"/>
            <ac:spMk id="11" creationId="{61EF8B22-1124-42A1-00F5-3D68E0C68F14}"/>
          </ac:spMkLst>
        </pc:spChg>
        <pc:graphicFrameChg chg="mod">
          <ac:chgData name="Miranda Quispe, Bruno Sebastian" userId="5df213b2-8b23-43f1-8137-24ac80ef972a" providerId="ADAL" clId="{E965C011-1063-4CD3-8CA5-A8D35C5C287B}" dt="2022-09-12T02:31:18.177" v="24423" actId="20577"/>
          <ac:graphicFrameMkLst>
            <pc:docMk/>
            <pc:sldMk cId="1710815910" sldId="2147470490"/>
            <ac:graphicFrameMk id="6" creationId="{417C9E6D-76C3-E652-E0B0-BDB3F44998AC}"/>
          </ac:graphicFrameMkLst>
        </pc:graphicFrameChg>
      </pc:sldChg>
      <pc:sldChg chg="addSp delSp modSp new mod modClrScheme chgLayout">
        <pc:chgData name="Miranda Quispe, Bruno Sebastian" userId="5df213b2-8b23-43f1-8137-24ac80ef972a" providerId="ADAL" clId="{E965C011-1063-4CD3-8CA5-A8D35C5C287B}" dt="2022-09-15T15:43:24.962" v="34027" actId="20577"/>
        <pc:sldMkLst>
          <pc:docMk/>
          <pc:sldMk cId="592516954" sldId="2147470491"/>
        </pc:sldMkLst>
        <pc:spChg chg="del mod ord">
          <ac:chgData name="Miranda Quispe, Bruno Sebastian" userId="5df213b2-8b23-43f1-8137-24ac80ef972a" providerId="ADAL" clId="{E965C011-1063-4CD3-8CA5-A8D35C5C287B}" dt="2022-09-12T02:47:34.488" v="25107" actId="700"/>
          <ac:spMkLst>
            <pc:docMk/>
            <pc:sldMk cId="592516954" sldId="2147470491"/>
            <ac:spMk id="2" creationId="{40F07646-14FD-58AC-E778-224D80394B80}"/>
          </ac:spMkLst>
        </pc:spChg>
        <pc:spChg chg="del mod ord">
          <ac:chgData name="Miranda Quispe, Bruno Sebastian" userId="5df213b2-8b23-43f1-8137-24ac80ef972a" providerId="ADAL" clId="{E965C011-1063-4CD3-8CA5-A8D35C5C287B}" dt="2022-09-12T02:47:34.488" v="25107" actId="700"/>
          <ac:spMkLst>
            <pc:docMk/>
            <pc:sldMk cId="592516954" sldId="2147470491"/>
            <ac:spMk id="3" creationId="{D9A66838-EA07-C13B-0F5C-DFACBD132149}"/>
          </ac:spMkLst>
        </pc:spChg>
        <pc:spChg chg="add del mod ord">
          <ac:chgData name="Miranda Quispe, Bruno Sebastian" userId="5df213b2-8b23-43f1-8137-24ac80ef972a" providerId="ADAL" clId="{E965C011-1063-4CD3-8CA5-A8D35C5C287B}" dt="2022-09-12T02:47:48.085" v="25108" actId="700"/>
          <ac:spMkLst>
            <pc:docMk/>
            <pc:sldMk cId="592516954" sldId="2147470491"/>
            <ac:spMk id="4" creationId="{3EBD61A9-29AA-FC9E-BE04-E776A9DFA13D}"/>
          </ac:spMkLst>
        </pc:spChg>
        <pc:spChg chg="add del mod ord">
          <ac:chgData name="Miranda Quispe, Bruno Sebastian" userId="5df213b2-8b23-43f1-8137-24ac80ef972a" providerId="ADAL" clId="{E965C011-1063-4CD3-8CA5-A8D35C5C287B}" dt="2022-09-12T02:47:48.085" v="25108" actId="700"/>
          <ac:spMkLst>
            <pc:docMk/>
            <pc:sldMk cId="592516954" sldId="2147470491"/>
            <ac:spMk id="5" creationId="{69FE8422-B026-5781-1C3A-E6C56AC54DD4}"/>
          </ac:spMkLst>
        </pc:spChg>
        <pc:spChg chg="add del mod ord">
          <ac:chgData name="Miranda Quispe, Bruno Sebastian" userId="5df213b2-8b23-43f1-8137-24ac80ef972a" providerId="ADAL" clId="{E965C011-1063-4CD3-8CA5-A8D35C5C287B}" dt="2022-09-12T02:47:48.085" v="25108" actId="700"/>
          <ac:spMkLst>
            <pc:docMk/>
            <pc:sldMk cId="592516954" sldId="2147470491"/>
            <ac:spMk id="6" creationId="{545C6413-4F29-9985-0B09-71B3EA797528}"/>
          </ac:spMkLst>
        </pc:spChg>
        <pc:spChg chg="add del mod ord">
          <ac:chgData name="Miranda Quispe, Bruno Sebastian" userId="5df213b2-8b23-43f1-8137-24ac80ef972a" providerId="ADAL" clId="{E965C011-1063-4CD3-8CA5-A8D35C5C287B}" dt="2022-09-12T02:47:54.401" v="25109" actId="700"/>
          <ac:spMkLst>
            <pc:docMk/>
            <pc:sldMk cId="592516954" sldId="2147470491"/>
            <ac:spMk id="7" creationId="{D2DFA020-3A57-3063-D83C-B64E647C31B2}"/>
          </ac:spMkLst>
        </pc:spChg>
        <pc:spChg chg="add del mod ord">
          <ac:chgData name="Miranda Quispe, Bruno Sebastian" userId="5df213b2-8b23-43f1-8137-24ac80ef972a" providerId="ADAL" clId="{E965C011-1063-4CD3-8CA5-A8D35C5C287B}" dt="2022-09-12T02:47:54.401" v="25109" actId="700"/>
          <ac:spMkLst>
            <pc:docMk/>
            <pc:sldMk cId="592516954" sldId="2147470491"/>
            <ac:spMk id="8" creationId="{706DCCDB-35D6-AA53-4D53-5680BDD5AEB8}"/>
          </ac:spMkLst>
        </pc:spChg>
        <pc:spChg chg="add mod ord">
          <ac:chgData name="Miranda Quispe, Bruno Sebastian" userId="5df213b2-8b23-43f1-8137-24ac80ef972a" providerId="ADAL" clId="{E965C011-1063-4CD3-8CA5-A8D35C5C287B}" dt="2022-09-12T04:16:40.343" v="26163" actId="20577"/>
          <ac:spMkLst>
            <pc:docMk/>
            <pc:sldMk cId="592516954" sldId="2147470491"/>
            <ac:spMk id="9" creationId="{D488B292-0289-9098-65FF-B8F9AAAB34A6}"/>
          </ac:spMkLst>
        </pc:spChg>
        <pc:spChg chg="add del mod ord">
          <ac:chgData name="Miranda Quispe, Bruno Sebastian" userId="5df213b2-8b23-43f1-8137-24ac80ef972a" providerId="ADAL" clId="{E965C011-1063-4CD3-8CA5-A8D35C5C287B}" dt="2022-09-12T04:14:25.085" v="26106" actId="478"/>
          <ac:spMkLst>
            <pc:docMk/>
            <pc:sldMk cId="592516954" sldId="2147470491"/>
            <ac:spMk id="10" creationId="{6D1D7A63-3FE2-115B-1C52-0A07B52A229B}"/>
          </ac:spMkLst>
        </pc:spChg>
        <pc:spChg chg="add mod">
          <ac:chgData name="Miranda Quispe, Bruno Sebastian" userId="5df213b2-8b23-43f1-8137-24ac80ef972a" providerId="ADAL" clId="{E965C011-1063-4CD3-8CA5-A8D35C5C287B}" dt="2022-09-12T04:17:10.731" v="26232" actId="1076"/>
          <ac:spMkLst>
            <pc:docMk/>
            <pc:sldMk cId="592516954" sldId="2147470491"/>
            <ac:spMk id="14" creationId="{E341B41D-D8EA-0F08-861E-F0ECA3DE2B16}"/>
          </ac:spMkLst>
        </pc:spChg>
        <pc:spChg chg="add mod">
          <ac:chgData name="Miranda Quispe, Bruno Sebastian" userId="5df213b2-8b23-43f1-8137-24ac80ef972a" providerId="ADAL" clId="{E965C011-1063-4CD3-8CA5-A8D35C5C287B}" dt="2022-09-12T04:22:31.163" v="26275" actId="1076"/>
          <ac:spMkLst>
            <pc:docMk/>
            <pc:sldMk cId="592516954" sldId="2147470491"/>
            <ac:spMk id="18" creationId="{1441FAEE-92BC-F84A-D6BD-C9321CDC2CC5}"/>
          </ac:spMkLst>
        </pc:spChg>
        <pc:spChg chg="add mod">
          <ac:chgData name="Miranda Quispe, Bruno Sebastian" userId="5df213b2-8b23-43f1-8137-24ac80ef972a" providerId="ADAL" clId="{E965C011-1063-4CD3-8CA5-A8D35C5C287B}" dt="2022-09-12T04:23:12.459" v="26307" actId="1076"/>
          <ac:spMkLst>
            <pc:docMk/>
            <pc:sldMk cId="592516954" sldId="2147470491"/>
            <ac:spMk id="24" creationId="{782CDC06-FBB0-A76E-B74D-80A5CA9A5AD1}"/>
          </ac:spMkLst>
        </pc:spChg>
        <pc:spChg chg="add mod">
          <ac:chgData name="Miranda Quispe, Bruno Sebastian" userId="5df213b2-8b23-43f1-8137-24ac80ef972a" providerId="ADAL" clId="{E965C011-1063-4CD3-8CA5-A8D35C5C287B}" dt="2022-09-12T04:29:04.875" v="26400" actId="1076"/>
          <ac:spMkLst>
            <pc:docMk/>
            <pc:sldMk cId="592516954" sldId="2147470491"/>
            <ac:spMk id="28" creationId="{173DCC71-41DC-AD2B-8234-4E22443A93A3}"/>
          </ac:spMkLst>
        </pc:spChg>
        <pc:spChg chg="del mod">
          <ac:chgData name="Miranda Quispe, Bruno Sebastian" userId="5df213b2-8b23-43f1-8137-24ac80ef972a" providerId="ADAL" clId="{E965C011-1063-4CD3-8CA5-A8D35C5C287B}" dt="2022-09-12T04:25:33.263" v="26368" actId="478"/>
          <ac:spMkLst>
            <pc:docMk/>
            <pc:sldMk cId="592516954" sldId="2147470491"/>
            <ac:spMk id="32" creationId="{A1F4E9E5-670F-1510-A8A7-2ED382F55F83}"/>
          </ac:spMkLst>
        </pc:spChg>
        <pc:spChg chg="del mod">
          <ac:chgData name="Miranda Quispe, Bruno Sebastian" userId="5df213b2-8b23-43f1-8137-24ac80ef972a" providerId="ADAL" clId="{E965C011-1063-4CD3-8CA5-A8D35C5C287B}" dt="2022-09-12T04:25:36.783" v="26369" actId="478"/>
          <ac:spMkLst>
            <pc:docMk/>
            <pc:sldMk cId="592516954" sldId="2147470491"/>
            <ac:spMk id="33" creationId="{90B16BEF-9BFB-6558-CCEC-B74A6174C0B5}"/>
          </ac:spMkLst>
        </pc:spChg>
        <pc:spChg chg="del mod">
          <ac:chgData name="Miranda Quispe, Bruno Sebastian" userId="5df213b2-8b23-43f1-8137-24ac80ef972a" providerId="ADAL" clId="{E965C011-1063-4CD3-8CA5-A8D35C5C287B}" dt="2022-09-12T04:25:36.783" v="26369" actId="478"/>
          <ac:spMkLst>
            <pc:docMk/>
            <pc:sldMk cId="592516954" sldId="2147470491"/>
            <ac:spMk id="34" creationId="{380F016D-CAF8-76F4-553B-1D25E04AA45E}"/>
          </ac:spMkLst>
        </pc:spChg>
        <pc:spChg chg="del mod">
          <ac:chgData name="Miranda Quispe, Bruno Sebastian" userId="5df213b2-8b23-43f1-8137-24ac80ef972a" providerId="ADAL" clId="{E965C011-1063-4CD3-8CA5-A8D35C5C287B}" dt="2022-09-12T04:25:36.783" v="26369" actId="478"/>
          <ac:spMkLst>
            <pc:docMk/>
            <pc:sldMk cId="592516954" sldId="2147470491"/>
            <ac:spMk id="35" creationId="{A8292D04-C40B-F9A4-B346-F6AE93DA7067}"/>
          </ac:spMkLst>
        </pc:spChg>
        <pc:spChg chg="del mod">
          <ac:chgData name="Miranda Quispe, Bruno Sebastian" userId="5df213b2-8b23-43f1-8137-24ac80ef972a" providerId="ADAL" clId="{E965C011-1063-4CD3-8CA5-A8D35C5C287B}" dt="2022-09-12T04:25:36.783" v="26369" actId="478"/>
          <ac:spMkLst>
            <pc:docMk/>
            <pc:sldMk cId="592516954" sldId="2147470491"/>
            <ac:spMk id="36" creationId="{071186E7-1167-03F2-8387-C28A4FD82EFA}"/>
          </ac:spMkLst>
        </pc:spChg>
        <pc:spChg chg="del mod">
          <ac:chgData name="Miranda Quispe, Bruno Sebastian" userId="5df213b2-8b23-43f1-8137-24ac80ef972a" providerId="ADAL" clId="{E965C011-1063-4CD3-8CA5-A8D35C5C287B}" dt="2022-09-12T04:25:36.783" v="26369" actId="478"/>
          <ac:spMkLst>
            <pc:docMk/>
            <pc:sldMk cId="592516954" sldId="2147470491"/>
            <ac:spMk id="37" creationId="{C48F2DEF-23D6-2D39-9331-7A1D1551868E}"/>
          </ac:spMkLst>
        </pc:spChg>
        <pc:spChg chg="del mod">
          <ac:chgData name="Miranda Quispe, Bruno Sebastian" userId="5df213b2-8b23-43f1-8137-24ac80ef972a" providerId="ADAL" clId="{E965C011-1063-4CD3-8CA5-A8D35C5C287B}" dt="2022-09-12T04:25:36.783" v="26369" actId="478"/>
          <ac:spMkLst>
            <pc:docMk/>
            <pc:sldMk cId="592516954" sldId="2147470491"/>
            <ac:spMk id="38" creationId="{F978F15E-FB75-780D-D19D-92AA176E4AA1}"/>
          </ac:spMkLst>
        </pc:spChg>
        <pc:spChg chg="del mod">
          <ac:chgData name="Miranda Quispe, Bruno Sebastian" userId="5df213b2-8b23-43f1-8137-24ac80ef972a" providerId="ADAL" clId="{E965C011-1063-4CD3-8CA5-A8D35C5C287B}" dt="2022-09-12T04:25:36.783" v="26369" actId="478"/>
          <ac:spMkLst>
            <pc:docMk/>
            <pc:sldMk cId="592516954" sldId="2147470491"/>
            <ac:spMk id="39" creationId="{E2403FC5-2279-4AB3-1136-5D09F064B5B8}"/>
          </ac:spMkLst>
        </pc:spChg>
        <pc:spChg chg="add mod">
          <ac:chgData name="Miranda Quispe, Bruno Sebastian" userId="5df213b2-8b23-43f1-8137-24ac80ef972a" providerId="ADAL" clId="{E965C011-1063-4CD3-8CA5-A8D35C5C287B}" dt="2022-09-15T15:43:24.962" v="34027" actId="20577"/>
          <ac:spMkLst>
            <pc:docMk/>
            <pc:sldMk cId="592516954" sldId="2147470491"/>
            <ac:spMk id="43" creationId="{C8FD9824-0A37-B238-AC63-8C4226879AA8}"/>
          </ac:spMkLst>
        </pc:spChg>
        <pc:spChg chg="add mod">
          <ac:chgData name="Miranda Quispe, Bruno Sebastian" userId="5df213b2-8b23-43f1-8137-24ac80ef972a" providerId="ADAL" clId="{E965C011-1063-4CD3-8CA5-A8D35C5C287B}" dt="2022-09-12T04:32:55.652" v="26445" actId="20577"/>
          <ac:spMkLst>
            <pc:docMk/>
            <pc:sldMk cId="592516954" sldId="2147470491"/>
            <ac:spMk id="47" creationId="{6186E5A6-3BEC-670E-DFC1-C8D6029653AA}"/>
          </ac:spMkLst>
        </pc:spChg>
        <pc:grpChg chg="del mod">
          <ac:chgData name="Miranda Quispe, Bruno Sebastian" userId="5df213b2-8b23-43f1-8137-24ac80ef972a" providerId="ADAL" clId="{E965C011-1063-4CD3-8CA5-A8D35C5C287B}" dt="2022-09-12T04:25:28.529" v="26366" actId="27803"/>
          <ac:grpSpMkLst>
            <pc:docMk/>
            <pc:sldMk cId="592516954" sldId="2147470491"/>
            <ac:grpSpMk id="31" creationId="{7AE86AE3-6400-CA3B-5FFD-0CEA4F788477}"/>
          </ac:grpSpMkLst>
        </pc:grpChg>
        <pc:picChg chg="add mod">
          <ac:chgData name="Miranda Quispe, Bruno Sebastian" userId="5df213b2-8b23-43f1-8137-24ac80ef972a" providerId="ADAL" clId="{E965C011-1063-4CD3-8CA5-A8D35C5C287B}" dt="2022-09-12T04:16:50.875" v="26166" actId="1076"/>
          <ac:picMkLst>
            <pc:docMk/>
            <pc:sldMk cId="592516954" sldId="2147470491"/>
            <ac:picMk id="12" creationId="{52F1CF99-E82A-05E1-254B-4B65794D6372}"/>
          </ac:picMkLst>
        </pc:picChg>
        <pc:picChg chg="add mod">
          <ac:chgData name="Miranda Quispe, Bruno Sebastian" userId="5df213b2-8b23-43f1-8137-24ac80ef972a" providerId="ADAL" clId="{E965C011-1063-4CD3-8CA5-A8D35C5C287B}" dt="2022-09-12T04:22:34.244" v="26276" actId="1076"/>
          <ac:picMkLst>
            <pc:docMk/>
            <pc:sldMk cId="592516954" sldId="2147470491"/>
            <ac:picMk id="16" creationId="{C8C7BAC5-FA9C-C684-5203-5F14FCFDE7FC}"/>
          </ac:picMkLst>
        </pc:picChg>
        <pc:picChg chg="add mod">
          <ac:chgData name="Miranda Quispe, Bruno Sebastian" userId="5df213b2-8b23-43f1-8137-24ac80ef972a" providerId="ADAL" clId="{E965C011-1063-4CD3-8CA5-A8D35C5C287B}" dt="2022-09-12T04:23:06.916" v="26306" actId="1076"/>
          <ac:picMkLst>
            <pc:docMk/>
            <pc:sldMk cId="592516954" sldId="2147470491"/>
            <ac:picMk id="20" creationId="{758AD145-2E69-2C2B-2DE5-03FD80D9389E}"/>
          </ac:picMkLst>
        </pc:picChg>
        <pc:picChg chg="add del">
          <ac:chgData name="Miranda Quispe, Bruno Sebastian" userId="5df213b2-8b23-43f1-8137-24ac80ef972a" providerId="ADAL" clId="{E965C011-1063-4CD3-8CA5-A8D35C5C287B}" dt="2022-09-12T04:22:41.738" v="26279" actId="22"/>
          <ac:picMkLst>
            <pc:docMk/>
            <pc:sldMk cId="592516954" sldId="2147470491"/>
            <ac:picMk id="22" creationId="{CD75BDD8-7470-4E59-17EF-A816645799C3}"/>
          </ac:picMkLst>
        </pc:picChg>
        <pc:picChg chg="add mod">
          <ac:chgData name="Miranda Quispe, Bruno Sebastian" userId="5df213b2-8b23-43f1-8137-24ac80ef972a" providerId="ADAL" clId="{E965C011-1063-4CD3-8CA5-A8D35C5C287B}" dt="2022-09-12T04:29:04.875" v="26400" actId="1076"/>
          <ac:picMkLst>
            <pc:docMk/>
            <pc:sldMk cId="592516954" sldId="2147470491"/>
            <ac:picMk id="26" creationId="{60116028-B3B9-3A53-1527-62432DF30925}"/>
          </ac:picMkLst>
        </pc:picChg>
        <pc:picChg chg="add del mod">
          <ac:chgData name="Miranda Quispe, Bruno Sebastian" userId="5df213b2-8b23-43f1-8137-24ac80ef972a" providerId="ADAL" clId="{E965C011-1063-4CD3-8CA5-A8D35C5C287B}" dt="2022-09-12T04:25:28.529" v="26366" actId="27803"/>
          <ac:picMkLst>
            <pc:docMk/>
            <pc:sldMk cId="592516954" sldId="2147470491"/>
            <ac:picMk id="30" creationId="{BCD2CC07-1566-9E45-5C32-EA5288892A50}"/>
          </ac:picMkLst>
        </pc:picChg>
        <pc:picChg chg="add mod">
          <ac:chgData name="Miranda Quispe, Bruno Sebastian" userId="5df213b2-8b23-43f1-8137-24ac80ef972a" providerId="ADAL" clId="{E965C011-1063-4CD3-8CA5-A8D35C5C287B}" dt="2022-09-12T04:29:23.811" v="26402" actId="1076"/>
          <ac:picMkLst>
            <pc:docMk/>
            <pc:sldMk cId="592516954" sldId="2147470491"/>
            <ac:picMk id="41" creationId="{07173390-8BEB-F910-3E07-7470BC86D9E3}"/>
          </ac:picMkLst>
        </pc:picChg>
        <pc:picChg chg="add mod">
          <ac:chgData name="Miranda Quispe, Bruno Sebastian" userId="5df213b2-8b23-43f1-8137-24ac80ef972a" providerId="ADAL" clId="{E965C011-1063-4CD3-8CA5-A8D35C5C287B}" dt="2022-09-12T04:32:38.918" v="26407" actId="1076"/>
          <ac:picMkLst>
            <pc:docMk/>
            <pc:sldMk cId="592516954" sldId="2147470491"/>
            <ac:picMk id="45" creationId="{F6681F2B-30C6-CACF-9E94-7ED3D2B28E08}"/>
          </ac:picMkLst>
        </pc:picChg>
      </pc:sldChg>
      <pc:sldChg chg="addSp delSp modSp new del mod ord setBg modClrScheme chgLayout">
        <pc:chgData name="Miranda Quispe, Bruno Sebastian" userId="5df213b2-8b23-43f1-8137-24ac80ef972a" providerId="ADAL" clId="{E965C011-1063-4CD3-8CA5-A8D35C5C287B}" dt="2022-09-15T15:43:00.494" v="34022" actId="47"/>
        <pc:sldMkLst>
          <pc:docMk/>
          <pc:sldMk cId="2504779781" sldId="2147470492"/>
        </pc:sldMkLst>
        <pc:spChg chg="mod ord">
          <ac:chgData name="Miranda Quispe, Bruno Sebastian" userId="5df213b2-8b23-43f1-8137-24ac80ef972a" providerId="ADAL" clId="{E965C011-1063-4CD3-8CA5-A8D35C5C287B}" dt="2022-09-12T04:41:32.641" v="26516" actId="700"/>
          <ac:spMkLst>
            <pc:docMk/>
            <pc:sldMk cId="2504779781" sldId="2147470492"/>
            <ac:spMk id="2" creationId="{DDF4422B-C5AB-561A-FCE6-77F86AAFDAA6}"/>
          </ac:spMkLst>
        </pc:spChg>
        <pc:spChg chg="del mod ord">
          <ac:chgData name="Miranda Quispe, Bruno Sebastian" userId="5df213b2-8b23-43f1-8137-24ac80ef972a" providerId="ADAL" clId="{E965C011-1063-4CD3-8CA5-A8D35C5C287B}" dt="2022-09-12T04:41:36.078" v="26517" actId="478"/>
          <ac:spMkLst>
            <pc:docMk/>
            <pc:sldMk cId="2504779781" sldId="2147470492"/>
            <ac:spMk id="3" creationId="{4CD22D12-831C-0BF5-F7BC-7F1812E4C07B}"/>
          </ac:spMkLst>
        </pc:spChg>
        <pc:spChg chg="add del mod">
          <ac:chgData name="Miranda Quispe, Bruno Sebastian" userId="5df213b2-8b23-43f1-8137-24ac80ef972a" providerId="ADAL" clId="{E965C011-1063-4CD3-8CA5-A8D35C5C287B}" dt="2022-09-12T15:50:13.220" v="26597" actId="478"/>
          <ac:spMkLst>
            <pc:docMk/>
            <pc:sldMk cId="2504779781" sldId="2147470492"/>
            <ac:spMk id="4" creationId="{7F2CBC45-E8E0-83B5-37A0-576ADE4C7AE7}"/>
          </ac:spMkLst>
        </pc:spChg>
        <pc:spChg chg="del">
          <ac:chgData name="Miranda Quispe, Bruno Sebastian" userId="5df213b2-8b23-43f1-8137-24ac80ef972a" providerId="ADAL" clId="{E965C011-1063-4CD3-8CA5-A8D35C5C287B}" dt="2022-09-12T04:41:25.450" v="26515" actId="478"/>
          <ac:spMkLst>
            <pc:docMk/>
            <pc:sldMk cId="2504779781" sldId="2147470492"/>
            <ac:spMk id="4" creationId="{98B6B278-601F-4F0D-7816-249CBCB1C3A6}"/>
          </ac:spMkLst>
        </pc:spChg>
        <pc:spChg chg="add mod ord">
          <ac:chgData name="Miranda Quispe, Bruno Sebastian" userId="5df213b2-8b23-43f1-8137-24ac80ef972a" providerId="ADAL" clId="{E965C011-1063-4CD3-8CA5-A8D35C5C287B}" dt="2022-09-14T20:00:51.701" v="33064" actId="20577"/>
          <ac:spMkLst>
            <pc:docMk/>
            <pc:sldMk cId="2504779781" sldId="2147470492"/>
            <ac:spMk id="5" creationId="{3CCDF212-5721-61B6-8A59-E40B62B913A3}"/>
          </ac:spMkLst>
        </pc:spChg>
        <pc:spChg chg="add del mod">
          <ac:chgData name="Miranda Quispe, Bruno Sebastian" userId="5df213b2-8b23-43f1-8137-24ac80ef972a" providerId="ADAL" clId="{E965C011-1063-4CD3-8CA5-A8D35C5C287B}" dt="2022-09-12T16:02:45.090" v="26693" actId="478"/>
          <ac:spMkLst>
            <pc:docMk/>
            <pc:sldMk cId="2504779781" sldId="2147470492"/>
            <ac:spMk id="23" creationId="{1B953818-B62D-BBBF-8790-8E091B60C3A4}"/>
          </ac:spMkLst>
        </pc:spChg>
        <pc:spChg chg="add del mod">
          <ac:chgData name="Miranda Quispe, Bruno Sebastian" userId="5df213b2-8b23-43f1-8137-24ac80ef972a" providerId="ADAL" clId="{E965C011-1063-4CD3-8CA5-A8D35C5C287B}" dt="2022-09-12T16:02:44.174" v="26692" actId="478"/>
          <ac:spMkLst>
            <pc:docMk/>
            <pc:sldMk cId="2504779781" sldId="2147470492"/>
            <ac:spMk id="25" creationId="{8DD4A663-5833-A395-CDC8-2C0DBAC551AC}"/>
          </ac:spMkLst>
        </pc:spChg>
        <pc:grpChg chg="add mod">
          <ac:chgData name="Miranda Quispe, Bruno Sebastian" userId="5df213b2-8b23-43f1-8137-24ac80ef972a" providerId="ADAL" clId="{E965C011-1063-4CD3-8CA5-A8D35C5C287B}" dt="2022-09-12T16:10:50.912" v="27330" actId="14100"/>
          <ac:grpSpMkLst>
            <pc:docMk/>
            <pc:sldMk cId="2504779781" sldId="2147470492"/>
            <ac:grpSpMk id="32" creationId="{651C2C9B-65F3-FBB5-EA8C-4883885A3463}"/>
          </ac:grpSpMkLst>
        </pc:grpChg>
        <pc:grpChg chg="add mod">
          <ac:chgData name="Miranda Quispe, Bruno Sebastian" userId="5df213b2-8b23-43f1-8137-24ac80ef972a" providerId="ADAL" clId="{E965C011-1063-4CD3-8CA5-A8D35C5C287B}" dt="2022-09-12T16:04:34.801" v="26733" actId="164"/>
          <ac:grpSpMkLst>
            <pc:docMk/>
            <pc:sldMk cId="2504779781" sldId="2147470492"/>
            <ac:grpSpMk id="33" creationId="{20D9BD0E-9B3D-F201-906B-A7E5968CDDDA}"/>
          </ac:grpSpMkLst>
        </pc:grpChg>
        <pc:grpChg chg="add mod">
          <ac:chgData name="Miranda Quispe, Bruno Sebastian" userId="5df213b2-8b23-43f1-8137-24ac80ef972a" providerId="ADAL" clId="{E965C011-1063-4CD3-8CA5-A8D35C5C287B}" dt="2022-09-12T16:11:24.960" v="27337" actId="164"/>
          <ac:grpSpMkLst>
            <pc:docMk/>
            <pc:sldMk cId="2504779781" sldId="2147470492"/>
            <ac:grpSpMk id="34" creationId="{9F766752-1B5E-5A5D-7D2F-C20AA03B34D8}"/>
          </ac:grpSpMkLst>
        </pc:grpChg>
        <pc:grpChg chg="add del mod">
          <ac:chgData name="Miranda Quispe, Bruno Sebastian" userId="5df213b2-8b23-43f1-8137-24ac80ef972a" providerId="ADAL" clId="{E965C011-1063-4CD3-8CA5-A8D35C5C287B}" dt="2022-09-14T21:22:58.553" v="33386" actId="478"/>
          <ac:grpSpMkLst>
            <pc:docMk/>
            <pc:sldMk cId="2504779781" sldId="2147470492"/>
            <ac:grpSpMk id="37" creationId="{D214E84C-D89F-EEEE-D840-3965A711E99B}"/>
          </ac:grpSpMkLst>
        </pc:grpChg>
        <pc:grpChg chg="add mod">
          <ac:chgData name="Miranda Quispe, Bruno Sebastian" userId="5df213b2-8b23-43f1-8137-24ac80ef972a" providerId="ADAL" clId="{E965C011-1063-4CD3-8CA5-A8D35C5C287B}" dt="2022-09-12T16:11:24.960" v="27337" actId="164"/>
          <ac:grpSpMkLst>
            <pc:docMk/>
            <pc:sldMk cId="2504779781" sldId="2147470492"/>
            <ac:grpSpMk id="41" creationId="{661C2855-8C0D-B35B-DB05-10163708D191}"/>
          </ac:grpSpMkLst>
        </pc:grpChg>
        <pc:grpChg chg="add mod">
          <ac:chgData name="Miranda Quispe, Bruno Sebastian" userId="5df213b2-8b23-43f1-8137-24ac80ef972a" providerId="ADAL" clId="{E965C011-1063-4CD3-8CA5-A8D35C5C287B}" dt="2022-09-12T16:14:12.526" v="27442" actId="1076"/>
          <ac:grpSpMkLst>
            <pc:docMk/>
            <pc:sldMk cId="2504779781" sldId="2147470492"/>
            <ac:grpSpMk id="60" creationId="{7C8AE1A2-E854-6BC8-8821-49F1E8904F31}"/>
          </ac:grpSpMkLst>
        </pc:grpChg>
        <pc:grpChg chg="add mod">
          <ac:chgData name="Miranda Quispe, Bruno Sebastian" userId="5df213b2-8b23-43f1-8137-24ac80ef972a" providerId="ADAL" clId="{E965C011-1063-4CD3-8CA5-A8D35C5C287B}" dt="2022-09-12T16:14:56.853" v="27457" actId="1076"/>
          <ac:grpSpMkLst>
            <pc:docMk/>
            <pc:sldMk cId="2504779781" sldId="2147470492"/>
            <ac:grpSpMk id="67" creationId="{FFCAABB9-AC5A-D043-B3D4-F90BA7D69AFA}"/>
          </ac:grpSpMkLst>
        </pc:grpChg>
        <pc:graphicFrameChg chg="add del mod modGraphic">
          <ac:chgData name="Miranda Quispe, Bruno Sebastian" userId="5df213b2-8b23-43f1-8137-24ac80ef972a" providerId="ADAL" clId="{E965C011-1063-4CD3-8CA5-A8D35C5C287B}" dt="2022-09-12T16:02:15.067" v="26681" actId="478"/>
          <ac:graphicFrameMkLst>
            <pc:docMk/>
            <pc:sldMk cId="2504779781" sldId="2147470492"/>
            <ac:graphicFrameMk id="31" creationId="{7FEFBEA3-9552-EC4C-4E4D-F3A726FB070A}"/>
          </ac:graphicFrameMkLst>
        </pc:graphicFrameChg>
        <pc:graphicFrameChg chg="add mod ord modGraphic">
          <ac:chgData name="Miranda Quispe, Bruno Sebastian" userId="5df213b2-8b23-43f1-8137-24ac80ef972a" providerId="ADAL" clId="{E965C011-1063-4CD3-8CA5-A8D35C5C287B}" dt="2022-09-14T21:23:23.605" v="33393"/>
          <ac:graphicFrameMkLst>
            <pc:docMk/>
            <pc:sldMk cId="2504779781" sldId="2147470492"/>
            <ac:graphicFrameMk id="38" creationId="{D4A70D0A-B7A3-3161-42FA-A038C830A1A9}"/>
          </ac:graphicFrameMkLst>
        </pc:graphicFrameChg>
        <pc:picChg chg="add mod">
          <ac:chgData name="Miranda Quispe, Bruno Sebastian" userId="5df213b2-8b23-43f1-8137-24ac80ef972a" providerId="ADAL" clId="{E965C011-1063-4CD3-8CA5-A8D35C5C287B}" dt="2022-09-15T15:29:07.700" v="33396" actId="1076"/>
          <ac:picMkLst>
            <pc:docMk/>
            <pc:sldMk cId="2504779781" sldId="2147470492"/>
            <ac:picMk id="7" creationId="{7E744F0D-30E1-8695-CD41-16D7EBEB6882}"/>
          </ac:picMkLst>
        </pc:picChg>
        <pc:picChg chg="add mod">
          <ac:chgData name="Miranda Quispe, Bruno Sebastian" userId="5df213b2-8b23-43f1-8137-24ac80ef972a" providerId="ADAL" clId="{E965C011-1063-4CD3-8CA5-A8D35C5C287B}" dt="2022-09-12T20:39:27.685" v="28897" actId="1076"/>
          <ac:picMkLst>
            <pc:docMk/>
            <pc:sldMk cId="2504779781" sldId="2147470492"/>
            <ac:picMk id="8" creationId="{7E56D50D-98C9-7993-9C22-DDE5C8B8FAF8}"/>
          </ac:picMkLst>
        </pc:picChg>
        <pc:picChg chg="add mod">
          <ac:chgData name="Miranda Quispe, Bruno Sebastian" userId="5df213b2-8b23-43f1-8137-24ac80ef972a" providerId="ADAL" clId="{E965C011-1063-4CD3-8CA5-A8D35C5C287B}" dt="2022-09-12T16:02:31.180" v="26684" actId="164"/>
          <ac:picMkLst>
            <pc:docMk/>
            <pc:sldMk cId="2504779781" sldId="2147470492"/>
            <ac:picMk id="9" creationId="{93C53660-411A-8745-1CBB-E672D7A474FC}"/>
          </ac:picMkLst>
        </pc:picChg>
        <pc:picChg chg="add mod">
          <ac:chgData name="Miranda Quispe, Bruno Sebastian" userId="5df213b2-8b23-43f1-8137-24ac80ef972a" providerId="ADAL" clId="{E965C011-1063-4CD3-8CA5-A8D35C5C287B}" dt="2022-09-12T16:02:31.180" v="26684" actId="164"/>
          <ac:picMkLst>
            <pc:docMk/>
            <pc:sldMk cId="2504779781" sldId="2147470492"/>
            <ac:picMk id="11" creationId="{95E057CF-0B93-9F9C-2DC2-24102146ACBC}"/>
          </ac:picMkLst>
        </pc:picChg>
        <pc:picChg chg="add mod">
          <ac:chgData name="Miranda Quispe, Bruno Sebastian" userId="5df213b2-8b23-43f1-8137-24ac80ef972a" providerId="ADAL" clId="{E965C011-1063-4CD3-8CA5-A8D35C5C287B}" dt="2022-09-12T16:04:01.137" v="26720" actId="164"/>
          <ac:picMkLst>
            <pc:docMk/>
            <pc:sldMk cId="2504779781" sldId="2147470492"/>
            <ac:picMk id="12" creationId="{0B37FA84-EC86-B46E-86D0-D615F501F313}"/>
          </ac:picMkLst>
        </pc:picChg>
        <pc:picChg chg="add mod">
          <ac:chgData name="Miranda Quispe, Bruno Sebastian" userId="5df213b2-8b23-43f1-8137-24ac80ef972a" providerId="ADAL" clId="{E965C011-1063-4CD3-8CA5-A8D35C5C287B}" dt="2022-09-12T16:02:31.180" v="26684" actId="164"/>
          <ac:picMkLst>
            <pc:docMk/>
            <pc:sldMk cId="2504779781" sldId="2147470492"/>
            <ac:picMk id="13" creationId="{D219EF33-52CA-269D-F2A9-644ABE09FDD9}"/>
          </ac:picMkLst>
        </pc:picChg>
        <pc:picChg chg="add mod">
          <ac:chgData name="Miranda Quispe, Bruno Sebastian" userId="5df213b2-8b23-43f1-8137-24ac80ef972a" providerId="ADAL" clId="{E965C011-1063-4CD3-8CA5-A8D35C5C287B}" dt="2022-09-12T16:02:31.180" v="26684" actId="164"/>
          <ac:picMkLst>
            <pc:docMk/>
            <pc:sldMk cId="2504779781" sldId="2147470492"/>
            <ac:picMk id="15" creationId="{D005EA8C-3E61-3587-8587-1F99812D67CB}"/>
          </ac:picMkLst>
        </pc:picChg>
        <pc:picChg chg="add mod">
          <ac:chgData name="Miranda Quispe, Bruno Sebastian" userId="5df213b2-8b23-43f1-8137-24ac80ef972a" providerId="ADAL" clId="{E965C011-1063-4CD3-8CA5-A8D35C5C287B}" dt="2022-09-12T16:02:39.695" v="26689" actId="164"/>
          <ac:picMkLst>
            <pc:docMk/>
            <pc:sldMk cId="2504779781" sldId="2147470492"/>
            <ac:picMk id="16" creationId="{AA2EF751-15C1-ACD9-21EB-65EBBF3459EB}"/>
          </ac:picMkLst>
        </pc:picChg>
        <pc:picChg chg="add mod">
          <ac:chgData name="Miranda Quispe, Bruno Sebastian" userId="5df213b2-8b23-43f1-8137-24ac80ef972a" providerId="ADAL" clId="{E965C011-1063-4CD3-8CA5-A8D35C5C287B}" dt="2022-09-12T16:02:31.180" v="26684" actId="164"/>
          <ac:picMkLst>
            <pc:docMk/>
            <pc:sldMk cId="2504779781" sldId="2147470492"/>
            <ac:picMk id="17" creationId="{08CD90EC-781D-F671-ECE7-EE61A6BDB3A2}"/>
          </ac:picMkLst>
        </pc:picChg>
        <pc:picChg chg="add mod">
          <ac:chgData name="Miranda Quispe, Bruno Sebastian" userId="5df213b2-8b23-43f1-8137-24ac80ef972a" providerId="ADAL" clId="{E965C011-1063-4CD3-8CA5-A8D35C5C287B}" dt="2022-09-12T16:04:34.801" v="26733" actId="164"/>
          <ac:picMkLst>
            <pc:docMk/>
            <pc:sldMk cId="2504779781" sldId="2147470492"/>
            <ac:picMk id="19" creationId="{59F52454-613B-99B2-E88E-A8C7E82A7E72}"/>
          </ac:picMkLst>
        </pc:picChg>
        <pc:picChg chg="add mod">
          <ac:chgData name="Miranda Quispe, Bruno Sebastian" userId="5df213b2-8b23-43f1-8137-24ac80ef972a" providerId="ADAL" clId="{E965C011-1063-4CD3-8CA5-A8D35C5C287B}" dt="2022-09-12T16:02:39.695" v="26689" actId="164"/>
          <ac:picMkLst>
            <pc:docMk/>
            <pc:sldMk cId="2504779781" sldId="2147470492"/>
            <ac:picMk id="20" creationId="{4E1D22BA-22E7-5821-F6F8-284B75A91C02}"/>
          </ac:picMkLst>
        </pc:picChg>
        <pc:picChg chg="add mod">
          <ac:chgData name="Miranda Quispe, Bruno Sebastian" userId="5df213b2-8b23-43f1-8137-24ac80ef972a" providerId="ADAL" clId="{E965C011-1063-4CD3-8CA5-A8D35C5C287B}" dt="2022-09-12T16:02:39.695" v="26689" actId="164"/>
          <ac:picMkLst>
            <pc:docMk/>
            <pc:sldMk cId="2504779781" sldId="2147470492"/>
            <ac:picMk id="22" creationId="{09C63332-B067-05E7-1866-6F6B3233AD3A}"/>
          </ac:picMkLst>
        </pc:picChg>
        <pc:picChg chg="add del mod">
          <ac:chgData name="Miranda Quispe, Bruno Sebastian" userId="5df213b2-8b23-43f1-8137-24ac80ef972a" providerId="ADAL" clId="{E965C011-1063-4CD3-8CA5-A8D35C5C287B}" dt="2022-09-12T15:54:25.218" v="26648" actId="21"/>
          <ac:picMkLst>
            <pc:docMk/>
            <pc:sldMk cId="2504779781" sldId="2147470492"/>
            <ac:picMk id="26" creationId="{F03B993F-4705-2DF4-3AB8-2B353810BB6C}"/>
          </ac:picMkLst>
        </pc:picChg>
        <pc:picChg chg="add mod">
          <ac:chgData name="Miranda Quispe, Bruno Sebastian" userId="5df213b2-8b23-43f1-8137-24ac80ef972a" providerId="ADAL" clId="{E965C011-1063-4CD3-8CA5-A8D35C5C287B}" dt="2022-09-12T16:04:01.137" v="26720" actId="164"/>
          <ac:picMkLst>
            <pc:docMk/>
            <pc:sldMk cId="2504779781" sldId="2147470492"/>
            <ac:picMk id="28" creationId="{FF1A2D48-2F84-F12B-4C05-491F320E74BA}"/>
          </ac:picMkLst>
        </pc:picChg>
        <pc:picChg chg="add del mod">
          <ac:chgData name="Miranda Quispe, Bruno Sebastian" userId="5df213b2-8b23-43f1-8137-24ac80ef972a" providerId="ADAL" clId="{E965C011-1063-4CD3-8CA5-A8D35C5C287B}" dt="2022-09-12T16:14:54.724" v="27456" actId="164"/>
          <ac:picMkLst>
            <pc:docMk/>
            <pc:sldMk cId="2504779781" sldId="2147470492"/>
            <ac:picMk id="30" creationId="{38BF95AA-1350-95E9-23E1-1D8F7D3F79C0}"/>
          </ac:picMkLst>
        </pc:picChg>
        <pc:picChg chg="add del mod">
          <ac:chgData name="Miranda Quispe, Bruno Sebastian" userId="5df213b2-8b23-43f1-8137-24ac80ef972a" providerId="ADAL" clId="{E965C011-1063-4CD3-8CA5-A8D35C5C287B}" dt="2022-09-12T16:04:56.344" v="26745" actId="478"/>
          <ac:picMkLst>
            <pc:docMk/>
            <pc:sldMk cId="2504779781" sldId="2147470492"/>
            <ac:picMk id="36" creationId="{230BA27C-864D-3FCC-D875-80F576961CD6}"/>
          </ac:picMkLst>
        </pc:picChg>
        <pc:picChg chg="add mod">
          <ac:chgData name="Miranda Quispe, Bruno Sebastian" userId="5df213b2-8b23-43f1-8137-24ac80ef972a" providerId="ADAL" clId="{E965C011-1063-4CD3-8CA5-A8D35C5C287B}" dt="2022-09-12T16:11:24.960" v="27337" actId="164"/>
          <ac:picMkLst>
            <pc:docMk/>
            <pc:sldMk cId="2504779781" sldId="2147470492"/>
            <ac:picMk id="40" creationId="{90A346A3-0DAE-59EF-C185-8598927DB5DE}"/>
          </ac:picMkLst>
        </pc:picChg>
        <pc:picChg chg="add mod">
          <ac:chgData name="Miranda Quispe, Bruno Sebastian" userId="5df213b2-8b23-43f1-8137-24ac80ef972a" providerId="ADAL" clId="{E965C011-1063-4CD3-8CA5-A8D35C5C287B}" dt="2022-09-12T16:14:01.585" v="27438" actId="164"/>
          <ac:picMkLst>
            <pc:docMk/>
            <pc:sldMk cId="2504779781" sldId="2147470492"/>
            <ac:picMk id="43" creationId="{9D07D8C0-207F-A30E-66FF-242EE2D8B3FA}"/>
          </ac:picMkLst>
        </pc:picChg>
        <pc:picChg chg="add mod">
          <ac:chgData name="Miranda Quispe, Bruno Sebastian" userId="5df213b2-8b23-43f1-8137-24ac80ef972a" providerId="ADAL" clId="{E965C011-1063-4CD3-8CA5-A8D35C5C287B}" dt="2022-09-12T16:14:01.585" v="27438" actId="164"/>
          <ac:picMkLst>
            <pc:docMk/>
            <pc:sldMk cId="2504779781" sldId="2147470492"/>
            <ac:picMk id="45" creationId="{409033AA-D978-2FBA-3519-2DDB6E186788}"/>
          </ac:picMkLst>
        </pc:picChg>
        <pc:picChg chg="add mod">
          <ac:chgData name="Miranda Quispe, Bruno Sebastian" userId="5df213b2-8b23-43f1-8137-24ac80ef972a" providerId="ADAL" clId="{E965C011-1063-4CD3-8CA5-A8D35C5C287B}" dt="2022-09-12T16:14:01.585" v="27438" actId="164"/>
          <ac:picMkLst>
            <pc:docMk/>
            <pc:sldMk cId="2504779781" sldId="2147470492"/>
            <ac:picMk id="47" creationId="{40580A7A-EAAB-2C28-7064-73E0C48C27B2}"/>
          </ac:picMkLst>
        </pc:picChg>
        <pc:picChg chg="add mod">
          <ac:chgData name="Miranda Quispe, Bruno Sebastian" userId="5df213b2-8b23-43f1-8137-24ac80ef972a" providerId="ADAL" clId="{E965C011-1063-4CD3-8CA5-A8D35C5C287B}" dt="2022-09-12T16:14:01.585" v="27438" actId="164"/>
          <ac:picMkLst>
            <pc:docMk/>
            <pc:sldMk cId="2504779781" sldId="2147470492"/>
            <ac:picMk id="49" creationId="{2D712856-A9B7-210C-3FD6-6605AF96BE9B}"/>
          </ac:picMkLst>
        </pc:picChg>
        <pc:picChg chg="add mod">
          <ac:chgData name="Miranda Quispe, Bruno Sebastian" userId="5df213b2-8b23-43f1-8137-24ac80ef972a" providerId="ADAL" clId="{E965C011-1063-4CD3-8CA5-A8D35C5C287B}" dt="2022-09-12T16:14:01.585" v="27438" actId="164"/>
          <ac:picMkLst>
            <pc:docMk/>
            <pc:sldMk cId="2504779781" sldId="2147470492"/>
            <ac:picMk id="51" creationId="{D27053DB-F3CA-3946-E895-964463A7EBA8}"/>
          </ac:picMkLst>
        </pc:picChg>
        <pc:picChg chg="add mod">
          <ac:chgData name="Miranda Quispe, Bruno Sebastian" userId="5df213b2-8b23-43f1-8137-24ac80ef972a" providerId="ADAL" clId="{E965C011-1063-4CD3-8CA5-A8D35C5C287B}" dt="2022-09-12T16:14:01.585" v="27438" actId="164"/>
          <ac:picMkLst>
            <pc:docMk/>
            <pc:sldMk cId="2504779781" sldId="2147470492"/>
            <ac:picMk id="53" creationId="{34C1C93E-EBCF-9644-3ED3-F085C5CE215A}"/>
          </ac:picMkLst>
        </pc:picChg>
        <pc:picChg chg="add mod">
          <ac:chgData name="Miranda Quispe, Bruno Sebastian" userId="5df213b2-8b23-43f1-8137-24ac80ef972a" providerId="ADAL" clId="{E965C011-1063-4CD3-8CA5-A8D35C5C287B}" dt="2022-09-12T16:14:01.585" v="27438" actId="164"/>
          <ac:picMkLst>
            <pc:docMk/>
            <pc:sldMk cId="2504779781" sldId="2147470492"/>
            <ac:picMk id="55" creationId="{5496CDE7-7BF4-F799-F7B6-068B368E863F}"/>
          </ac:picMkLst>
        </pc:picChg>
        <pc:picChg chg="add mod">
          <ac:chgData name="Miranda Quispe, Bruno Sebastian" userId="5df213b2-8b23-43f1-8137-24ac80ef972a" providerId="ADAL" clId="{E965C011-1063-4CD3-8CA5-A8D35C5C287B}" dt="2022-09-12T16:14:01.585" v="27438" actId="164"/>
          <ac:picMkLst>
            <pc:docMk/>
            <pc:sldMk cId="2504779781" sldId="2147470492"/>
            <ac:picMk id="57" creationId="{E7388ADB-5D56-A89A-01A7-A716D2B49FE6}"/>
          </ac:picMkLst>
        </pc:picChg>
        <pc:picChg chg="add mod">
          <ac:chgData name="Miranda Quispe, Bruno Sebastian" userId="5df213b2-8b23-43f1-8137-24ac80ef972a" providerId="ADAL" clId="{E965C011-1063-4CD3-8CA5-A8D35C5C287B}" dt="2022-09-12T16:14:01.585" v="27438" actId="164"/>
          <ac:picMkLst>
            <pc:docMk/>
            <pc:sldMk cId="2504779781" sldId="2147470492"/>
            <ac:picMk id="59" creationId="{D189F7BD-DCF0-D70F-BCC1-C3D946EBFCB2}"/>
          </ac:picMkLst>
        </pc:picChg>
        <pc:picChg chg="add mod">
          <ac:chgData name="Miranda Quispe, Bruno Sebastian" userId="5df213b2-8b23-43f1-8137-24ac80ef972a" providerId="ADAL" clId="{E965C011-1063-4CD3-8CA5-A8D35C5C287B}" dt="2022-09-12T16:14:54.724" v="27456" actId="164"/>
          <ac:picMkLst>
            <pc:docMk/>
            <pc:sldMk cId="2504779781" sldId="2147470492"/>
            <ac:picMk id="62" creationId="{367C3CA9-6611-92E4-051B-33E44B723C01}"/>
          </ac:picMkLst>
        </pc:picChg>
        <pc:picChg chg="add mod">
          <ac:chgData name="Miranda Quispe, Bruno Sebastian" userId="5df213b2-8b23-43f1-8137-24ac80ef972a" providerId="ADAL" clId="{E965C011-1063-4CD3-8CA5-A8D35C5C287B}" dt="2022-09-12T16:14:54.724" v="27456" actId="164"/>
          <ac:picMkLst>
            <pc:docMk/>
            <pc:sldMk cId="2504779781" sldId="2147470492"/>
            <ac:picMk id="64" creationId="{899FB3F8-F5D3-7CDA-F39C-E0103B45C611}"/>
          </ac:picMkLst>
        </pc:picChg>
        <pc:picChg chg="add mod">
          <ac:chgData name="Miranda Quispe, Bruno Sebastian" userId="5df213b2-8b23-43f1-8137-24ac80ef972a" providerId="ADAL" clId="{E965C011-1063-4CD3-8CA5-A8D35C5C287B}" dt="2022-09-12T16:14:54.724" v="27456" actId="164"/>
          <ac:picMkLst>
            <pc:docMk/>
            <pc:sldMk cId="2504779781" sldId="2147470492"/>
            <ac:picMk id="66" creationId="{A6EFC3EE-7A71-0143-ED39-6D17C6020E4F}"/>
          </ac:picMkLst>
        </pc:picChg>
        <pc:cxnChg chg="add del">
          <ac:chgData name="Miranda Quispe, Bruno Sebastian" userId="5df213b2-8b23-43f1-8137-24ac80ef972a" providerId="ADAL" clId="{E965C011-1063-4CD3-8CA5-A8D35C5C287B}" dt="2022-09-14T21:23:28.305" v="33394" actId="478"/>
          <ac:cxnSpMkLst>
            <pc:docMk/>
            <pc:sldMk cId="2504779781" sldId="2147470492"/>
            <ac:cxnSpMk id="4" creationId="{A4146A74-5A83-1CB8-AAE6-D368E163F31F}"/>
          </ac:cxnSpMkLst>
        </pc:cxnChg>
      </pc:sldChg>
      <pc:sldChg chg="addSp modSp new mod">
        <pc:chgData name="Miranda Quispe, Bruno Sebastian" userId="5df213b2-8b23-43f1-8137-24ac80ef972a" providerId="ADAL" clId="{E965C011-1063-4CD3-8CA5-A8D35C5C287B}" dt="2022-09-15T15:59:33.685" v="34535" actId="20577"/>
        <pc:sldMkLst>
          <pc:docMk/>
          <pc:sldMk cId="3216140556" sldId="2147470493"/>
        </pc:sldMkLst>
        <pc:spChg chg="mod">
          <ac:chgData name="Miranda Quispe, Bruno Sebastian" userId="5df213b2-8b23-43f1-8137-24ac80ef972a" providerId="ADAL" clId="{E965C011-1063-4CD3-8CA5-A8D35C5C287B}" dt="2022-09-12T16:30:51.245" v="27482" actId="20577"/>
          <ac:spMkLst>
            <pc:docMk/>
            <pc:sldMk cId="3216140556" sldId="2147470493"/>
            <ac:spMk id="3" creationId="{1BA9F626-89D6-58B7-E5C9-C35EF3354FDA}"/>
          </ac:spMkLst>
        </pc:spChg>
        <pc:spChg chg="mod">
          <ac:chgData name="Miranda Quispe, Bruno Sebastian" userId="5df213b2-8b23-43f1-8137-24ac80ef972a" providerId="ADAL" clId="{E965C011-1063-4CD3-8CA5-A8D35C5C287B}" dt="2022-09-15T15:59:33.685" v="34535" actId="20577"/>
          <ac:spMkLst>
            <pc:docMk/>
            <pc:sldMk cId="3216140556" sldId="2147470493"/>
            <ac:spMk id="4" creationId="{05D9529A-7E40-F428-40AC-DBB88D87FF81}"/>
          </ac:spMkLst>
        </pc:spChg>
        <pc:spChg chg="add mod">
          <ac:chgData name="Miranda Quispe, Bruno Sebastian" userId="5df213b2-8b23-43f1-8137-24ac80ef972a" providerId="ADAL" clId="{E965C011-1063-4CD3-8CA5-A8D35C5C287B}" dt="2022-09-15T15:51:49.759" v="34173" actId="1076"/>
          <ac:spMkLst>
            <pc:docMk/>
            <pc:sldMk cId="3216140556" sldId="2147470493"/>
            <ac:spMk id="6" creationId="{B952F833-55D5-FF85-F4B9-C03C403BF3A2}"/>
          </ac:spMkLst>
        </pc:spChg>
        <pc:spChg chg="add mod">
          <ac:chgData name="Miranda Quispe, Bruno Sebastian" userId="5df213b2-8b23-43f1-8137-24ac80ef972a" providerId="ADAL" clId="{E965C011-1063-4CD3-8CA5-A8D35C5C287B}" dt="2022-09-12T21:03:06.297" v="29254" actId="164"/>
          <ac:spMkLst>
            <pc:docMk/>
            <pc:sldMk cId="3216140556" sldId="2147470493"/>
            <ac:spMk id="10" creationId="{5EE02027-6916-64D0-7F65-5CE9E16ED2A1}"/>
          </ac:spMkLst>
        </pc:spChg>
        <pc:spChg chg="add mod">
          <ac:chgData name="Miranda Quispe, Bruno Sebastian" userId="5df213b2-8b23-43f1-8137-24ac80ef972a" providerId="ADAL" clId="{E965C011-1063-4CD3-8CA5-A8D35C5C287B}" dt="2022-09-12T21:03:37.878" v="29266" actId="20577"/>
          <ac:spMkLst>
            <pc:docMk/>
            <pc:sldMk cId="3216140556" sldId="2147470493"/>
            <ac:spMk id="14" creationId="{5EA36CBF-8422-A464-CA08-8D257770AC2B}"/>
          </ac:spMkLst>
        </pc:spChg>
        <pc:spChg chg="add mod">
          <ac:chgData name="Miranda Quispe, Bruno Sebastian" userId="5df213b2-8b23-43f1-8137-24ac80ef972a" providerId="ADAL" clId="{E965C011-1063-4CD3-8CA5-A8D35C5C287B}" dt="2022-09-12T21:03:10.212" v="29255" actId="164"/>
          <ac:spMkLst>
            <pc:docMk/>
            <pc:sldMk cId="3216140556" sldId="2147470493"/>
            <ac:spMk id="18" creationId="{533B943E-0998-DF3B-2B1C-B32A11F27820}"/>
          </ac:spMkLst>
        </pc:spChg>
        <pc:grpChg chg="add mod">
          <ac:chgData name="Miranda Quispe, Bruno Sebastian" userId="5df213b2-8b23-43f1-8137-24ac80ef972a" providerId="ADAL" clId="{E965C011-1063-4CD3-8CA5-A8D35C5C287B}" dt="2022-09-12T21:42:32.862" v="29830" actId="1076"/>
          <ac:grpSpMkLst>
            <pc:docMk/>
            <pc:sldMk cId="3216140556" sldId="2147470493"/>
            <ac:grpSpMk id="19" creationId="{59A9ACB3-8579-9465-3746-E46ADCB91D0E}"/>
          </ac:grpSpMkLst>
        </pc:grpChg>
        <pc:grpChg chg="add mod">
          <ac:chgData name="Miranda Quispe, Bruno Sebastian" userId="5df213b2-8b23-43f1-8137-24ac80ef972a" providerId="ADAL" clId="{E965C011-1063-4CD3-8CA5-A8D35C5C287B}" dt="2022-09-12T21:42:35.519" v="29831" actId="1076"/>
          <ac:grpSpMkLst>
            <pc:docMk/>
            <pc:sldMk cId="3216140556" sldId="2147470493"/>
            <ac:grpSpMk id="20" creationId="{30D85075-3C02-309F-BBCA-A2C4DE15BEC4}"/>
          </ac:grpSpMkLst>
        </pc:grpChg>
        <pc:grpChg chg="add mod">
          <ac:chgData name="Miranda Quispe, Bruno Sebastian" userId="5df213b2-8b23-43f1-8137-24ac80ef972a" providerId="ADAL" clId="{E965C011-1063-4CD3-8CA5-A8D35C5C287B}" dt="2022-09-12T21:34:41.743" v="29740" actId="1076"/>
          <ac:grpSpMkLst>
            <pc:docMk/>
            <pc:sldMk cId="3216140556" sldId="2147470493"/>
            <ac:grpSpMk id="21" creationId="{A489D0E3-2AF5-DFC1-D1E3-164782EDE658}"/>
          </ac:grpSpMkLst>
        </pc:grpChg>
        <pc:picChg chg="add mod">
          <ac:chgData name="Miranda Quispe, Bruno Sebastian" userId="5df213b2-8b23-43f1-8137-24ac80ef972a" providerId="ADAL" clId="{E965C011-1063-4CD3-8CA5-A8D35C5C287B}" dt="2022-09-12T21:03:06.297" v="29254" actId="164"/>
          <ac:picMkLst>
            <pc:docMk/>
            <pc:sldMk cId="3216140556" sldId="2147470493"/>
            <ac:picMk id="8" creationId="{3D97E5C7-E2EE-068A-A07D-5368C92A1E85}"/>
          </ac:picMkLst>
        </pc:picChg>
        <pc:picChg chg="add mod">
          <ac:chgData name="Miranda Quispe, Bruno Sebastian" userId="5df213b2-8b23-43f1-8137-24ac80ef972a" providerId="ADAL" clId="{E965C011-1063-4CD3-8CA5-A8D35C5C287B}" dt="2022-09-12T21:03:02.305" v="29252" actId="164"/>
          <ac:picMkLst>
            <pc:docMk/>
            <pc:sldMk cId="3216140556" sldId="2147470493"/>
            <ac:picMk id="12" creationId="{DFEA6F65-9472-4B65-D7D9-3399DC6C9B5E}"/>
          </ac:picMkLst>
        </pc:picChg>
        <pc:picChg chg="add mod">
          <ac:chgData name="Miranda Quispe, Bruno Sebastian" userId="5df213b2-8b23-43f1-8137-24ac80ef972a" providerId="ADAL" clId="{E965C011-1063-4CD3-8CA5-A8D35C5C287B}" dt="2022-09-12T21:03:10.212" v="29255" actId="164"/>
          <ac:picMkLst>
            <pc:docMk/>
            <pc:sldMk cId="3216140556" sldId="2147470493"/>
            <ac:picMk id="16" creationId="{999E223F-2545-DB1F-F69F-E9AF35FCF3A6}"/>
          </ac:picMkLst>
        </pc:picChg>
      </pc:sldChg>
      <pc:sldChg chg="addSp delSp modSp new mod ord setBg modClrScheme chgLayout modNotesTx">
        <pc:chgData name="Miranda Quispe, Bruno Sebastian" userId="5df213b2-8b23-43f1-8137-24ac80ef972a" providerId="ADAL" clId="{E965C011-1063-4CD3-8CA5-A8D35C5C287B}" dt="2022-09-15T17:51:36.197" v="34729"/>
        <pc:sldMkLst>
          <pc:docMk/>
          <pc:sldMk cId="2510404751" sldId="2147470494"/>
        </pc:sldMkLst>
        <pc:spChg chg="mod ord">
          <ac:chgData name="Miranda Quispe, Bruno Sebastian" userId="5df213b2-8b23-43f1-8137-24ac80ef972a" providerId="ADAL" clId="{E965C011-1063-4CD3-8CA5-A8D35C5C287B}" dt="2022-09-12T20:00:45.653" v="28397" actId="700"/>
          <ac:spMkLst>
            <pc:docMk/>
            <pc:sldMk cId="2510404751" sldId="2147470494"/>
            <ac:spMk id="2" creationId="{495D5DA8-ED87-00CC-2396-479F8EE3D8DF}"/>
          </ac:spMkLst>
        </pc:spChg>
        <pc:spChg chg="del mod ord">
          <ac:chgData name="Miranda Quispe, Bruno Sebastian" userId="5df213b2-8b23-43f1-8137-24ac80ef972a" providerId="ADAL" clId="{E965C011-1063-4CD3-8CA5-A8D35C5C287B}" dt="2022-09-12T20:00:48.418" v="28398" actId="478"/>
          <ac:spMkLst>
            <pc:docMk/>
            <pc:sldMk cId="2510404751" sldId="2147470494"/>
            <ac:spMk id="3" creationId="{FAC50633-FD35-E5BB-C96F-43BD1224FA55}"/>
          </ac:spMkLst>
        </pc:spChg>
        <pc:spChg chg="del mod ord">
          <ac:chgData name="Miranda Quispe, Bruno Sebastian" userId="5df213b2-8b23-43f1-8137-24ac80ef972a" providerId="ADAL" clId="{E965C011-1063-4CD3-8CA5-A8D35C5C287B}" dt="2022-09-12T20:00:45.653" v="28397" actId="700"/>
          <ac:spMkLst>
            <pc:docMk/>
            <pc:sldMk cId="2510404751" sldId="2147470494"/>
            <ac:spMk id="4" creationId="{D10DC61C-66A8-B1DD-495A-B893EC71F294}"/>
          </ac:spMkLst>
        </pc:spChg>
        <pc:spChg chg="add mod ord">
          <ac:chgData name="Miranda Quispe, Bruno Sebastian" userId="5df213b2-8b23-43f1-8137-24ac80ef972a" providerId="ADAL" clId="{E965C011-1063-4CD3-8CA5-A8D35C5C287B}" dt="2022-09-12T20:01:03.946" v="28459" actId="20577"/>
          <ac:spMkLst>
            <pc:docMk/>
            <pc:sldMk cId="2510404751" sldId="2147470494"/>
            <ac:spMk id="5" creationId="{06434DF6-2C34-E538-BA34-448141740766}"/>
          </ac:spMkLst>
        </pc:spChg>
        <pc:spChg chg="add mod">
          <ac:chgData name="Miranda Quispe, Bruno Sebastian" userId="5df213b2-8b23-43f1-8137-24ac80ef972a" providerId="ADAL" clId="{E965C011-1063-4CD3-8CA5-A8D35C5C287B}" dt="2022-09-12T20:32:35.066" v="28839" actId="1076"/>
          <ac:spMkLst>
            <pc:docMk/>
            <pc:sldMk cId="2510404751" sldId="2147470494"/>
            <ac:spMk id="9" creationId="{47DD9450-F67D-06DF-3033-AB3424720DF1}"/>
          </ac:spMkLst>
        </pc:spChg>
        <pc:spChg chg="add mod">
          <ac:chgData name="Miranda Quispe, Bruno Sebastian" userId="5df213b2-8b23-43f1-8137-24ac80ef972a" providerId="ADAL" clId="{E965C011-1063-4CD3-8CA5-A8D35C5C287B}" dt="2022-09-12T20:07:09.990" v="28595" actId="207"/>
          <ac:spMkLst>
            <pc:docMk/>
            <pc:sldMk cId="2510404751" sldId="2147470494"/>
            <ac:spMk id="18" creationId="{030DC7B6-10A7-0D42-F715-52B14E902F49}"/>
          </ac:spMkLst>
        </pc:spChg>
        <pc:spChg chg="add mod">
          <ac:chgData name="Miranda Quispe, Bruno Sebastian" userId="5df213b2-8b23-43f1-8137-24ac80ef972a" providerId="ADAL" clId="{E965C011-1063-4CD3-8CA5-A8D35C5C287B}" dt="2022-09-12T20:07:09.990" v="28595" actId="207"/>
          <ac:spMkLst>
            <pc:docMk/>
            <pc:sldMk cId="2510404751" sldId="2147470494"/>
            <ac:spMk id="20" creationId="{FF5E7665-EF3A-FC09-55A7-849FBBBC712E}"/>
          </ac:spMkLst>
        </pc:spChg>
        <pc:spChg chg="add mod">
          <ac:chgData name="Miranda Quispe, Bruno Sebastian" userId="5df213b2-8b23-43f1-8137-24ac80ef972a" providerId="ADAL" clId="{E965C011-1063-4CD3-8CA5-A8D35C5C287B}" dt="2022-09-12T20:07:09.990" v="28595" actId="207"/>
          <ac:spMkLst>
            <pc:docMk/>
            <pc:sldMk cId="2510404751" sldId="2147470494"/>
            <ac:spMk id="22" creationId="{04B90307-B960-738A-F373-F4CE0489DDED}"/>
          </ac:spMkLst>
        </pc:spChg>
        <pc:spChg chg="add mod">
          <ac:chgData name="Miranda Quispe, Bruno Sebastian" userId="5df213b2-8b23-43f1-8137-24ac80ef972a" providerId="ADAL" clId="{E965C011-1063-4CD3-8CA5-A8D35C5C287B}" dt="2022-09-12T20:20:56.261" v="28651" actId="164"/>
          <ac:spMkLst>
            <pc:docMk/>
            <pc:sldMk cId="2510404751" sldId="2147470494"/>
            <ac:spMk id="34" creationId="{BC4F60A4-3F8A-C407-32AB-E2D026277568}"/>
          </ac:spMkLst>
        </pc:spChg>
        <pc:spChg chg="add mod">
          <ac:chgData name="Miranda Quispe, Bruno Sebastian" userId="5df213b2-8b23-43f1-8137-24ac80ef972a" providerId="ADAL" clId="{E965C011-1063-4CD3-8CA5-A8D35C5C287B}" dt="2022-09-12T20:20:56.261" v="28651" actId="164"/>
          <ac:spMkLst>
            <pc:docMk/>
            <pc:sldMk cId="2510404751" sldId="2147470494"/>
            <ac:spMk id="36" creationId="{B09BAA9A-0ABB-E7E7-1553-5F7D4BE59E76}"/>
          </ac:spMkLst>
        </pc:spChg>
        <pc:spChg chg="add mod">
          <ac:chgData name="Miranda Quispe, Bruno Sebastian" userId="5df213b2-8b23-43f1-8137-24ac80ef972a" providerId="ADAL" clId="{E965C011-1063-4CD3-8CA5-A8D35C5C287B}" dt="2022-09-12T20:20:56.261" v="28651" actId="164"/>
          <ac:spMkLst>
            <pc:docMk/>
            <pc:sldMk cId="2510404751" sldId="2147470494"/>
            <ac:spMk id="38" creationId="{335AC131-17E8-F5C8-625F-D3A56DEB7D2F}"/>
          </ac:spMkLst>
        </pc:spChg>
        <pc:spChg chg="add mod">
          <ac:chgData name="Miranda Quispe, Bruno Sebastian" userId="5df213b2-8b23-43f1-8137-24ac80ef972a" providerId="ADAL" clId="{E965C011-1063-4CD3-8CA5-A8D35C5C287B}" dt="2022-09-12T21:21:56.333" v="29537" actId="1076"/>
          <ac:spMkLst>
            <pc:docMk/>
            <pc:sldMk cId="2510404751" sldId="2147470494"/>
            <ac:spMk id="40" creationId="{50248C23-250C-1E7D-2F11-610EC789FC8A}"/>
          </ac:spMkLst>
        </pc:spChg>
        <pc:spChg chg="add mod">
          <ac:chgData name="Miranda Quispe, Bruno Sebastian" userId="5df213b2-8b23-43f1-8137-24ac80ef972a" providerId="ADAL" clId="{E965C011-1063-4CD3-8CA5-A8D35C5C287B}" dt="2022-09-12T20:27:55.101" v="28801" actId="164"/>
          <ac:spMkLst>
            <pc:docMk/>
            <pc:sldMk cId="2510404751" sldId="2147470494"/>
            <ac:spMk id="42" creationId="{78624052-6CA8-08A5-3C4B-43292D346B64}"/>
          </ac:spMkLst>
        </pc:spChg>
        <pc:spChg chg="add mod">
          <ac:chgData name="Miranda Quispe, Bruno Sebastian" userId="5df213b2-8b23-43f1-8137-24ac80ef972a" providerId="ADAL" clId="{E965C011-1063-4CD3-8CA5-A8D35C5C287B}" dt="2022-09-12T20:27:55.101" v="28801" actId="164"/>
          <ac:spMkLst>
            <pc:docMk/>
            <pc:sldMk cId="2510404751" sldId="2147470494"/>
            <ac:spMk id="44" creationId="{61513EAE-DE1D-B8BC-C53F-A447F9944B62}"/>
          </ac:spMkLst>
        </pc:spChg>
        <pc:spChg chg="add mod">
          <ac:chgData name="Miranda Quispe, Bruno Sebastian" userId="5df213b2-8b23-43f1-8137-24ac80ef972a" providerId="ADAL" clId="{E965C011-1063-4CD3-8CA5-A8D35C5C287B}" dt="2022-09-12T20:27:55.101" v="28801" actId="164"/>
          <ac:spMkLst>
            <pc:docMk/>
            <pc:sldMk cId="2510404751" sldId="2147470494"/>
            <ac:spMk id="46" creationId="{3448A036-6410-5333-48BB-B60490DBF566}"/>
          </ac:spMkLst>
        </pc:spChg>
        <pc:spChg chg="add mod">
          <ac:chgData name="Miranda Quispe, Bruno Sebastian" userId="5df213b2-8b23-43f1-8137-24ac80ef972a" providerId="ADAL" clId="{E965C011-1063-4CD3-8CA5-A8D35C5C287B}" dt="2022-09-12T20:27:55.101" v="28801" actId="164"/>
          <ac:spMkLst>
            <pc:docMk/>
            <pc:sldMk cId="2510404751" sldId="2147470494"/>
            <ac:spMk id="48" creationId="{AE3BEB67-88A7-A2B4-A442-CD56B286130C}"/>
          </ac:spMkLst>
        </pc:spChg>
        <pc:spChg chg="add mod">
          <ac:chgData name="Miranda Quispe, Bruno Sebastian" userId="5df213b2-8b23-43f1-8137-24ac80ef972a" providerId="ADAL" clId="{E965C011-1063-4CD3-8CA5-A8D35C5C287B}" dt="2022-09-12T20:27:55.101" v="28801" actId="164"/>
          <ac:spMkLst>
            <pc:docMk/>
            <pc:sldMk cId="2510404751" sldId="2147470494"/>
            <ac:spMk id="50" creationId="{81A627DA-31BA-38CC-7BD3-4F2C674B54F8}"/>
          </ac:spMkLst>
        </pc:spChg>
        <pc:spChg chg="add mod">
          <ac:chgData name="Miranda Quispe, Bruno Sebastian" userId="5df213b2-8b23-43f1-8137-24ac80ef972a" providerId="ADAL" clId="{E965C011-1063-4CD3-8CA5-A8D35C5C287B}" dt="2022-09-12T20:27:55.101" v="28801" actId="164"/>
          <ac:spMkLst>
            <pc:docMk/>
            <pc:sldMk cId="2510404751" sldId="2147470494"/>
            <ac:spMk id="52" creationId="{0E1A5F72-A3D5-9878-BA9B-66AACA8148BA}"/>
          </ac:spMkLst>
        </pc:spChg>
        <pc:spChg chg="add mod">
          <ac:chgData name="Miranda Quispe, Bruno Sebastian" userId="5df213b2-8b23-43f1-8137-24ac80ef972a" providerId="ADAL" clId="{E965C011-1063-4CD3-8CA5-A8D35C5C287B}" dt="2022-09-15T17:50:53.861" v="34709" actId="1076"/>
          <ac:spMkLst>
            <pc:docMk/>
            <pc:sldMk cId="2510404751" sldId="2147470494"/>
            <ac:spMk id="63" creationId="{5146002C-29DB-E68D-FD56-6A83B8ED1648}"/>
          </ac:spMkLst>
        </pc:spChg>
        <pc:spChg chg="add del mod">
          <ac:chgData name="Miranda Quispe, Bruno Sebastian" userId="5df213b2-8b23-43f1-8137-24ac80ef972a" providerId="ADAL" clId="{E965C011-1063-4CD3-8CA5-A8D35C5C287B}" dt="2022-09-15T17:51:32.534" v="34728" actId="1076"/>
          <ac:spMkLst>
            <pc:docMk/>
            <pc:sldMk cId="2510404751" sldId="2147470494"/>
            <ac:spMk id="71" creationId="{BFF4C4CA-5E0F-78EF-E984-F9A916017628}"/>
          </ac:spMkLst>
        </pc:spChg>
        <pc:spChg chg="mod">
          <ac:chgData name="Miranda Quispe, Bruno Sebastian" userId="5df213b2-8b23-43f1-8137-24ac80ef972a" providerId="ADAL" clId="{E965C011-1063-4CD3-8CA5-A8D35C5C287B}" dt="2022-09-15T17:51:27.089" v="34726"/>
          <ac:spMkLst>
            <pc:docMk/>
            <pc:sldMk cId="2510404751" sldId="2147470494"/>
            <ac:spMk id="74" creationId="{DA0D8E94-8AAB-B89F-AC18-2DEFBF1B9175}"/>
          </ac:spMkLst>
        </pc:spChg>
        <pc:spChg chg="mod">
          <ac:chgData name="Miranda Quispe, Bruno Sebastian" userId="5df213b2-8b23-43f1-8137-24ac80ef972a" providerId="ADAL" clId="{E965C011-1063-4CD3-8CA5-A8D35C5C287B}" dt="2022-09-15T17:51:36.197" v="34729"/>
          <ac:spMkLst>
            <pc:docMk/>
            <pc:sldMk cId="2510404751" sldId="2147470494"/>
            <ac:spMk id="77" creationId="{75773E48-11E6-D5FF-742B-0B426C3E930E}"/>
          </ac:spMkLst>
        </pc:spChg>
        <pc:spChg chg="add mod">
          <ac:chgData name="Miranda Quispe, Bruno Sebastian" userId="5df213b2-8b23-43f1-8137-24ac80ef972a" providerId="ADAL" clId="{E965C011-1063-4CD3-8CA5-A8D35C5C287B}" dt="2022-09-12T20:48:58.039" v="29058" actId="164"/>
          <ac:spMkLst>
            <pc:docMk/>
            <pc:sldMk cId="2510404751" sldId="2147470494"/>
            <ac:spMk id="120" creationId="{9F9B4E77-56B6-F346-69C8-768547B8DC78}"/>
          </ac:spMkLst>
        </pc:spChg>
        <pc:spChg chg="add mod">
          <ac:chgData name="Miranda Quispe, Bruno Sebastian" userId="5df213b2-8b23-43f1-8137-24ac80ef972a" providerId="ADAL" clId="{E965C011-1063-4CD3-8CA5-A8D35C5C287B}" dt="2022-09-12T20:47:07.781" v="29025" actId="164"/>
          <ac:spMkLst>
            <pc:docMk/>
            <pc:sldMk cId="2510404751" sldId="2147470494"/>
            <ac:spMk id="122" creationId="{EB412C53-D522-B5BD-AF6D-D8117504A15B}"/>
          </ac:spMkLst>
        </pc:spChg>
        <pc:spChg chg="add mod">
          <ac:chgData name="Miranda Quispe, Bruno Sebastian" userId="5df213b2-8b23-43f1-8137-24ac80ef972a" providerId="ADAL" clId="{E965C011-1063-4CD3-8CA5-A8D35C5C287B}" dt="2022-09-12T20:47:07.781" v="29025" actId="164"/>
          <ac:spMkLst>
            <pc:docMk/>
            <pc:sldMk cId="2510404751" sldId="2147470494"/>
            <ac:spMk id="124" creationId="{1A9EDA0A-2E02-7B2F-8CE3-18D7E6B98921}"/>
          </ac:spMkLst>
        </pc:spChg>
        <pc:spChg chg="add mod">
          <ac:chgData name="Miranda Quispe, Bruno Sebastian" userId="5df213b2-8b23-43f1-8137-24ac80ef972a" providerId="ADAL" clId="{E965C011-1063-4CD3-8CA5-A8D35C5C287B}" dt="2022-09-12T20:47:07.781" v="29025" actId="164"/>
          <ac:spMkLst>
            <pc:docMk/>
            <pc:sldMk cId="2510404751" sldId="2147470494"/>
            <ac:spMk id="126" creationId="{79B32D8C-EB14-77D1-823E-35D2EC2FA9C3}"/>
          </ac:spMkLst>
        </pc:spChg>
        <pc:spChg chg="add mod">
          <ac:chgData name="Miranda Quispe, Bruno Sebastian" userId="5df213b2-8b23-43f1-8137-24ac80ef972a" providerId="ADAL" clId="{E965C011-1063-4CD3-8CA5-A8D35C5C287B}" dt="2022-09-12T20:48:58.039" v="29058" actId="164"/>
          <ac:spMkLst>
            <pc:docMk/>
            <pc:sldMk cId="2510404751" sldId="2147470494"/>
            <ac:spMk id="130" creationId="{CCE132EB-6C62-DA49-7439-87A552D5FBD3}"/>
          </ac:spMkLst>
        </pc:spChg>
        <pc:spChg chg="add mod">
          <ac:chgData name="Miranda Quispe, Bruno Sebastian" userId="5df213b2-8b23-43f1-8137-24ac80ef972a" providerId="ADAL" clId="{E965C011-1063-4CD3-8CA5-A8D35C5C287B}" dt="2022-09-12T20:48:58.039" v="29058" actId="164"/>
          <ac:spMkLst>
            <pc:docMk/>
            <pc:sldMk cId="2510404751" sldId="2147470494"/>
            <ac:spMk id="132" creationId="{E8E16B5D-2DBD-DB87-0126-7AFA080D4FC7}"/>
          </ac:spMkLst>
        </pc:spChg>
        <pc:spChg chg="add mod">
          <ac:chgData name="Miranda Quispe, Bruno Sebastian" userId="5df213b2-8b23-43f1-8137-24ac80ef972a" providerId="ADAL" clId="{E965C011-1063-4CD3-8CA5-A8D35C5C287B}" dt="2022-09-12T20:56:20.151" v="29176" actId="164"/>
          <ac:spMkLst>
            <pc:docMk/>
            <pc:sldMk cId="2510404751" sldId="2147470494"/>
            <ac:spMk id="147" creationId="{CE11C61D-2302-5D0E-6C1C-F8366E6B686F}"/>
          </ac:spMkLst>
        </pc:spChg>
        <pc:spChg chg="add mod">
          <ac:chgData name="Miranda Quispe, Bruno Sebastian" userId="5df213b2-8b23-43f1-8137-24ac80ef972a" providerId="ADAL" clId="{E965C011-1063-4CD3-8CA5-A8D35C5C287B}" dt="2022-09-12T20:56:20.151" v="29176" actId="164"/>
          <ac:spMkLst>
            <pc:docMk/>
            <pc:sldMk cId="2510404751" sldId="2147470494"/>
            <ac:spMk id="149" creationId="{CC31C41A-A9DA-BFF1-947C-E389A8270E86}"/>
          </ac:spMkLst>
        </pc:spChg>
        <pc:spChg chg="add mod">
          <ac:chgData name="Miranda Quispe, Bruno Sebastian" userId="5df213b2-8b23-43f1-8137-24ac80ef972a" providerId="ADAL" clId="{E965C011-1063-4CD3-8CA5-A8D35C5C287B}" dt="2022-09-12T20:56:20.151" v="29176" actId="164"/>
          <ac:spMkLst>
            <pc:docMk/>
            <pc:sldMk cId="2510404751" sldId="2147470494"/>
            <ac:spMk id="151" creationId="{E96B23A4-4A70-9E14-F912-4B89335E8386}"/>
          </ac:spMkLst>
        </pc:spChg>
        <pc:spChg chg="add mod">
          <ac:chgData name="Miranda Quispe, Bruno Sebastian" userId="5df213b2-8b23-43f1-8137-24ac80ef972a" providerId="ADAL" clId="{E965C011-1063-4CD3-8CA5-A8D35C5C287B}" dt="2022-09-12T20:56:15.553" v="29175" actId="571"/>
          <ac:spMkLst>
            <pc:docMk/>
            <pc:sldMk cId="2510404751" sldId="2147470494"/>
            <ac:spMk id="154" creationId="{D6C812CA-0FC4-87D9-C534-268D2AA86742}"/>
          </ac:spMkLst>
        </pc:spChg>
        <pc:spChg chg="add mod">
          <ac:chgData name="Miranda Quispe, Bruno Sebastian" userId="5df213b2-8b23-43f1-8137-24ac80ef972a" providerId="ADAL" clId="{E965C011-1063-4CD3-8CA5-A8D35C5C287B}" dt="2022-09-12T20:56:15.553" v="29175" actId="571"/>
          <ac:spMkLst>
            <pc:docMk/>
            <pc:sldMk cId="2510404751" sldId="2147470494"/>
            <ac:spMk id="155" creationId="{A063E225-57D3-C98B-8134-823CFA00C9E5}"/>
          </ac:spMkLst>
        </pc:spChg>
        <pc:spChg chg="add mod">
          <ac:chgData name="Miranda Quispe, Bruno Sebastian" userId="5df213b2-8b23-43f1-8137-24ac80ef972a" providerId="ADAL" clId="{E965C011-1063-4CD3-8CA5-A8D35C5C287B}" dt="2022-09-13T16:18:27.228" v="31600" actId="20577"/>
          <ac:spMkLst>
            <pc:docMk/>
            <pc:sldMk cId="2510404751" sldId="2147470494"/>
            <ac:spMk id="158" creationId="{07EB8B57-0DE4-8BE2-F22A-D674C1FE8F1F}"/>
          </ac:spMkLst>
        </pc:spChg>
        <pc:grpChg chg="add mod">
          <ac:chgData name="Miranda Quispe, Bruno Sebastian" userId="5df213b2-8b23-43f1-8137-24ac80ef972a" providerId="ADAL" clId="{E965C011-1063-4CD3-8CA5-A8D35C5C287B}" dt="2022-09-12T20:20:56.261" v="28651" actId="164"/>
          <ac:grpSpMkLst>
            <pc:docMk/>
            <pc:sldMk cId="2510404751" sldId="2147470494"/>
            <ac:grpSpMk id="23" creationId="{90B2B4D5-086C-082F-73E6-FCFD240D199A}"/>
          </ac:grpSpMkLst>
        </pc:grpChg>
        <pc:grpChg chg="add mod">
          <ac:chgData name="Miranda Quispe, Bruno Sebastian" userId="5df213b2-8b23-43f1-8137-24ac80ef972a" providerId="ADAL" clId="{E965C011-1063-4CD3-8CA5-A8D35C5C287B}" dt="2022-09-12T20:30:46.173" v="28815" actId="1076"/>
          <ac:grpSpMkLst>
            <pc:docMk/>
            <pc:sldMk cId="2510404751" sldId="2147470494"/>
            <ac:grpSpMk id="39" creationId="{8BAB0791-B749-7D0E-4FF9-9C8C82F8D220}"/>
          </ac:grpSpMkLst>
        </pc:grpChg>
        <pc:grpChg chg="add mod">
          <ac:chgData name="Miranda Quispe, Bruno Sebastian" userId="5df213b2-8b23-43f1-8137-24ac80ef972a" providerId="ADAL" clId="{E965C011-1063-4CD3-8CA5-A8D35C5C287B}" dt="2022-09-12T21:23:57.494" v="29558" actId="1076"/>
          <ac:grpSpMkLst>
            <pc:docMk/>
            <pc:sldMk cId="2510404751" sldId="2147470494"/>
            <ac:grpSpMk id="53" creationId="{89F9A609-8117-E888-4ADC-57C919A3E277}"/>
          </ac:grpSpMkLst>
        </pc:grpChg>
        <pc:grpChg chg="add mod">
          <ac:chgData name="Miranda Quispe, Bruno Sebastian" userId="5df213b2-8b23-43f1-8137-24ac80ef972a" providerId="ADAL" clId="{E965C011-1063-4CD3-8CA5-A8D35C5C287B}" dt="2022-09-12T20:33:08.578" v="28865" actId="1076"/>
          <ac:grpSpMkLst>
            <pc:docMk/>
            <pc:sldMk cId="2510404751" sldId="2147470494"/>
            <ac:grpSpMk id="64" creationId="{B55F414B-E0B7-1B2F-A5FA-6D8209B09590}"/>
          </ac:grpSpMkLst>
        </pc:grpChg>
        <pc:grpChg chg="add del mod">
          <ac:chgData name="Miranda Quispe, Bruno Sebastian" userId="5df213b2-8b23-43f1-8137-24ac80ef972a" providerId="ADAL" clId="{E965C011-1063-4CD3-8CA5-A8D35C5C287B}" dt="2022-09-12T20:54:49.106" v="29096" actId="21"/>
          <ac:grpSpMkLst>
            <pc:docMk/>
            <pc:sldMk cId="2510404751" sldId="2147470494"/>
            <ac:grpSpMk id="69" creationId="{F155CFA7-6F4A-F53D-E5AF-9BD1C5E2A42D}"/>
          </ac:grpSpMkLst>
        </pc:grpChg>
        <pc:grpChg chg="add mod">
          <ac:chgData name="Miranda Quispe, Bruno Sebastian" userId="5df213b2-8b23-43f1-8137-24ac80ef972a" providerId="ADAL" clId="{E965C011-1063-4CD3-8CA5-A8D35C5C287B}" dt="2022-09-12T20:37:59.926" v="28884" actId="164"/>
          <ac:grpSpMkLst>
            <pc:docMk/>
            <pc:sldMk cId="2510404751" sldId="2147470494"/>
            <ac:grpSpMk id="72" creationId="{03CD5470-CA5F-9119-9FFD-2E0D08679430}"/>
          </ac:grpSpMkLst>
        </pc:grpChg>
        <pc:grpChg chg="add mod">
          <ac:chgData name="Miranda Quispe, Bruno Sebastian" userId="5df213b2-8b23-43f1-8137-24ac80ef972a" providerId="ADAL" clId="{E965C011-1063-4CD3-8CA5-A8D35C5C287B}" dt="2022-09-12T20:37:59.926" v="28884" actId="164"/>
          <ac:grpSpMkLst>
            <pc:docMk/>
            <pc:sldMk cId="2510404751" sldId="2147470494"/>
            <ac:grpSpMk id="75" creationId="{66F1E642-405A-F565-DFDC-5089B33018CB}"/>
          </ac:grpSpMkLst>
        </pc:grpChg>
        <pc:grpChg chg="add mod">
          <ac:chgData name="Miranda Quispe, Bruno Sebastian" userId="5df213b2-8b23-43f1-8137-24ac80ef972a" providerId="ADAL" clId="{E965C011-1063-4CD3-8CA5-A8D35C5C287B}" dt="2022-09-15T17:51:17.255" v="34725" actId="1076"/>
          <ac:grpSpMkLst>
            <pc:docMk/>
            <pc:sldMk cId="2510404751" sldId="2147470494"/>
            <ac:grpSpMk id="78" creationId="{9C736E51-21A9-5846-CB50-E4C69CE80FDB}"/>
          </ac:grpSpMkLst>
        </pc:grpChg>
        <pc:grpChg chg="add mod topLvl">
          <ac:chgData name="Miranda Quispe, Bruno Sebastian" userId="5df213b2-8b23-43f1-8137-24ac80ef972a" providerId="ADAL" clId="{E965C011-1063-4CD3-8CA5-A8D35C5C287B}" dt="2022-09-12T20:47:22.715" v="29031" actId="164"/>
          <ac:grpSpMkLst>
            <pc:docMk/>
            <pc:sldMk cId="2510404751" sldId="2147470494"/>
            <ac:grpSpMk id="89" creationId="{6ADD8105-80E3-697C-09C7-87FC2DF687A1}"/>
          </ac:grpSpMkLst>
        </pc:grpChg>
        <pc:grpChg chg="add mod">
          <ac:chgData name="Miranda Quispe, Bruno Sebastian" userId="5df213b2-8b23-43f1-8137-24ac80ef972a" providerId="ADAL" clId="{E965C011-1063-4CD3-8CA5-A8D35C5C287B}" dt="2022-09-12T20:46:50.720" v="29021" actId="165"/>
          <ac:grpSpMkLst>
            <pc:docMk/>
            <pc:sldMk cId="2510404751" sldId="2147470494"/>
            <ac:grpSpMk id="90" creationId="{587BA90C-6589-E0EE-5199-1F6A5AF1E0BB}"/>
          </ac:grpSpMkLst>
        </pc:grpChg>
        <pc:grpChg chg="add mod topLvl">
          <ac:chgData name="Miranda Quispe, Bruno Sebastian" userId="5df213b2-8b23-43f1-8137-24ac80ef972a" providerId="ADAL" clId="{E965C011-1063-4CD3-8CA5-A8D35C5C287B}" dt="2022-09-12T20:47:22.715" v="29031" actId="164"/>
          <ac:grpSpMkLst>
            <pc:docMk/>
            <pc:sldMk cId="2510404751" sldId="2147470494"/>
            <ac:grpSpMk id="101" creationId="{3E7D750A-9F94-628A-363B-47DFBEBDC8F4}"/>
          </ac:grpSpMkLst>
        </pc:grpChg>
        <pc:grpChg chg="add mod">
          <ac:chgData name="Miranda Quispe, Bruno Sebastian" userId="5df213b2-8b23-43f1-8137-24ac80ef972a" providerId="ADAL" clId="{E965C011-1063-4CD3-8CA5-A8D35C5C287B}" dt="2022-09-12T20:46:50.720" v="29021" actId="165"/>
          <ac:grpSpMkLst>
            <pc:docMk/>
            <pc:sldMk cId="2510404751" sldId="2147470494"/>
            <ac:grpSpMk id="102" creationId="{1AC562B0-B37A-187B-D0D4-81B5A2F055C1}"/>
          </ac:grpSpMkLst>
        </pc:grpChg>
        <pc:grpChg chg="mod">
          <ac:chgData name="Miranda Quispe, Bruno Sebastian" userId="5df213b2-8b23-43f1-8137-24ac80ef972a" providerId="ADAL" clId="{E965C011-1063-4CD3-8CA5-A8D35C5C287B}" dt="2022-09-12T20:46:50.720" v="29021" actId="165"/>
          <ac:grpSpMkLst>
            <pc:docMk/>
            <pc:sldMk cId="2510404751" sldId="2147470494"/>
            <ac:grpSpMk id="103" creationId="{4494B26F-DF47-E7A7-EEA7-504E983AE50D}"/>
          </ac:grpSpMkLst>
        </pc:grpChg>
        <pc:grpChg chg="add mod topLvl">
          <ac:chgData name="Miranda Quispe, Bruno Sebastian" userId="5df213b2-8b23-43f1-8137-24ac80ef972a" providerId="ADAL" clId="{E965C011-1063-4CD3-8CA5-A8D35C5C287B}" dt="2022-09-12T20:47:22.715" v="29031" actId="164"/>
          <ac:grpSpMkLst>
            <pc:docMk/>
            <pc:sldMk cId="2510404751" sldId="2147470494"/>
            <ac:grpSpMk id="112" creationId="{2E8DB7B8-79A6-A1E1-1975-07DC69734C9C}"/>
          </ac:grpSpMkLst>
        </pc:grpChg>
        <pc:grpChg chg="add mod">
          <ac:chgData name="Miranda Quispe, Bruno Sebastian" userId="5df213b2-8b23-43f1-8137-24ac80ef972a" providerId="ADAL" clId="{E965C011-1063-4CD3-8CA5-A8D35C5C287B}" dt="2022-09-12T20:45:00.472" v="28973" actId="164"/>
          <ac:grpSpMkLst>
            <pc:docMk/>
            <pc:sldMk cId="2510404751" sldId="2147470494"/>
            <ac:grpSpMk id="113" creationId="{94C8923C-1D69-7E1F-6225-DF2A3B79FC26}"/>
          </ac:grpSpMkLst>
        </pc:grpChg>
        <pc:grpChg chg="add del mod">
          <ac:chgData name="Miranda Quispe, Bruno Sebastian" userId="5df213b2-8b23-43f1-8137-24ac80ef972a" providerId="ADAL" clId="{E965C011-1063-4CD3-8CA5-A8D35C5C287B}" dt="2022-09-12T20:46:50.720" v="29021" actId="165"/>
          <ac:grpSpMkLst>
            <pc:docMk/>
            <pc:sldMk cId="2510404751" sldId="2147470494"/>
            <ac:grpSpMk id="114" creationId="{CE6051ED-2BDC-8A6D-DA22-A209E397ECDC}"/>
          </ac:grpSpMkLst>
        </pc:grpChg>
        <pc:grpChg chg="add mod">
          <ac:chgData name="Miranda Quispe, Bruno Sebastian" userId="5df213b2-8b23-43f1-8137-24ac80ef972a" providerId="ADAL" clId="{E965C011-1063-4CD3-8CA5-A8D35C5C287B}" dt="2022-09-12T20:47:22.715" v="29031" actId="164"/>
          <ac:grpSpMkLst>
            <pc:docMk/>
            <pc:sldMk cId="2510404751" sldId="2147470494"/>
            <ac:grpSpMk id="127" creationId="{0408BE21-DBA4-80FD-F577-C411BBC88E72}"/>
          </ac:grpSpMkLst>
        </pc:grpChg>
        <pc:grpChg chg="add mod">
          <ac:chgData name="Miranda Quispe, Bruno Sebastian" userId="5df213b2-8b23-43f1-8137-24ac80ef972a" providerId="ADAL" clId="{E965C011-1063-4CD3-8CA5-A8D35C5C287B}" dt="2022-09-12T20:48:58.039" v="29058" actId="164"/>
          <ac:grpSpMkLst>
            <pc:docMk/>
            <pc:sldMk cId="2510404751" sldId="2147470494"/>
            <ac:grpSpMk id="128" creationId="{075ECB43-B01E-D784-4BC3-D63D6CEBCFC7}"/>
          </ac:grpSpMkLst>
        </pc:grpChg>
        <pc:grpChg chg="add mod">
          <ac:chgData name="Miranda Quispe, Bruno Sebastian" userId="5df213b2-8b23-43f1-8137-24ac80ef972a" providerId="ADAL" clId="{E965C011-1063-4CD3-8CA5-A8D35C5C287B}" dt="2022-09-12T20:48:58.039" v="29058" actId="164"/>
          <ac:grpSpMkLst>
            <pc:docMk/>
            <pc:sldMk cId="2510404751" sldId="2147470494"/>
            <ac:grpSpMk id="133" creationId="{4208BE43-3585-A7DE-00F5-38F3C24ACA5F}"/>
          </ac:grpSpMkLst>
        </pc:grpChg>
        <pc:grpChg chg="add mod">
          <ac:chgData name="Miranda Quispe, Bruno Sebastian" userId="5df213b2-8b23-43f1-8137-24ac80ef972a" providerId="ADAL" clId="{E965C011-1063-4CD3-8CA5-A8D35C5C287B}" dt="2022-09-12T20:56:20.151" v="29176" actId="164"/>
          <ac:grpSpMkLst>
            <pc:docMk/>
            <pc:sldMk cId="2510404751" sldId="2147470494"/>
            <ac:grpSpMk id="156" creationId="{D62A23ED-02F7-D905-597B-3910BBC61BD4}"/>
          </ac:grpSpMkLst>
        </pc:grpChg>
        <pc:picChg chg="add mod">
          <ac:chgData name="Miranda Quispe, Bruno Sebastian" userId="5df213b2-8b23-43f1-8137-24ac80ef972a" providerId="ADAL" clId="{E965C011-1063-4CD3-8CA5-A8D35C5C287B}" dt="2022-09-12T20:33:16.465" v="28867" actId="1076"/>
          <ac:picMkLst>
            <pc:docMk/>
            <pc:sldMk cId="2510404751" sldId="2147470494"/>
            <ac:picMk id="7" creationId="{396FFF9E-0437-666E-F716-D17BE6348F64}"/>
          </ac:picMkLst>
        </pc:picChg>
        <pc:picChg chg="add mod">
          <ac:chgData name="Miranda Quispe, Bruno Sebastian" userId="5df213b2-8b23-43f1-8137-24ac80ef972a" providerId="ADAL" clId="{E965C011-1063-4CD3-8CA5-A8D35C5C287B}" dt="2022-09-12T20:27:55.101" v="28801" actId="164"/>
          <ac:picMkLst>
            <pc:docMk/>
            <pc:sldMk cId="2510404751" sldId="2147470494"/>
            <ac:picMk id="11" creationId="{061CA806-CFED-EB0C-40BC-D0F632E8B60E}"/>
          </ac:picMkLst>
        </pc:picChg>
        <pc:picChg chg="add mod">
          <ac:chgData name="Miranda Quispe, Bruno Sebastian" userId="5df213b2-8b23-43f1-8137-24ac80ef972a" providerId="ADAL" clId="{E965C011-1063-4CD3-8CA5-A8D35C5C287B}" dt="2022-09-12T20:20:56.261" v="28651" actId="164"/>
          <ac:picMkLst>
            <pc:docMk/>
            <pc:sldMk cId="2510404751" sldId="2147470494"/>
            <ac:picMk id="13" creationId="{B8E835F0-1A51-5677-097D-B86092E63CA6}"/>
          </ac:picMkLst>
        </pc:picChg>
        <pc:picChg chg="add mod">
          <ac:chgData name="Miranda Quispe, Bruno Sebastian" userId="5df213b2-8b23-43f1-8137-24ac80ef972a" providerId="ADAL" clId="{E965C011-1063-4CD3-8CA5-A8D35C5C287B}" dt="2022-09-12T20:20:56.261" v="28651" actId="164"/>
          <ac:picMkLst>
            <pc:docMk/>
            <pc:sldMk cId="2510404751" sldId="2147470494"/>
            <ac:picMk id="15" creationId="{70B79446-68D5-BC61-F198-25E2BB1DC449}"/>
          </ac:picMkLst>
        </pc:picChg>
        <pc:picChg chg="add mod">
          <ac:chgData name="Miranda Quispe, Bruno Sebastian" userId="5df213b2-8b23-43f1-8137-24ac80ef972a" providerId="ADAL" clId="{E965C011-1063-4CD3-8CA5-A8D35C5C287B}" dt="2022-09-12T20:20:56.261" v="28651" actId="164"/>
          <ac:picMkLst>
            <pc:docMk/>
            <pc:sldMk cId="2510404751" sldId="2147470494"/>
            <ac:picMk id="17" creationId="{78AC4602-7476-8D63-A759-65E70B0EFDEA}"/>
          </ac:picMkLst>
        </pc:picChg>
        <pc:picChg chg="add mod">
          <ac:chgData name="Miranda Quispe, Bruno Sebastian" userId="5df213b2-8b23-43f1-8137-24ac80ef972a" providerId="ADAL" clId="{E965C011-1063-4CD3-8CA5-A8D35C5C287B}" dt="2022-09-12T20:27:55.101" v="28801" actId="164"/>
          <ac:picMkLst>
            <pc:docMk/>
            <pc:sldMk cId="2510404751" sldId="2147470494"/>
            <ac:picMk id="25" creationId="{05ADF076-3E35-CD9E-0D8D-F0631D444DC4}"/>
          </ac:picMkLst>
        </pc:picChg>
        <pc:picChg chg="add mod">
          <ac:chgData name="Miranda Quispe, Bruno Sebastian" userId="5df213b2-8b23-43f1-8137-24ac80ef972a" providerId="ADAL" clId="{E965C011-1063-4CD3-8CA5-A8D35C5C287B}" dt="2022-09-12T20:27:55.101" v="28801" actId="164"/>
          <ac:picMkLst>
            <pc:docMk/>
            <pc:sldMk cId="2510404751" sldId="2147470494"/>
            <ac:picMk id="27" creationId="{E2A3509E-6BB4-766D-D8A7-5C9041EE0926}"/>
          </ac:picMkLst>
        </pc:picChg>
        <pc:picChg chg="add mod">
          <ac:chgData name="Miranda Quispe, Bruno Sebastian" userId="5df213b2-8b23-43f1-8137-24ac80ef972a" providerId="ADAL" clId="{E965C011-1063-4CD3-8CA5-A8D35C5C287B}" dt="2022-09-12T20:27:55.101" v="28801" actId="164"/>
          <ac:picMkLst>
            <pc:docMk/>
            <pc:sldMk cId="2510404751" sldId="2147470494"/>
            <ac:picMk id="29" creationId="{47D274A3-C294-3FF0-9409-7177C64BCB36}"/>
          </ac:picMkLst>
        </pc:picChg>
        <pc:picChg chg="add mod">
          <ac:chgData name="Miranda Quispe, Bruno Sebastian" userId="5df213b2-8b23-43f1-8137-24ac80ef972a" providerId="ADAL" clId="{E965C011-1063-4CD3-8CA5-A8D35C5C287B}" dt="2022-09-12T20:27:55.101" v="28801" actId="164"/>
          <ac:picMkLst>
            <pc:docMk/>
            <pc:sldMk cId="2510404751" sldId="2147470494"/>
            <ac:picMk id="31" creationId="{E5C27249-712B-E4FE-575F-160583180A73}"/>
          </ac:picMkLst>
        </pc:picChg>
        <pc:picChg chg="add mod">
          <ac:chgData name="Miranda Quispe, Bruno Sebastian" userId="5df213b2-8b23-43f1-8137-24ac80ef972a" providerId="ADAL" clId="{E965C011-1063-4CD3-8CA5-A8D35C5C287B}" dt="2022-09-12T20:27:55.101" v="28801" actId="164"/>
          <ac:picMkLst>
            <pc:docMk/>
            <pc:sldMk cId="2510404751" sldId="2147470494"/>
            <ac:picMk id="33" creationId="{3B3B3C29-E21E-FF93-22D0-64A845291C1D}"/>
          </ac:picMkLst>
        </pc:picChg>
        <pc:picChg chg="add del mod">
          <ac:chgData name="Miranda Quispe, Bruno Sebastian" userId="5df213b2-8b23-43f1-8137-24ac80ef972a" providerId="ADAL" clId="{E965C011-1063-4CD3-8CA5-A8D35C5C287B}" dt="2022-09-12T20:29:54.512" v="28807" actId="478"/>
          <ac:picMkLst>
            <pc:docMk/>
            <pc:sldMk cId="2510404751" sldId="2147470494"/>
            <ac:picMk id="55" creationId="{662688A1-C8A5-3125-AF9A-771CD0979642}"/>
          </ac:picMkLst>
        </pc:picChg>
        <pc:picChg chg="add mod">
          <ac:chgData name="Miranda Quispe, Bruno Sebastian" userId="5df213b2-8b23-43f1-8137-24ac80ef972a" providerId="ADAL" clId="{E965C011-1063-4CD3-8CA5-A8D35C5C287B}" dt="2022-09-12T20:33:05.530" v="28864" actId="164"/>
          <ac:picMkLst>
            <pc:docMk/>
            <pc:sldMk cId="2510404751" sldId="2147470494"/>
            <ac:picMk id="57" creationId="{680B972C-0B00-9144-2A62-D4EFE712ABB0}"/>
          </ac:picMkLst>
        </pc:picChg>
        <pc:picChg chg="add mod">
          <ac:chgData name="Miranda Quispe, Bruno Sebastian" userId="5df213b2-8b23-43f1-8137-24ac80ef972a" providerId="ADAL" clId="{E965C011-1063-4CD3-8CA5-A8D35C5C287B}" dt="2022-09-12T20:32:23.750" v="28837" actId="207"/>
          <ac:picMkLst>
            <pc:docMk/>
            <pc:sldMk cId="2510404751" sldId="2147470494"/>
            <ac:picMk id="59" creationId="{7B06D5CB-A685-E714-1F38-6175644642E0}"/>
          </ac:picMkLst>
        </pc:picChg>
        <pc:picChg chg="add mod">
          <ac:chgData name="Miranda Quispe, Bruno Sebastian" userId="5df213b2-8b23-43f1-8137-24ac80ef972a" providerId="ADAL" clId="{E965C011-1063-4CD3-8CA5-A8D35C5C287B}" dt="2022-09-12T20:32:23.750" v="28837" actId="207"/>
          <ac:picMkLst>
            <pc:docMk/>
            <pc:sldMk cId="2510404751" sldId="2147470494"/>
            <ac:picMk id="61" creationId="{05DE03E8-F595-67D1-16E3-61C240EEFE82}"/>
          </ac:picMkLst>
        </pc:picChg>
        <pc:picChg chg="add mod">
          <ac:chgData name="Miranda Quispe, Bruno Sebastian" userId="5df213b2-8b23-43f1-8137-24ac80ef972a" providerId="ADAL" clId="{E965C011-1063-4CD3-8CA5-A8D35C5C287B}" dt="2022-09-12T20:33:45.315" v="28873" actId="1076"/>
          <ac:picMkLst>
            <pc:docMk/>
            <pc:sldMk cId="2510404751" sldId="2147470494"/>
            <ac:picMk id="66" creationId="{22370A1E-39F2-A35A-66F1-F7E791279060}"/>
          </ac:picMkLst>
        </pc:picChg>
        <pc:picChg chg="add mod">
          <ac:chgData name="Miranda Quispe, Bruno Sebastian" userId="5df213b2-8b23-43f1-8137-24ac80ef972a" providerId="ADAL" clId="{E965C011-1063-4CD3-8CA5-A8D35C5C287B}" dt="2022-09-12T20:35:26.298" v="28877" actId="1076"/>
          <ac:picMkLst>
            <pc:docMk/>
            <pc:sldMk cId="2510404751" sldId="2147470494"/>
            <ac:picMk id="68" creationId="{5600C0CA-181E-4E5B-E7CC-B791B6CA1514}"/>
          </ac:picMkLst>
        </pc:picChg>
        <pc:picChg chg="mod">
          <ac:chgData name="Miranda Quispe, Bruno Sebastian" userId="5df213b2-8b23-43f1-8137-24ac80ef972a" providerId="ADAL" clId="{E965C011-1063-4CD3-8CA5-A8D35C5C287B}" dt="2022-09-12T20:54:49.106" v="29096" actId="21"/>
          <ac:picMkLst>
            <pc:docMk/>
            <pc:sldMk cId="2510404751" sldId="2147470494"/>
            <ac:picMk id="70" creationId="{30D13669-C497-E4A2-FA78-60AD095BAC93}"/>
          </ac:picMkLst>
        </pc:picChg>
        <pc:picChg chg="mod">
          <ac:chgData name="Miranda Quispe, Bruno Sebastian" userId="5df213b2-8b23-43f1-8137-24ac80ef972a" providerId="ADAL" clId="{E965C011-1063-4CD3-8CA5-A8D35C5C287B}" dt="2022-09-12T20:37:35.151" v="28880"/>
          <ac:picMkLst>
            <pc:docMk/>
            <pc:sldMk cId="2510404751" sldId="2147470494"/>
            <ac:picMk id="73" creationId="{322FA5E6-6696-3802-F086-B1D9EA74C86E}"/>
          </ac:picMkLst>
        </pc:picChg>
        <pc:picChg chg="mod">
          <ac:chgData name="Miranda Quispe, Bruno Sebastian" userId="5df213b2-8b23-43f1-8137-24ac80ef972a" providerId="ADAL" clId="{E965C011-1063-4CD3-8CA5-A8D35C5C287B}" dt="2022-09-12T20:37:40.666" v="28882"/>
          <ac:picMkLst>
            <pc:docMk/>
            <pc:sldMk cId="2510404751" sldId="2147470494"/>
            <ac:picMk id="76" creationId="{88E42B4C-C9FB-063E-BA91-2B672D2D7626}"/>
          </ac:picMkLst>
        </pc:picChg>
        <pc:picChg chg="add del mod">
          <ac:chgData name="Miranda Quispe, Bruno Sebastian" userId="5df213b2-8b23-43f1-8137-24ac80ef972a" providerId="ADAL" clId="{E965C011-1063-4CD3-8CA5-A8D35C5C287B}" dt="2022-09-13T15:18:31.111" v="30647" actId="21"/>
          <ac:picMkLst>
            <pc:docMk/>
            <pc:sldMk cId="2510404751" sldId="2147470494"/>
            <ac:picMk id="80" creationId="{9029ED27-DD32-2091-ED81-EDA6FD489614}"/>
          </ac:picMkLst>
        </pc:picChg>
        <pc:picChg chg="add mod">
          <ac:chgData name="Miranda Quispe, Bruno Sebastian" userId="5df213b2-8b23-43f1-8137-24ac80ef972a" providerId="ADAL" clId="{E965C011-1063-4CD3-8CA5-A8D35C5C287B}" dt="2022-09-12T20:46:50.720" v="29021" actId="165"/>
          <ac:picMkLst>
            <pc:docMk/>
            <pc:sldMk cId="2510404751" sldId="2147470494"/>
            <ac:picMk id="82" creationId="{3E0DDECA-15B8-1FFD-CF2C-580AAE6E5ECA}"/>
          </ac:picMkLst>
        </pc:picChg>
        <pc:picChg chg="add mod">
          <ac:chgData name="Miranda Quispe, Bruno Sebastian" userId="5df213b2-8b23-43f1-8137-24ac80ef972a" providerId="ADAL" clId="{E965C011-1063-4CD3-8CA5-A8D35C5C287B}" dt="2022-09-12T20:46:50.720" v="29021" actId="165"/>
          <ac:picMkLst>
            <pc:docMk/>
            <pc:sldMk cId="2510404751" sldId="2147470494"/>
            <ac:picMk id="84" creationId="{23F79823-08CD-1E9D-A351-D664F541E689}"/>
          </ac:picMkLst>
        </pc:picChg>
        <pc:picChg chg="add mod">
          <ac:chgData name="Miranda Quispe, Bruno Sebastian" userId="5df213b2-8b23-43f1-8137-24ac80ef972a" providerId="ADAL" clId="{E965C011-1063-4CD3-8CA5-A8D35C5C287B}" dt="2022-09-12T20:46:50.720" v="29021" actId="165"/>
          <ac:picMkLst>
            <pc:docMk/>
            <pc:sldMk cId="2510404751" sldId="2147470494"/>
            <ac:picMk id="86" creationId="{65F03DE9-6774-3584-8C34-E7E03B64AD81}"/>
          </ac:picMkLst>
        </pc:picChg>
        <pc:picChg chg="add mod">
          <ac:chgData name="Miranda Quispe, Bruno Sebastian" userId="5df213b2-8b23-43f1-8137-24ac80ef972a" providerId="ADAL" clId="{E965C011-1063-4CD3-8CA5-A8D35C5C287B}" dt="2022-09-12T20:46:50.720" v="29021" actId="165"/>
          <ac:picMkLst>
            <pc:docMk/>
            <pc:sldMk cId="2510404751" sldId="2147470494"/>
            <ac:picMk id="88" creationId="{B2F293D1-456C-D01A-9306-C86B51842949}"/>
          </ac:picMkLst>
        </pc:picChg>
        <pc:picChg chg="mod">
          <ac:chgData name="Miranda Quispe, Bruno Sebastian" userId="5df213b2-8b23-43f1-8137-24ac80ef972a" providerId="ADAL" clId="{E965C011-1063-4CD3-8CA5-A8D35C5C287B}" dt="2022-09-12T20:46:50.720" v="29021" actId="165"/>
          <ac:picMkLst>
            <pc:docMk/>
            <pc:sldMk cId="2510404751" sldId="2147470494"/>
            <ac:picMk id="91" creationId="{CC2AEFC3-9991-1CA8-677E-AFE802029D66}"/>
          </ac:picMkLst>
        </pc:picChg>
        <pc:picChg chg="add del mod">
          <ac:chgData name="Miranda Quispe, Bruno Sebastian" userId="5df213b2-8b23-43f1-8137-24ac80ef972a" providerId="ADAL" clId="{E965C011-1063-4CD3-8CA5-A8D35C5C287B}" dt="2022-09-12T20:46:50.720" v="29021" actId="165"/>
          <ac:picMkLst>
            <pc:docMk/>
            <pc:sldMk cId="2510404751" sldId="2147470494"/>
            <ac:picMk id="92" creationId="{00468084-F560-8A69-1FF9-C001ACD54071}"/>
          </ac:picMkLst>
        </pc:picChg>
        <pc:picChg chg="mod">
          <ac:chgData name="Miranda Quispe, Bruno Sebastian" userId="5df213b2-8b23-43f1-8137-24ac80ef972a" providerId="ADAL" clId="{E965C011-1063-4CD3-8CA5-A8D35C5C287B}" dt="2022-09-12T20:46:50.720" v="29021" actId="165"/>
          <ac:picMkLst>
            <pc:docMk/>
            <pc:sldMk cId="2510404751" sldId="2147470494"/>
            <ac:picMk id="93" creationId="{B2CB21A8-41DE-877D-82CC-428F037D4118}"/>
          </ac:picMkLst>
        </pc:picChg>
        <pc:picChg chg="mod">
          <ac:chgData name="Miranda Quispe, Bruno Sebastian" userId="5df213b2-8b23-43f1-8137-24ac80ef972a" providerId="ADAL" clId="{E965C011-1063-4CD3-8CA5-A8D35C5C287B}" dt="2022-09-12T20:46:50.720" v="29021" actId="165"/>
          <ac:picMkLst>
            <pc:docMk/>
            <pc:sldMk cId="2510404751" sldId="2147470494"/>
            <ac:picMk id="94" creationId="{481B4747-F125-D815-6888-D28C052975A2}"/>
          </ac:picMkLst>
        </pc:picChg>
        <pc:picChg chg="add del mod">
          <ac:chgData name="Miranda Quispe, Bruno Sebastian" userId="5df213b2-8b23-43f1-8137-24ac80ef972a" providerId="ADAL" clId="{E965C011-1063-4CD3-8CA5-A8D35C5C287B}" dt="2022-09-12T20:42:06.630" v="28940" actId="478"/>
          <ac:picMkLst>
            <pc:docMk/>
            <pc:sldMk cId="2510404751" sldId="2147470494"/>
            <ac:picMk id="96" creationId="{A48F3EC1-17BD-3445-791E-096BBD1DBE4F}"/>
          </ac:picMkLst>
        </pc:picChg>
        <pc:picChg chg="add mod">
          <ac:chgData name="Miranda Quispe, Bruno Sebastian" userId="5df213b2-8b23-43f1-8137-24ac80ef972a" providerId="ADAL" clId="{E965C011-1063-4CD3-8CA5-A8D35C5C287B}" dt="2022-09-12T20:46:50.720" v="29021" actId="165"/>
          <ac:picMkLst>
            <pc:docMk/>
            <pc:sldMk cId="2510404751" sldId="2147470494"/>
            <ac:picMk id="98" creationId="{7F7A35CB-DBEF-09AF-E3C3-F813F20325AF}"/>
          </ac:picMkLst>
        </pc:picChg>
        <pc:picChg chg="add mod">
          <ac:chgData name="Miranda Quispe, Bruno Sebastian" userId="5df213b2-8b23-43f1-8137-24ac80ef972a" providerId="ADAL" clId="{E965C011-1063-4CD3-8CA5-A8D35C5C287B}" dt="2022-09-12T20:46:50.720" v="29021" actId="165"/>
          <ac:picMkLst>
            <pc:docMk/>
            <pc:sldMk cId="2510404751" sldId="2147470494"/>
            <ac:picMk id="100" creationId="{60274873-0EDF-A9C6-1B73-B960ED9BE82D}"/>
          </ac:picMkLst>
        </pc:picChg>
        <pc:picChg chg="mod">
          <ac:chgData name="Miranda Quispe, Bruno Sebastian" userId="5df213b2-8b23-43f1-8137-24ac80ef972a" providerId="ADAL" clId="{E965C011-1063-4CD3-8CA5-A8D35C5C287B}" dt="2022-09-12T20:46:50.720" v="29021" actId="165"/>
          <ac:picMkLst>
            <pc:docMk/>
            <pc:sldMk cId="2510404751" sldId="2147470494"/>
            <ac:picMk id="104" creationId="{80BFC409-A201-2BD8-D0B4-7A755979C297}"/>
          </ac:picMkLst>
        </pc:picChg>
        <pc:picChg chg="del mod">
          <ac:chgData name="Miranda Quispe, Bruno Sebastian" userId="5df213b2-8b23-43f1-8137-24ac80ef972a" providerId="ADAL" clId="{E965C011-1063-4CD3-8CA5-A8D35C5C287B}" dt="2022-09-12T20:42:48.840" v="28949" actId="478"/>
          <ac:picMkLst>
            <pc:docMk/>
            <pc:sldMk cId="2510404751" sldId="2147470494"/>
            <ac:picMk id="105" creationId="{A2C1B6A0-0C04-5EB7-C493-C27AF103793B}"/>
          </ac:picMkLst>
        </pc:picChg>
        <pc:picChg chg="mod">
          <ac:chgData name="Miranda Quispe, Bruno Sebastian" userId="5df213b2-8b23-43f1-8137-24ac80ef972a" providerId="ADAL" clId="{E965C011-1063-4CD3-8CA5-A8D35C5C287B}" dt="2022-09-12T20:46:50.720" v="29021" actId="165"/>
          <ac:picMkLst>
            <pc:docMk/>
            <pc:sldMk cId="2510404751" sldId="2147470494"/>
            <ac:picMk id="106" creationId="{B5360938-6574-1DA1-D19B-D46DEBEFFF96}"/>
          </ac:picMkLst>
        </pc:picChg>
        <pc:picChg chg="del mod">
          <ac:chgData name="Miranda Quispe, Bruno Sebastian" userId="5df213b2-8b23-43f1-8137-24ac80ef972a" providerId="ADAL" clId="{E965C011-1063-4CD3-8CA5-A8D35C5C287B}" dt="2022-09-12T20:42:50.722" v="28950" actId="478"/>
          <ac:picMkLst>
            <pc:docMk/>
            <pc:sldMk cId="2510404751" sldId="2147470494"/>
            <ac:picMk id="107" creationId="{CBDBB985-45D0-7E83-CD10-4CE7E351F37E}"/>
          </ac:picMkLst>
        </pc:picChg>
        <pc:picChg chg="mod">
          <ac:chgData name="Miranda Quispe, Bruno Sebastian" userId="5df213b2-8b23-43f1-8137-24ac80ef972a" providerId="ADAL" clId="{E965C011-1063-4CD3-8CA5-A8D35C5C287B}" dt="2022-09-12T20:46:50.720" v="29021" actId="165"/>
          <ac:picMkLst>
            <pc:docMk/>
            <pc:sldMk cId="2510404751" sldId="2147470494"/>
            <ac:picMk id="108" creationId="{518B25E7-8FC8-EB56-962B-04E7513ED468}"/>
          </ac:picMkLst>
        </pc:picChg>
        <pc:picChg chg="mod">
          <ac:chgData name="Miranda Quispe, Bruno Sebastian" userId="5df213b2-8b23-43f1-8137-24ac80ef972a" providerId="ADAL" clId="{E965C011-1063-4CD3-8CA5-A8D35C5C287B}" dt="2022-09-12T20:46:50.720" v="29021" actId="165"/>
          <ac:picMkLst>
            <pc:docMk/>
            <pc:sldMk cId="2510404751" sldId="2147470494"/>
            <ac:picMk id="109" creationId="{2C40834D-05CA-5CCC-11BC-096888F225B5}"/>
          </ac:picMkLst>
        </pc:picChg>
        <pc:picChg chg="add mod">
          <ac:chgData name="Miranda Quispe, Bruno Sebastian" userId="5df213b2-8b23-43f1-8137-24ac80ef972a" providerId="ADAL" clId="{E965C011-1063-4CD3-8CA5-A8D35C5C287B}" dt="2022-09-12T20:46:50.720" v="29021" actId="165"/>
          <ac:picMkLst>
            <pc:docMk/>
            <pc:sldMk cId="2510404751" sldId="2147470494"/>
            <ac:picMk id="111" creationId="{32FE16FB-04BE-1B83-00F3-A4C007A2B951}"/>
          </ac:picMkLst>
        </pc:picChg>
        <pc:picChg chg="add mod">
          <ac:chgData name="Miranda Quispe, Bruno Sebastian" userId="5df213b2-8b23-43f1-8137-24ac80ef972a" providerId="ADAL" clId="{E965C011-1063-4CD3-8CA5-A8D35C5C287B}" dt="2022-09-12T20:46:11.396" v="28989" actId="1076"/>
          <ac:picMkLst>
            <pc:docMk/>
            <pc:sldMk cId="2510404751" sldId="2147470494"/>
            <ac:picMk id="116" creationId="{F90F45F4-AE1F-4FB5-1B8B-F526A750896D}"/>
          </ac:picMkLst>
        </pc:picChg>
        <pc:picChg chg="add mod">
          <ac:chgData name="Miranda Quispe, Bruno Sebastian" userId="5df213b2-8b23-43f1-8137-24ac80ef972a" providerId="ADAL" clId="{E965C011-1063-4CD3-8CA5-A8D35C5C287B}" dt="2022-09-12T20:46:04.466" v="28988" actId="1076"/>
          <ac:picMkLst>
            <pc:docMk/>
            <pc:sldMk cId="2510404751" sldId="2147470494"/>
            <ac:picMk id="118" creationId="{6108C6C4-6B4A-EE24-5E77-E7CCA034D710}"/>
          </ac:picMkLst>
        </pc:picChg>
        <pc:picChg chg="add mod">
          <ac:chgData name="Miranda Quispe, Bruno Sebastian" userId="5df213b2-8b23-43f1-8137-24ac80ef972a" providerId="ADAL" clId="{E965C011-1063-4CD3-8CA5-A8D35C5C287B}" dt="2022-09-12T20:56:20.151" v="29176" actId="164"/>
          <ac:picMkLst>
            <pc:docMk/>
            <pc:sldMk cId="2510404751" sldId="2147470494"/>
            <ac:picMk id="135" creationId="{BFD7CCFB-A61C-C8F1-2AD2-5C0A9731A06B}"/>
          </ac:picMkLst>
        </pc:picChg>
        <pc:picChg chg="add mod">
          <ac:chgData name="Miranda Quispe, Bruno Sebastian" userId="5df213b2-8b23-43f1-8137-24ac80ef972a" providerId="ADAL" clId="{E965C011-1063-4CD3-8CA5-A8D35C5C287B}" dt="2022-09-12T20:56:20.151" v="29176" actId="164"/>
          <ac:picMkLst>
            <pc:docMk/>
            <pc:sldMk cId="2510404751" sldId="2147470494"/>
            <ac:picMk id="137" creationId="{947337BC-0346-2077-69BD-3DF43ADABE65}"/>
          </ac:picMkLst>
        </pc:picChg>
        <pc:picChg chg="add mod">
          <ac:chgData name="Miranda Quispe, Bruno Sebastian" userId="5df213b2-8b23-43f1-8137-24ac80ef972a" providerId="ADAL" clId="{E965C011-1063-4CD3-8CA5-A8D35C5C287B}" dt="2022-09-12T20:53:26.632" v="29077" actId="1076"/>
          <ac:picMkLst>
            <pc:docMk/>
            <pc:sldMk cId="2510404751" sldId="2147470494"/>
            <ac:picMk id="139" creationId="{F643C8DB-D2F0-197E-54CF-18634510C3CD}"/>
          </ac:picMkLst>
        </pc:picChg>
        <pc:picChg chg="add mod">
          <ac:chgData name="Miranda Quispe, Bruno Sebastian" userId="5df213b2-8b23-43f1-8137-24ac80ef972a" providerId="ADAL" clId="{E965C011-1063-4CD3-8CA5-A8D35C5C287B}" dt="2022-09-12T20:53:39.641" v="29081" actId="1076"/>
          <ac:picMkLst>
            <pc:docMk/>
            <pc:sldMk cId="2510404751" sldId="2147470494"/>
            <ac:picMk id="141" creationId="{964A14BC-8A71-6D0E-5132-D4DC61B53735}"/>
          </ac:picMkLst>
        </pc:picChg>
        <pc:picChg chg="add mod">
          <ac:chgData name="Miranda Quispe, Bruno Sebastian" userId="5df213b2-8b23-43f1-8137-24ac80ef972a" providerId="ADAL" clId="{E965C011-1063-4CD3-8CA5-A8D35C5C287B}" dt="2022-09-12T20:56:20.151" v="29176" actId="164"/>
          <ac:picMkLst>
            <pc:docMk/>
            <pc:sldMk cId="2510404751" sldId="2147470494"/>
            <ac:picMk id="143" creationId="{7A53E40A-0849-0829-F8B7-9DA9BF89CCF0}"/>
          </ac:picMkLst>
        </pc:picChg>
        <pc:picChg chg="add del">
          <ac:chgData name="Miranda Quispe, Bruno Sebastian" userId="5df213b2-8b23-43f1-8137-24ac80ef972a" providerId="ADAL" clId="{E965C011-1063-4CD3-8CA5-A8D35C5C287B}" dt="2022-09-12T20:54:45.765" v="29094" actId="22"/>
          <ac:picMkLst>
            <pc:docMk/>
            <pc:sldMk cId="2510404751" sldId="2147470494"/>
            <ac:picMk id="145" creationId="{7C0BB160-B8EE-F2DE-DC51-2331F598A827}"/>
          </ac:picMkLst>
        </pc:picChg>
        <pc:picChg chg="add mod">
          <ac:chgData name="Miranda Quispe, Bruno Sebastian" userId="5df213b2-8b23-43f1-8137-24ac80ef972a" providerId="ADAL" clId="{E965C011-1063-4CD3-8CA5-A8D35C5C287B}" dt="2022-09-12T20:56:15.553" v="29175" actId="571"/>
          <ac:picMkLst>
            <pc:docMk/>
            <pc:sldMk cId="2510404751" sldId="2147470494"/>
            <ac:picMk id="152" creationId="{0A14249D-10D1-3D63-02D4-232CB9A51CCA}"/>
          </ac:picMkLst>
        </pc:picChg>
        <pc:picChg chg="add mod">
          <ac:chgData name="Miranda Quispe, Bruno Sebastian" userId="5df213b2-8b23-43f1-8137-24ac80ef972a" providerId="ADAL" clId="{E965C011-1063-4CD3-8CA5-A8D35C5C287B}" dt="2022-09-12T20:56:15.553" v="29175" actId="571"/>
          <ac:picMkLst>
            <pc:docMk/>
            <pc:sldMk cId="2510404751" sldId="2147470494"/>
            <ac:picMk id="153" creationId="{B8770F38-C954-C2A6-F0A0-97AB8CBF0692}"/>
          </ac:picMkLst>
        </pc:picChg>
      </pc:sldChg>
      <pc:sldChg chg="addSp delSp modSp new mod ord">
        <pc:chgData name="Miranda Quispe, Bruno Sebastian" userId="5df213b2-8b23-43f1-8137-24ac80ef972a" providerId="ADAL" clId="{E965C011-1063-4CD3-8CA5-A8D35C5C287B}" dt="2022-09-13T15:11:13.069" v="30532" actId="113"/>
        <pc:sldMkLst>
          <pc:docMk/>
          <pc:sldMk cId="2916495140" sldId="2147470495"/>
        </pc:sldMkLst>
        <pc:spChg chg="mod">
          <ac:chgData name="Miranda Quispe, Bruno Sebastian" userId="5df213b2-8b23-43f1-8137-24ac80ef972a" providerId="ADAL" clId="{E965C011-1063-4CD3-8CA5-A8D35C5C287B}" dt="2022-09-12T21:03:46.799" v="29272" actId="20577"/>
          <ac:spMkLst>
            <pc:docMk/>
            <pc:sldMk cId="2916495140" sldId="2147470495"/>
            <ac:spMk id="2" creationId="{EF78201D-1F24-C0C5-1C17-70941CD1E488}"/>
          </ac:spMkLst>
        </pc:spChg>
        <pc:spChg chg="add mod">
          <ac:chgData name="Miranda Quispe, Bruno Sebastian" userId="5df213b2-8b23-43f1-8137-24ac80ef972a" providerId="ADAL" clId="{E965C011-1063-4CD3-8CA5-A8D35C5C287B}" dt="2022-09-13T15:04:52.578" v="30468" actId="1076"/>
          <ac:spMkLst>
            <pc:docMk/>
            <pc:sldMk cId="2916495140" sldId="2147470495"/>
            <ac:spMk id="43" creationId="{51BADD37-A4FF-5241-D23D-9B85B97C26D8}"/>
          </ac:spMkLst>
        </pc:spChg>
        <pc:spChg chg="add del">
          <ac:chgData name="Miranda Quispe, Bruno Sebastian" userId="5df213b2-8b23-43f1-8137-24ac80ef972a" providerId="ADAL" clId="{E965C011-1063-4CD3-8CA5-A8D35C5C287B}" dt="2022-09-12T21:44:03.229" v="29868" actId="478"/>
          <ac:spMkLst>
            <pc:docMk/>
            <pc:sldMk cId="2916495140" sldId="2147470495"/>
            <ac:spMk id="45" creationId="{66E565FE-9EEF-F682-D260-3B30BAB406AF}"/>
          </ac:spMkLst>
        </pc:spChg>
        <pc:spChg chg="add mod">
          <ac:chgData name="Miranda Quispe, Bruno Sebastian" userId="5df213b2-8b23-43f1-8137-24ac80ef972a" providerId="ADAL" clId="{E965C011-1063-4CD3-8CA5-A8D35C5C287B}" dt="2022-09-13T15:04:58.023" v="30470" actId="1076"/>
          <ac:spMkLst>
            <pc:docMk/>
            <pc:sldMk cId="2916495140" sldId="2147470495"/>
            <ac:spMk id="48" creationId="{183BCFA4-4543-A182-2E42-4F030C9B291B}"/>
          </ac:spMkLst>
        </pc:spChg>
        <pc:spChg chg="add del mod">
          <ac:chgData name="Miranda Quispe, Bruno Sebastian" userId="5df213b2-8b23-43f1-8137-24ac80ef972a" providerId="ADAL" clId="{E965C011-1063-4CD3-8CA5-A8D35C5C287B}" dt="2022-09-12T22:06:54.747" v="30347" actId="478"/>
          <ac:spMkLst>
            <pc:docMk/>
            <pc:sldMk cId="2916495140" sldId="2147470495"/>
            <ac:spMk id="61" creationId="{B172323F-2507-248D-11FC-C978E878C1B8}"/>
          </ac:spMkLst>
        </pc:spChg>
        <pc:spChg chg="add del mod">
          <ac:chgData name="Miranda Quispe, Bruno Sebastian" userId="5df213b2-8b23-43f1-8137-24ac80ef972a" providerId="ADAL" clId="{E965C011-1063-4CD3-8CA5-A8D35C5C287B}" dt="2022-09-12T22:06:56.849" v="30349" actId="478"/>
          <ac:spMkLst>
            <pc:docMk/>
            <pc:sldMk cId="2916495140" sldId="2147470495"/>
            <ac:spMk id="63" creationId="{24DA374D-3C5B-BE69-BAB7-4EBCAD188396}"/>
          </ac:spMkLst>
        </pc:spChg>
        <pc:spChg chg="add del mod">
          <ac:chgData name="Miranda Quispe, Bruno Sebastian" userId="5df213b2-8b23-43f1-8137-24ac80ef972a" providerId="ADAL" clId="{E965C011-1063-4CD3-8CA5-A8D35C5C287B}" dt="2022-09-12T22:06:55.993" v="30348" actId="478"/>
          <ac:spMkLst>
            <pc:docMk/>
            <pc:sldMk cId="2916495140" sldId="2147470495"/>
            <ac:spMk id="65" creationId="{D48E3B5C-8F5B-5BB0-3253-A9E515AC99AF}"/>
          </ac:spMkLst>
        </pc:spChg>
        <pc:spChg chg="add mod">
          <ac:chgData name="Miranda Quispe, Bruno Sebastian" userId="5df213b2-8b23-43f1-8137-24ac80ef972a" providerId="ADAL" clId="{E965C011-1063-4CD3-8CA5-A8D35C5C287B}" dt="2022-09-12T22:09:03.975" v="30426" actId="108"/>
          <ac:spMkLst>
            <pc:docMk/>
            <pc:sldMk cId="2916495140" sldId="2147470495"/>
            <ac:spMk id="67" creationId="{77A936A3-EDD1-1429-1915-39982FE68EDA}"/>
          </ac:spMkLst>
        </pc:spChg>
        <pc:spChg chg="add mod">
          <ac:chgData name="Miranda Quispe, Bruno Sebastian" userId="5df213b2-8b23-43f1-8137-24ac80ef972a" providerId="ADAL" clId="{E965C011-1063-4CD3-8CA5-A8D35C5C287B}" dt="2022-09-12T22:08:37.579" v="30400" actId="20577"/>
          <ac:spMkLst>
            <pc:docMk/>
            <pc:sldMk cId="2916495140" sldId="2147470495"/>
            <ac:spMk id="69" creationId="{5575C268-6036-DEA3-778D-8B8C360E0ED4}"/>
          </ac:spMkLst>
        </pc:spChg>
        <pc:spChg chg="add mod">
          <ac:chgData name="Miranda Quispe, Bruno Sebastian" userId="5df213b2-8b23-43f1-8137-24ac80ef972a" providerId="ADAL" clId="{E965C011-1063-4CD3-8CA5-A8D35C5C287B}" dt="2022-09-13T15:10:40.920" v="30524" actId="20577"/>
          <ac:spMkLst>
            <pc:docMk/>
            <pc:sldMk cId="2916495140" sldId="2147470495"/>
            <ac:spMk id="71" creationId="{86BD4B7D-8CAD-0DC7-DF74-1B7B13991DE1}"/>
          </ac:spMkLst>
        </pc:spChg>
        <pc:spChg chg="add mod">
          <ac:chgData name="Miranda Quispe, Bruno Sebastian" userId="5df213b2-8b23-43f1-8137-24ac80ef972a" providerId="ADAL" clId="{E965C011-1063-4CD3-8CA5-A8D35C5C287B}" dt="2022-09-13T15:06:34.108" v="30517" actId="20577"/>
          <ac:spMkLst>
            <pc:docMk/>
            <pc:sldMk cId="2916495140" sldId="2147470495"/>
            <ac:spMk id="73" creationId="{D32AD37A-19B0-6514-3BF9-2829E1FFC2B6}"/>
          </ac:spMkLst>
        </pc:spChg>
        <pc:grpChg chg="add mod">
          <ac:chgData name="Miranda Quispe, Bruno Sebastian" userId="5df213b2-8b23-43f1-8137-24ac80ef972a" providerId="ADAL" clId="{E965C011-1063-4CD3-8CA5-A8D35C5C287B}" dt="2022-09-12T21:28:28.716" v="29657" actId="1076"/>
          <ac:grpSpMkLst>
            <pc:docMk/>
            <pc:sldMk cId="2916495140" sldId="2147470495"/>
            <ac:grpSpMk id="14" creationId="{0C560031-9F4F-22A4-44BC-C2152EA34A94}"/>
          </ac:grpSpMkLst>
        </pc:grpChg>
        <pc:grpChg chg="add del mod">
          <ac:chgData name="Miranda Quispe, Bruno Sebastian" userId="5df213b2-8b23-43f1-8137-24ac80ef972a" providerId="ADAL" clId="{E965C011-1063-4CD3-8CA5-A8D35C5C287B}" dt="2022-09-12T21:11:47.595" v="29299"/>
          <ac:grpSpMkLst>
            <pc:docMk/>
            <pc:sldMk cId="2916495140" sldId="2147470495"/>
            <ac:grpSpMk id="15" creationId="{D6A9607F-4029-5D54-8ACA-9803D40F6CDB}"/>
          </ac:grpSpMkLst>
        </pc:grpChg>
        <pc:grpChg chg="add mod">
          <ac:chgData name="Miranda Quispe, Bruno Sebastian" userId="5df213b2-8b23-43f1-8137-24ac80ef972a" providerId="ADAL" clId="{E965C011-1063-4CD3-8CA5-A8D35C5C287B}" dt="2022-09-12T22:04:37.103" v="30313" actId="1076"/>
          <ac:grpSpMkLst>
            <pc:docMk/>
            <pc:sldMk cId="2916495140" sldId="2147470495"/>
            <ac:grpSpMk id="26" creationId="{2022181C-6ECD-3FE8-F09F-E3F8A21A5A0D}"/>
          </ac:grpSpMkLst>
        </pc:grpChg>
        <pc:grpChg chg="add mod ord">
          <ac:chgData name="Miranda Quispe, Bruno Sebastian" userId="5df213b2-8b23-43f1-8137-24ac80ef972a" providerId="ADAL" clId="{E965C011-1063-4CD3-8CA5-A8D35C5C287B}" dt="2022-09-12T22:11:32.571" v="30467" actId="167"/>
          <ac:grpSpMkLst>
            <pc:docMk/>
            <pc:sldMk cId="2916495140" sldId="2147470495"/>
            <ac:grpSpMk id="74" creationId="{F7D3B049-30E0-8DD3-0254-2C5AA4E82143}"/>
          </ac:grpSpMkLst>
        </pc:grpChg>
        <pc:graphicFrameChg chg="add del mod ord modGraphic">
          <ac:chgData name="Miranda Quispe, Bruno Sebastian" userId="5df213b2-8b23-43f1-8137-24ac80ef972a" providerId="ADAL" clId="{E965C011-1063-4CD3-8CA5-A8D35C5C287B}" dt="2022-09-12T22:04:35.369" v="30312" actId="1076"/>
          <ac:graphicFrameMkLst>
            <pc:docMk/>
            <pc:sldMk cId="2916495140" sldId="2147470495"/>
            <ac:graphicFrameMk id="39" creationId="{3A16EE23-5B3F-E247-7D88-9F87328881F3}"/>
          </ac:graphicFrameMkLst>
        </pc:graphicFrameChg>
        <pc:graphicFrameChg chg="add mod modGraphic">
          <ac:chgData name="Miranda Quispe, Bruno Sebastian" userId="5df213b2-8b23-43f1-8137-24ac80ef972a" providerId="ADAL" clId="{E965C011-1063-4CD3-8CA5-A8D35C5C287B}" dt="2022-09-13T15:04:55.589" v="30469" actId="1076"/>
          <ac:graphicFrameMkLst>
            <pc:docMk/>
            <pc:sldMk cId="2916495140" sldId="2147470495"/>
            <ac:graphicFrameMk id="47" creationId="{FFD07451-321C-F890-046F-3D9AF6C787D8}"/>
          </ac:graphicFrameMkLst>
        </pc:graphicFrameChg>
        <pc:graphicFrameChg chg="add del mod">
          <ac:chgData name="Miranda Quispe, Bruno Sebastian" userId="5df213b2-8b23-43f1-8137-24ac80ef972a" providerId="ADAL" clId="{E965C011-1063-4CD3-8CA5-A8D35C5C287B}" dt="2022-09-12T21:51:07.298" v="30159" actId="478"/>
          <ac:graphicFrameMkLst>
            <pc:docMk/>
            <pc:sldMk cId="2916495140" sldId="2147470495"/>
            <ac:graphicFrameMk id="51" creationId="{0E75B63C-AD3F-9C6C-468E-672C4E3357AF}"/>
          </ac:graphicFrameMkLst>
        </pc:graphicFrameChg>
        <pc:graphicFrameChg chg="add del mod">
          <ac:chgData name="Miranda Quispe, Bruno Sebastian" userId="5df213b2-8b23-43f1-8137-24ac80ef972a" providerId="ADAL" clId="{E965C011-1063-4CD3-8CA5-A8D35C5C287B}" dt="2022-09-12T21:52:39.346" v="30177" actId="1957"/>
          <ac:graphicFrameMkLst>
            <pc:docMk/>
            <pc:sldMk cId="2916495140" sldId="2147470495"/>
            <ac:graphicFrameMk id="54" creationId="{14D660C4-3000-7961-1C08-CE48C941E674}"/>
          </ac:graphicFrameMkLst>
        </pc:graphicFrameChg>
        <pc:graphicFrameChg chg="add del mod">
          <ac:chgData name="Miranda Quispe, Bruno Sebastian" userId="5df213b2-8b23-43f1-8137-24ac80ef972a" providerId="ADAL" clId="{E965C011-1063-4CD3-8CA5-A8D35C5C287B}" dt="2022-09-12T21:53:06.214" v="30183" actId="478"/>
          <ac:graphicFrameMkLst>
            <pc:docMk/>
            <pc:sldMk cId="2916495140" sldId="2147470495"/>
            <ac:graphicFrameMk id="57" creationId="{D4F99A48-BBB7-FDFD-EEEE-BAD9E5CEC676}"/>
          </ac:graphicFrameMkLst>
        </pc:graphicFrameChg>
        <pc:graphicFrameChg chg="add mod ord">
          <ac:chgData name="Miranda Quispe, Bruno Sebastian" userId="5df213b2-8b23-43f1-8137-24ac80ef972a" providerId="ADAL" clId="{E965C011-1063-4CD3-8CA5-A8D35C5C287B}" dt="2022-09-13T15:11:13.069" v="30532" actId="113"/>
          <ac:graphicFrameMkLst>
            <pc:docMk/>
            <pc:sldMk cId="2916495140" sldId="2147470495"/>
            <ac:graphicFrameMk id="60" creationId="{D9534EAE-4DFC-6BFE-8D44-0B9C77DAC787}"/>
          </ac:graphicFrameMkLst>
        </pc:graphicFrameChg>
        <pc:picChg chg="add mod">
          <ac:chgData name="Miranda Quispe, Bruno Sebastian" userId="5df213b2-8b23-43f1-8137-24ac80ef972a" providerId="ADAL" clId="{E965C011-1063-4CD3-8CA5-A8D35C5C287B}" dt="2022-09-12T21:09:52.322" v="29288" actId="164"/>
          <ac:picMkLst>
            <pc:docMk/>
            <pc:sldMk cId="2916495140" sldId="2147470495"/>
            <ac:picMk id="5" creationId="{196E81A9-B8A2-A812-2A77-BA0B14B29BDD}"/>
          </ac:picMkLst>
        </pc:picChg>
        <pc:picChg chg="add mod">
          <ac:chgData name="Miranda Quispe, Bruno Sebastian" userId="5df213b2-8b23-43f1-8137-24ac80ef972a" providerId="ADAL" clId="{E965C011-1063-4CD3-8CA5-A8D35C5C287B}" dt="2022-09-12T21:09:52.322" v="29288" actId="164"/>
          <ac:picMkLst>
            <pc:docMk/>
            <pc:sldMk cId="2916495140" sldId="2147470495"/>
            <ac:picMk id="7" creationId="{E71B952C-FC9F-4549-C8EA-8ABA5CEF40A7}"/>
          </ac:picMkLst>
        </pc:picChg>
        <pc:picChg chg="add mod">
          <ac:chgData name="Miranda Quispe, Bruno Sebastian" userId="5df213b2-8b23-43f1-8137-24ac80ef972a" providerId="ADAL" clId="{E965C011-1063-4CD3-8CA5-A8D35C5C287B}" dt="2022-09-12T21:09:52.322" v="29288" actId="164"/>
          <ac:picMkLst>
            <pc:docMk/>
            <pc:sldMk cId="2916495140" sldId="2147470495"/>
            <ac:picMk id="9" creationId="{6C29DE58-CEB7-378A-6362-7C272A0BC180}"/>
          </ac:picMkLst>
        </pc:picChg>
        <pc:picChg chg="add mod">
          <ac:chgData name="Miranda Quispe, Bruno Sebastian" userId="5df213b2-8b23-43f1-8137-24ac80ef972a" providerId="ADAL" clId="{E965C011-1063-4CD3-8CA5-A8D35C5C287B}" dt="2022-09-12T21:09:52.322" v="29288" actId="164"/>
          <ac:picMkLst>
            <pc:docMk/>
            <pc:sldMk cId="2916495140" sldId="2147470495"/>
            <ac:picMk id="11" creationId="{C21BE2C0-838C-A5F9-B36B-813A04313B04}"/>
          </ac:picMkLst>
        </pc:picChg>
        <pc:picChg chg="add mod">
          <ac:chgData name="Miranda Quispe, Bruno Sebastian" userId="5df213b2-8b23-43f1-8137-24ac80ef972a" providerId="ADAL" clId="{E965C011-1063-4CD3-8CA5-A8D35C5C287B}" dt="2022-09-12T21:09:52.322" v="29288" actId="164"/>
          <ac:picMkLst>
            <pc:docMk/>
            <pc:sldMk cId="2916495140" sldId="2147470495"/>
            <ac:picMk id="13" creationId="{3CEC7BE0-5E6A-8FD9-B80C-EDF3791461F5}"/>
          </ac:picMkLst>
        </pc:picChg>
        <pc:picChg chg="mod">
          <ac:chgData name="Miranda Quispe, Bruno Sebastian" userId="5df213b2-8b23-43f1-8137-24ac80ef972a" providerId="ADAL" clId="{E965C011-1063-4CD3-8CA5-A8D35C5C287B}" dt="2022-09-12T21:11:42.343" v="29294"/>
          <ac:picMkLst>
            <pc:docMk/>
            <pc:sldMk cId="2916495140" sldId="2147470495"/>
            <ac:picMk id="16" creationId="{A54B17D3-4607-8FB6-2930-A1B252C31B07}"/>
          </ac:picMkLst>
        </pc:picChg>
        <pc:picChg chg="mod">
          <ac:chgData name="Miranda Quispe, Bruno Sebastian" userId="5df213b2-8b23-43f1-8137-24ac80ef972a" providerId="ADAL" clId="{E965C011-1063-4CD3-8CA5-A8D35C5C287B}" dt="2022-09-12T21:11:42.343" v="29294"/>
          <ac:picMkLst>
            <pc:docMk/>
            <pc:sldMk cId="2916495140" sldId="2147470495"/>
            <ac:picMk id="17" creationId="{8974E7B7-69AA-446E-4745-92301BBBE034}"/>
          </ac:picMkLst>
        </pc:picChg>
        <pc:picChg chg="mod">
          <ac:chgData name="Miranda Quispe, Bruno Sebastian" userId="5df213b2-8b23-43f1-8137-24ac80ef972a" providerId="ADAL" clId="{E965C011-1063-4CD3-8CA5-A8D35C5C287B}" dt="2022-09-12T21:11:42.343" v="29294"/>
          <ac:picMkLst>
            <pc:docMk/>
            <pc:sldMk cId="2916495140" sldId="2147470495"/>
            <ac:picMk id="18" creationId="{F2B07105-D69F-DD5F-C458-77123DFCE4C5}"/>
          </ac:picMkLst>
        </pc:picChg>
        <pc:picChg chg="mod">
          <ac:chgData name="Miranda Quispe, Bruno Sebastian" userId="5df213b2-8b23-43f1-8137-24ac80ef972a" providerId="ADAL" clId="{E965C011-1063-4CD3-8CA5-A8D35C5C287B}" dt="2022-09-12T21:11:42.343" v="29294"/>
          <ac:picMkLst>
            <pc:docMk/>
            <pc:sldMk cId="2916495140" sldId="2147470495"/>
            <ac:picMk id="19" creationId="{297F3B0E-EC4A-B974-6ED9-AF6AE09BE55A}"/>
          </ac:picMkLst>
        </pc:picChg>
        <pc:picChg chg="mod">
          <ac:chgData name="Miranda Quispe, Bruno Sebastian" userId="5df213b2-8b23-43f1-8137-24ac80ef972a" providerId="ADAL" clId="{E965C011-1063-4CD3-8CA5-A8D35C5C287B}" dt="2022-09-12T21:11:42.343" v="29294"/>
          <ac:picMkLst>
            <pc:docMk/>
            <pc:sldMk cId="2916495140" sldId="2147470495"/>
            <ac:picMk id="20" creationId="{AEC2CF0A-1C6D-CEEB-9E94-575913597BC1}"/>
          </ac:picMkLst>
        </pc:picChg>
        <pc:picChg chg="mod">
          <ac:chgData name="Miranda Quispe, Bruno Sebastian" userId="5df213b2-8b23-43f1-8137-24ac80ef972a" providerId="ADAL" clId="{E965C011-1063-4CD3-8CA5-A8D35C5C287B}" dt="2022-09-12T21:11:42.343" v="29294"/>
          <ac:picMkLst>
            <pc:docMk/>
            <pc:sldMk cId="2916495140" sldId="2147470495"/>
            <ac:picMk id="21" creationId="{2D547B52-1583-7FB1-5C6C-5E7C976D110F}"/>
          </ac:picMkLst>
        </pc:picChg>
        <pc:picChg chg="mod">
          <ac:chgData name="Miranda Quispe, Bruno Sebastian" userId="5df213b2-8b23-43f1-8137-24ac80ef972a" providerId="ADAL" clId="{E965C011-1063-4CD3-8CA5-A8D35C5C287B}" dt="2022-09-12T21:11:42.343" v="29294"/>
          <ac:picMkLst>
            <pc:docMk/>
            <pc:sldMk cId="2916495140" sldId="2147470495"/>
            <ac:picMk id="22" creationId="{D2C8441A-CBEF-D372-12C4-77128232A39E}"/>
          </ac:picMkLst>
        </pc:picChg>
        <pc:picChg chg="mod">
          <ac:chgData name="Miranda Quispe, Bruno Sebastian" userId="5df213b2-8b23-43f1-8137-24ac80ef972a" providerId="ADAL" clId="{E965C011-1063-4CD3-8CA5-A8D35C5C287B}" dt="2022-09-12T21:11:42.343" v="29294"/>
          <ac:picMkLst>
            <pc:docMk/>
            <pc:sldMk cId="2916495140" sldId="2147470495"/>
            <ac:picMk id="23" creationId="{8C188A16-CD2B-6561-CFC4-EBAA20580CA1}"/>
          </ac:picMkLst>
        </pc:picChg>
        <pc:picChg chg="mod">
          <ac:chgData name="Miranda Quispe, Bruno Sebastian" userId="5df213b2-8b23-43f1-8137-24ac80ef972a" providerId="ADAL" clId="{E965C011-1063-4CD3-8CA5-A8D35C5C287B}" dt="2022-09-12T21:11:42.343" v="29294"/>
          <ac:picMkLst>
            <pc:docMk/>
            <pc:sldMk cId="2916495140" sldId="2147470495"/>
            <ac:picMk id="24" creationId="{04524CA7-2938-A960-459F-DB1D119546FC}"/>
          </ac:picMkLst>
        </pc:picChg>
        <pc:picChg chg="mod">
          <ac:chgData name="Miranda Quispe, Bruno Sebastian" userId="5df213b2-8b23-43f1-8137-24ac80ef972a" providerId="ADAL" clId="{E965C011-1063-4CD3-8CA5-A8D35C5C287B}" dt="2022-09-12T21:11:42.343" v="29294"/>
          <ac:picMkLst>
            <pc:docMk/>
            <pc:sldMk cId="2916495140" sldId="2147470495"/>
            <ac:picMk id="25" creationId="{1C3D0398-EBA8-8E8B-B60F-1A06404E371A}"/>
          </ac:picMkLst>
        </pc:picChg>
        <pc:picChg chg="mod">
          <ac:chgData name="Miranda Quispe, Bruno Sebastian" userId="5df213b2-8b23-43f1-8137-24ac80ef972a" providerId="ADAL" clId="{E965C011-1063-4CD3-8CA5-A8D35C5C287B}" dt="2022-09-12T21:11:48.394" v="29300"/>
          <ac:picMkLst>
            <pc:docMk/>
            <pc:sldMk cId="2916495140" sldId="2147470495"/>
            <ac:picMk id="27" creationId="{5DCB1049-D862-CFC2-3A1B-55D4C06A0FC0}"/>
          </ac:picMkLst>
        </pc:picChg>
        <pc:picChg chg="mod">
          <ac:chgData name="Miranda Quispe, Bruno Sebastian" userId="5df213b2-8b23-43f1-8137-24ac80ef972a" providerId="ADAL" clId="{E965C011-1063-4CD3-8CA5-A8D35C5C287B}" dt="2022-09-12T21:11:48.394" v="29300"/>
          <ac:picMkLst>
            <pc:docMk/>
            <pc:sldMk cId="2916495140" sldId="2147470495"/>
            <ac:picMk id="28" creationId="{236479EA-9828-072B-A832-F9223EDEB733}"/>
          </ac:picMkLst>
        </pc:picChg>
        <pc:picChg chg="mod">
          <ac:chgData name="Miranda Quispe, Bruno Sebastian" userId="5df213b2-8b23-43f1-8137-24ac80ef972a" providerId="ADAL" clId="{E965C011-1063-4CD3-8CA5-A8D35C5C287B}" dt="2022-09-12T21:11:48.394" v="29300"/>
          <ac:picMkLst>
            <pc:docMk/>
            <pc:sldMk cId="2916495140" sldId="2147470495"/>
            <ac:picMk id="29" creationId="{8CD9FF9B-D034-DCDE-2D17-02CABD9874A5}"/>
          </ac:picMkLst>
        </pc:picChg>
        <pc:picChg chg="mod">
          <ac:chgData name="Miranda Quispe, Bruno Sebastian" userId="5df213b2-8b23-43f1-8137-24ac80ef972a" providerId="ADAL" clId="{E965C011-1063-4CD3-8CA5-A8D35C5C287B}" dt="2022-09-12T21:11:48.394" v="29300"/>
          <ac:picMkLst>
            <pc:docMk/>
            <pc:sldMk cId="2916495140" sldId="2147470495"/>
            <ac:picMk id="30" creationId="{1DA5A367-1FD6-5A93-9AA8-F81250EF7AB4}"/>
          </ac:picMkLst>
        </pc:picChg>
        <pc:picChg chg="mod">
          <ac:chgData name="Miranda Quispe, Bruno Sebastian" userId="5df213b2-8b23-43f1-8137-24ac80ef972a" providerId="ADAL" clId="{E965C011-1063-4CD3-8CA5-A8D35C5C287B}" dt="2022-09-12T21:11:48.394" v="29300"/>
          <ac:picMkLst>
            <pc:docMk/>
            <pc:sldMk cId="2916495140" sldId="2147470495"/>
            <ac:picMk id="31" creationId="{4AF8D092-B75B-B531-1568-263F79B0E827}"/>
          </ac:picMkLst>
        </pc:picChg>
        <pc:picChg chg="mod">
          <ac:chgData name="Miranda Quispe, Bruno Sebastian" userId="5df213b2-8b23-43f1-8137-24ac80ef972a" providerId="ADAL" clId="{E965C011-1063-4CD3-8CA5-A8D35C5C287B}" dt="2022-09-12T21:11:48.394" v="29300"/>
          <ac:picMkLst>
            <pc:docMk/>
            <pc:sldMk cId="2916495140" sldId="2147470495"/>
            <ac:picMk id="32" creationId="{842AB191-BF59-9869-6570-1FC671900D01}"/>
          </ac:picMkLst>
        </pc:picChg>
        <pc:picChg chg="mod">
          <ac:chgData name="Miranda Quispe, Bruno Sebastian" userId="5df213b2-8b23-43f1-8137-24ac80ef972a" providerId="ADAL" clId="{E965C011-1063-4CD3-8CA5-A8D35C5C287B}" dt="2022-09-12T21:11:48.394" v="29300"/>
          <ac:picMkLst>
            <pc:docMk/>
            <pc:sldMk cId="2916495140" sldId="2147470495"/>
            <ac:picMk id="33" creationId="{FF797790-7254-26B7-9EDC-145DDDEF244A}"/>
          </ac:picMkLst>
        </pc:picChg>
        <pc:picChg chg="mod">
          <ac:chgData name="Miranda Quispe, Bruno Sebastian" userId="5df213b2-8b23-43f1-8137-24ac80ef972a" providerId="ADAL" clId="{E965C011-1063-4CD3-8CA5-A8D35C5C287B}" dt="2022-09-12T21:11:48.394" v="29300"/>
          <ac:picMkLst>
            <pc:docMk/>
            <pc:sldMk cId="2916495140" sldId="2147470495"/>
            <ac:picMk id="34" creationId="{34CA3FDD-E45C-5898-4CBA-59C0E8CE7469}"/>
          </ac:picMkLst>
        </pc:picChg>
        <pc:picChg chg="mod">
          <ac:chgData name="Miranda Quispe, Bruno Sebastian" userId="5df213b2-8b23-43f1-8137-24ac80ef972a" providerId="ADAL" clId="{E965C011-1063-4CD3-8CA5-A8D35C5C287B}" dt="2022-09-12T21:11:48.394" v="29300"/>
          <ac:picMkLst>
            <pc:docMk/>
            <pc:sldMk cId="2916495140" sldId="2147470495"/>
            <ac:picMk id="35" creationId="{F9F2351F-C83E-4CA0-8007-4D4F1EA35A77}"/>
          </ac:picMkLst>
        </pc:picChg>
        <pc:picChg chg="mod">
          <ac:chgData name="Miranda Quispe, Bruno Sebastian" userId="5df213b2-8b23-43f1-8137-24ac80ef972a" providerId="ADAL" clId="{E965C011-1063-4CD3-8CA5-A8D35C5C287B}" dt="2022-09-12T21:11:48.394" v="29300"/>
          <ac:picMkLst>
            <pc:docMk/>
            <pc:sldMk cId="2916495140" sldId="2147470495"/>
            <ac:picMk id="36" creationId="{1F0FDEA3-B358-DCE4-C82D-A3EBAAF784CA}"/>
          </ac:picMkLst>
        </pc:picChg>
        <pc:picChg chg="add mod">
          <ac:chgData name="Miranda Quispe, Bruno Sebastian" userId="5df213b2-8b23-43f1-8137-24ac80ef972a" providerId="ADAL" clId="{E965C011-1063-4CD3-8CA5-A8D35C5C287B}" dt="2022-09-12T21:28:53.355" v="29663" actId="1076"/>
          <ac:picMkLst>
            <pc:docMk/>
            <pc:sldMk cId="2916495140" sldId="2147470495"/>
            <ac:picMk id="38" creationId="{A8D145FC-B3FB-7AA8-CF9F-360F9A65D140}"/>
          </ac:picMkLst>
        </pc:picChg>
        <pc:picChg chg="add mod">
          <ac:chgData name="Miranda Quispe, Bruno Sebastian" userId="5df213b2-8b23-43f1-8137-24ac80ef972a" providerId="ADAL" clId="{E965C011-1063-4CD3-8CA5-A8D35C5C287B}" dt="2022-09-12T21:29:30.696" v="29703" actId="1076"/>
          <ac:picMkLst>
            <pc:docMk/>
            <pc:sldMk cId="2916495140" sldId="2147470495"/>
            <ac:picMk id="41" creationId="{2F15BF45-9AF9-FFC8-B024-B7FAE721E4D5}"/>
          </ac:picMkLst>
        </pc:picChg>
      </pc:sldChg>
      <pc:sldChg chg="addSp delSp modSp new mod">
        <pc:chgData name="Miranda Quispe, Bruno Sebastian" userId="5df213b2-8b23-43f1-8137-24ac80ef972a" providerId="ADAL" clId="{E965C011-1063-4CD3-8CA5-A8D35C5C287B}" dt="2022-09-15T17:54:13.462" v="34731" actId="20577"/>
        <pc:sldMkLst>
          <pc:docMk/>
          <pc:sldMk cId="47613801" sldId="2147470496"/>
        </pc:sldMkLst>
        <pc:spChg chg="mod">
          <ac:chgData name="Miranda Quispe, Bruno Sebastian" userId="5df213b2-8b23-43f1-8137-24ac80ef972a" providerId="ADAL" clId="{E965C011-1063-4CD3-8CA5-A8D35C5C287B}" dt="2022-09-13T15:12:12.594" v="30586" actId="20577"/>
          <ac:spMkLst>
            <pc:docMk/>
            <pc:sldMk cId="47613801" sldId="2147470496"/>
            <ac:spMk id="2" creationId="{F80ADA7A-D674-B791-5715-E5B863F51849}"/>
          </ac:spMkLst>
        </pc:spChg>
        <pc:spChg chg="mod">
          <ac:chgData name="Miranda Quispe, Bruno Sebastian" userId="5df213b2-8b23-43f1-8137-24ac80ef972a" providerId="ADAL" clId="{E965C011-1063-4CD3-8CA5-A8D35C5C287B}" dt="2022-09-13T15:13:03.548" v="30587"/>
          <ac:spMkLst>
            <pc:docMk/>
            <pc:sldMk cId="47613801" sldId="2147470496"/>
            <ac:spMk id="5" creationId="{5FA1C820-4B3E-33A9-826D-376BA3AB6CE8}"/>
          </ac:spMkLst>
        </pc:spChg>
        <pc:spChg chg="mod">
          <ac:chgData name="Miranda Quispe, Bruno Sebastian" userId="5df213b2-8b23-43f1-8137-24ac80ef972a" providerId="ADAL" clId="{E965C011-1063-4CD3-8CA5-A8D35C5C287B}" dt="2022-09-13T15:13:03.548" v="30587"/>
          <ac:spMkLst>
            <pc:docMk/>
            <pc:sldMk cId="47613801" sldId="2147470496"/>
            <ac:spMk id="7" creationId="{DC6D858B-47BE-F926-371D-B5C0F87E3AC5}"/>
          </ac:spMkLst>
        </pc:spChg>
        <pc:spChg chg="mod">
          <ac:chgData name="Miranda Quispe, Bruno Sebastian" userId="5df213b2-8b23-43f1-8137-24ac80ef972a" providerId="ADAL" clId="{E965C011-1063-4CD3-8CA5-A8D35C5C287B}" dt="2022-09-13T15:13:03.548" v="30587"/>
          <ac:spMkLst>
            <pc:docMk/>
            <pc:sldMk cId="47613801" sldId="2147470496"/>
            <ac:spMk id="8" creationId="{DCD37189-2EE7-DB93-85F6-45B75A506CA8}"/>
          </ac:spMkLst>
        </pc:spChg>
        <pc:spChg chg="mod">
          <ac:chgData name="Miranda Quispe, Bruno Sebastian" userId="5df213b2-8b23-43f1-8137-24ac80ef972a" providerId="ADAL" clId="{E965C011-1063-4CD3-8CA5-A8D35C5C287B}" dt="2022-09-13T15:13:03.548" v="30587"/>
          <ac:spMkLst>
            <pc:docMk/>
            <pc:sldMk cId="47613801" sldId="2147470496"/>
            <ac:spMk id="13" creationId="{AF394C64-8C64-F396-71CB-A9297BB54F49}"/>
          </ac:spMkLst>
        </pc:spChg>
        <pc:spChg chg="mod">
          <ac:chgData name="Miranda Quispe, Bruno Sebastian" userId="5df213b2-8b23-43f1-8137-24ac80ef972a" providerId="ADAL" clId="{E965C011-1063-4CD3-8CA5-A8D35C5C287B}" dt="2022-09-13T15:13:03.548" v="30587"/>
          <ac:spMkLst>
            <pc:docMk/>
            <pc:sldMk cId="47613801" sldId="2147470496"/>
            <ac:spMk id="14" creationId="{A9511EF6-338F-7F62-6D32-0477453E3764}"/>
          </ac:spMkLst>
        </pc:spChg>
        <pc:spChg chg="mod">
          <ac:chgData name="Miranda Quispe, Bruno Sebastian" userId="5df213b2-8b23-43f1-8137-24ac80ef972a" providerId="ADAL" clId="{E965C011-1063-4CD3-8CA5-A8D35C5C287B}" dt="2022-09-13T15:13:03.548" v="30587"/>
          <ac:spMkLst>
            <pc:docMk/>
            <pc:sldMk cId="47613801" sldId="2147470496"/>
            <ac:spMk id="15" creationId="{8F7C040F-CCA4-9EA9-64B9-11977CC736E4}"/>
          </ac:spMkLst>
        </pc:spChg>
        <pc:spChg chg="add mod ord">
          <ac:chgData name="Miranda Quispe, Bruno Sebastian" userId="5df213b2-8b23-43f1-8137-24ac80ef972a" providerId="ADAL" clId="{E965C011-1063-4CD3-8CA5-A8D35C5C287B}" dt="2022-09-13T15:17:59.129" v="30643" actId="164"/>
          <ac:spMkLst>
            <pc:docMk/>
            <pc:sldMk cId="47613801" sldId="2147470496"/>
            <ac:spMk id="34" creationId="{3708859F-F47B-AD29-0AA4-8F3E7E35AA72}"/>
          </ac:spMkLst>
        </pc:spChg>
        <pc:spChg chg="add mod">
          <ac:chgData name="Miranda Quispe, Bruno Sebastian" userId="5df213b2-8b23-43f1-8137-24ac80ef972a" providerId="ADAL" clId="{E965C011-1063-4CD3-8CA5-A8D35C5C287B}" dt="2022-09-13T15:17:59.129" v="30643" actId="164"/>
          <ac:spMkLst>
            <pc:docMk/>
            <pc:sldMk cId="47613801" sldId="2147470496"/>
            <ac:spMk id="35" creationId="{13481524-BD6B-105A-628F-88975AECADA7}"/>
          </ac:spMkLst>
        </pc:spChg>
        <pc:spChg chg="add mod">
          <ac:chgData name="Miranda Quispe, Bruno Sebastian" userId="5df213b2-8b23-43f1-8137-24ac80ef972a" providerId="ADAL" clId="{E965C011-1063-4CD3-8CA5-A8D35C5C287B}" dt="2022-09-13T15:30:13.116" v="30950" actId="20577"/>
          <ac:spMkLst>
            <pc:docMk/>
            <pc:sldMk cId="47613801" sldId="2147470496"/>
            <ac:spMk id="45" creationId="{EF971421-5DDE-C7E3-6460-8377E136C650}"/>
          </ac:spMkLst>
        </pc:spChg>
        <pc:spChg chg="add mod">
          <ac:chgData name="Miranda Quispe, Bruno Sebastian" userId="5df213b2-8b23-43f1-8137-24ac80ef972a" providerId="ADAL" clId="{E965C011-1063-4CD3-8CA5-A8D35C5C287B}" dt="2022-09-13T15:23:12.891" v="30765" actId="164"/>
          <ac:spMkLst>
            <pc:docMk/>
            <pc:sldMk cId="47613801" sldId="2147470496"/>
            <ac:spMk id="54" creationId="{4A102E51-F7A1-D9EC-A987-87D112DAC361}"/>
          </ac:spMkLst>
        </pc:spChg>
        <pc:spChg chg="add mod">
          <ac:chgData name="Miranda Quispe, Bruno Sebastian" userId="5df213b2-8b23-43f1-8137-24ac80ef972a" providerId="ADAL" clId="{E965C011-1063-4CD3-8CA5-A8D35C5C287B}" dt="2022-09-13T15:23:12.891" v="30765" actId="164"/>
          <ac:spMkLst>
            <pc:docMk/>
            <pc:sldMk cId="47613801" sldId="2147470496"/>
            <ac:spMk id="56" creationId="{01E48BC8-20A3-CCA3-669A-82F34BB78E63}"/>
          </ac:spMkLst>
        </pc:spChg>
        <pc:spChg chg="add mod">
          <ac:chgData name="Miranda Quispe, Bruno Sebastian" userId="5df213b2-8b23-43f1-8137-24ac80ef972a" providerId="ADAL" clId="{E965C011-1063-4CD3-8CA5-A8D35C5C287B}" dt="2022-09-13T15:23:12.891" v="30765" actId="164"/>
          <ac:spMkLst>
            <pc:docMk/>
            <pc:sldMk cId="47613801" sldId="2147470496"/>
            <ac:spMk id="58" creationId="{40EFCC46-5AE6-8459-C13B-B4F74ED12FE3}"/>
          </ac:spMkLst>
        </pc:spChg>
        <pc:spChg chg="add mod">
          <ac:chgData name="Miranda Quispe, Bruno Sebastian" userId="5df213b2-8b23-43f1-8137-24ac80ef972a" providerId="ADAL" clId="{E965C011-1063-4CD3-8CA5-A8D35C5C287B}" dt="2022-09-13T15:28:36.644" v="30915" actId="164"/>
          <ac:spMkLst>
            <pc:docMk/>
            <pc:sldMk cId="47613801" sldId="2147470496"/>
            <ac:spMk id="63" creationId="{8BD91115-551B-792D-7084-BEA329D0D9BE}"/>
          </ac:spMkLst>
        </pc:spChg>
        <pc:spChg chg="add mod">
          <ac:chgData name="Miranda Quispe, Bruno Sebastian" userId="5df213b2-8b23-43f1-8137-24ac80ef972a" providerId="ADAL" clId="{E965C011-1063-4CD3-8CA5-A8D35C5C287B}" dt="2022-09-13T15:28:36.644" v="30915" actId="164"/>
          <ac:spMkLst>
            <pc:docMk/>
            <pc:sldMk cId="47613801" sldId="2147470496"/>
            <ac:spMk id="65" creationId="{89B155BB-56EC-55F2-37EC-0882C8A06958}"/>
          </ac:spMkLst>
        </pc:spChg>
        <pc:spChg chg="add mod">
          <ac:chgData name="Miranda Quispe, Bruno Sebastian" userId="5df213b2-8b23-43f1-8137-24ac80ef972a" providerId="ADAL" clId="{E965C011-1063-4CD3-8CA5-A8D35C5C287B}" dt="2022-09-13T15:28:36.644" v="30915" actId="164"/>
          <ac:spMkLst>
            <pc:docMk/>
            <pc:sldMk cId="47613801" sldId="2147470496"/>
            <ac:spMk id="67" creationId="{4554F7E8-DF87-B311-7825-6DECD2B0653A}"/>
          </ac:spMkLst>
        </pc:spChg>
        <pc:spChg chg="add del mod">
          <ac:chgData name="Miranda Quispe, Bruno Sebastian" userId="5df213b2-8b23-43f1-8137-24ac80ef972a" providerId="ADAL" clId="{E965C011-1063-4CD3-8CA5-A8D35C5C287B}" dt="2022-09-13T15:25:09.988" v="30851" actId="478"/>
          <ac:spMkLst>
            <pc:docMk/>
            <pc:sldMk cId="47613801" sldId="2147470496"/>
            <ac:spMk id="69" creationId="{A239B1D8-F1BA-E6B9-EB56-57EF3BDF3E6A}"/>
          </ac:spMkLst>
        </pc:spChg>
        <pc:spChg chg="add del mod">
          <ac:chgData name="Miranda Quispe, Bruno Sebastian" userId="5df213b2-8b23-43f1-8137-24ac80ef972a" providerId="ADAL" clId="{E965C011-1063-4CD3-8CA5-A8D35C5C287B}" dt="2022-09-13T15:27:30.097" v="30900" actId="478"/>
          <ac:spMkLst>
            <pc:docMk/>
            <pc:sldMk cId="47613801" sldId="2147470496"/>
            <ac:spMk id="73" creationId="{53C8E4C9-C12A-74C8-FAFE-984B68982E26}"/>
          </ac:spMkLst>
        </pc:spChg>
        <pc:spChg chg="add mod">
          <ac:chgData name="Miranda Quispe, Bruno Sebastian" userId="5df213b2-8b23-43f1-8137-24ac80ef972a" providerId="ADAL" clId="{E965C011-1063-4CD3-8CA5-A8D35C5C287B}" dt="2022-09-13T15:38:29.200" v="31170" actId="164"/>
          <ac:spMkLst>
            <pc:docMk/>
            <pc:sldMk cId="47613801" sldId="2147470496"/>
            <ac:spMk id="81" creationId="{577979B2-4D7F-736A-6836-8A209EC4C5D9}"/>
          </ac:spMkLst>
        </pc:spChg>
        <pc:spChg chg="add mod">
          <ac:chgData name="Miranda Quispe, Bruno Sebastian" userId="5df213b2-8b23-43f1-8137-24ac80ef972a" providerId="ADAL" clId="{E965C011-1063-4CD3-8CA5-A8D35C5C287B}" dt="2022-09-13T15:38:29.200" v="31170" actId="164"/>
          <ac:spMkLst>
            <pc:docMk/>
            <pc:sldMk cId="47613801" sldId="2147470496"/>
            <ac:spMk id="84" creationId="{A585CD0B-2174-F4D1-C443-DE2B3B44318E}"/>
          </ac:spMkLst>
        </pc:spChg>
        <pc:spChg chg="add del mod">
          <ac:chgData name="Miranda Quispe, Bruno Sebastian" userId="5df213b2-8b23-43f1-8137-24ac80ef972a" providerId="ADAL" clId="{E965C011-1063-4CD3-8CA5-A8D35C5C287B}" dt="2022-09-13T15:33:55.530" v="31002" actId="478"/>
          <ac:spMkLst>
            <pc:docMk/>
            <pc:sldMk cId="47613801" sldId="2147470496"/>
            <ac:spMk id="88" creationId="{66B9E7DD-6AA2-4DF3-8EAA-964E463F9D06}"/>
          </ac:spMkLst>
        </pc:spChg>
        <pc:spChg chg="add mod">
          <ac:chgData name="Miranda Quispe, Bruno Sebastian" userId="5df213b2-8b23-43f1-8137-24ac80ef972a" providerId="ADAL" clId="{E965C011-1063-4CD3-8CA5-A8D35C5C287B}" dt="2022-09-13T15:38:29.200" v="31170" actId="164"/>
          <ac:spMkLst>
            <pc:docMk/>
            <pc:sldMk cId="47613801" sldId="2147470496"/>
            <ac:spMk id="89" creationId="{868EDCC5-C572-C19F-DA81-E2BF4E53D0B8}"/>
          </ac:spMkLst>
        </pc:spChg>
        <pc:spChg chg="add mod">
          <ac:chgData name="Miranda Quispe, Bruno Sebastian" userId="5df213b2-8b23-43f1-8137-24ac80ef972a" providerId="ADAL" clId="{E965C011-1063-4CD3-8CA5-A8D35C5C287B}" dt="2022-09-13T15:38:29.200" v="31170" actId="164"/>
          <ac:spMkLst>
            <pc:docMk/>
            <pc:sldMk cId="47613801" sldId="2147470496"/>
            <ac:spMk id="97" creationId="{5B51B2D1-1D3E-C711-7AFB-4EAF1DBD502C}"/>
          </ac:spMkLst>
        </pc:spChg>
        <pc:spChg chg="add mod">
          <ac:chgData name="Miranda Quispe, Bruno Sebastian" userId="5df213b2-8b23-43f1-8137-24ac80ef972a" providerId="ADAL" clId="{E965C011-1063-4CD3-8CA5-A8D35C5C287B}" dt="2022-09-13T15:38:29.200" v="31170" actId="164"/>
          <ac:spMkLst>
            <pc:docMk/>
            <pc:sldMk cId="47613801" sldId="2147470496"/>
            <ac:spMk id="99" creationId="{C7CF4C3A-A91D-4E46-33CE-72DFAE1FB2C6}"/>
          </ac:spMkLst>
        </pc:spChg>
        <pc:spChg chg="add mod">
          <ac:chgData name="Miranda Quispe, Bruno Sebastian" userId="5df213b2-8b23-43f1-8137-24ac80ef972a" providerId="ADAL" clId="{E965C011-1063-4CD3-8CA5-A8D35C5C287B}" dt="2022-09-13T15:38:29.200" v="31170" actId="164"/>
          <ac:spMkLst>
            <pc:docMk/>
            <pc:sldMk cId="47613801" sldId="2147470496"/>
            <ac:spMk id="100" creationId="{942597CF-C2D0-A323-46F8-4E26BEAE37C1}"/>
          </ac:spMkLst>
        </pc:spChg>
        <pc:spChg chg="add mod">
          <ac:chgData name="Miranda Quispe, Bruno Sebastian" userId="5df213b2-8b23-43f1-8137-24ac80ef972a" providerId="ADAL" clId="{E965C011-1063-4CD3-8CA5-A8D35C5C287B}" dt="2022-09-13T15:54:36.062" v="31364" actId="20577"/>
          <ac:spMkLst>
            <pc:docMk/>
            <pc:sldMk cId="47613801" sldId="2147470496"/>
            <ac:spMk id="112" creationId="{70DA28B2-902D-4CC6-56A6-DE3945BE7782}"/>
          </ac:spMkLst>
        </pc:spChg>
        <pc:spChg chg="add mod">
          <ac:chgData name="Miranda Quispe, Bruno Sebastian" userId="5df213b2-8b23-43f1-8137-24ac80ef972a" providerId="ADAL" clId="{E965C011-1063-4CD3-8CA5-A8D35C5C287B}" dt="2022-09-13T15:50:16.680" v="31326" actId="164"/>
          <ac:spMkLst>
            <pc:docMk/>
            <pc:sldMk cId="47613801" sldId="2147470496"/>
            <ac:spMk id="113" creationId="{F1210922-5820-E2B4-BFEF-8F93F1255240}"/>
          </ac:spMkLst>
        </pc:spChg>
        <pc:spChg chg="add mod">
          <ac:chgData name="Miranda Quispe, Bruno Sebastian" userId="5df213b2-8b23-43f1-8137-24ac80ef972a" providerId="ADAL" clId="{E965C011-1063-4CD3-8CA5-A8D35C5C287B}" dt="2022-09-13T15:43:31.510" v="31216" actId="164"/>
          <ac:spMkLst>
            <pc:docMk/>
            <pc:sldMk cId="47613801" sldId="2147470496"/>
            <ac:spMk id="119" creationId="{34228CDD-0D85-AD9A-2774-AC76825935DD}"/>
          </ac:spMkLst>
        </pc:spChg>
        <pc:spChg chg="add mod">
          <ac:chgData name="Miranda Quispe, Bruno Sebastian" userId="5df213b2-8b23-43f1-8137-24ac80ef972a" providerId="ADAL" clId="{E965C011-1063-4CD3-8CA5-A8D35C5C287B}" dt="2022-09-13T15:43:31.510" v="31216" actId="164"/>
          <ac:spMkLst>
            <pc:docMk/>
            <pc:sldMk cId="47613801" sldId="2147470496"/>
            <ac:spMk id="121" creationId="{65212583-89C7-307F-58F8-D6433DD38BCA}"/>
          </ac:spMkLst>
        </pc:spChg>
        <pc:spChg chg="add mod">
          <ac:chgData name="Miranda Quispe, Bruno Sebastian" userId="5df213b2-8b23-43f1-8137-24ac80ef972a" providerId="ADAL" clId="{E965C011-1063-4CD3-8CA5-A8D35C5C287B}" dt="2022-09-13T15:43:31.510" v="31216" actId="164"/>
          <ac:spMkLst>
            <pc:docMk/>
            <pc:sldMk cId="47613801" sldId="2147470496"/>
            <ac:spMk id="123" creationId="{875D09A7-DD16-D60A-01B9-8AED30D8C475}"/>
          </ac:spMkLst>
        </pc:spChg>
        <pc:spChg chg="add mod">
          <ac:chgData name="Miranda Quispe, Bruno Sebastian" userId="5df213b2-8b23-43f1-8137-24ac80ef972a" providerId="ADAL" clId="{E965C011-1063-4CD3-8CA5-A8D35C5C287B}" dt="2022-09-13T15:56:01.870" v="31408" actId="1076"/>
          <ac:spMkLst>
            <pc:docMk/>
            <pc:sldMk cId="47613801" sldId="2147470496"/>
            <ac:spMk id="127" creationId="{99747096-CDD3-0846-AD60-0BC800C66BF1}"/>
          </ac:spMkLst>
        </pc:spChg>
        <pc:spChg chg="add mod">
          <ac:chgData name="Miranda Quispe, Bruno Sebastian" userId="5df213b2-8b23-43f1-8137-24ac80ef972a" providerId="ADAL" clId="{E965C011-1063-4CD3-8CA5-A8D35C5C287B}" dt="2022-09-13T15:56:01.870" v="31408" actId="1076"/>
          <ac:spMkLst>
            <pc:docMk/>
            <pc:sldMk cId="47613801" sldId="2147470496"/>
            <ac:spMk id="129" creationId="{3D1AF1E0-F00F-DB0F-A68D-FCECC3B225B4}"/>
          </ac:spMkLst>
        </pc:spChg>
        <pc:spChg chg="add mod">
          <ac:chgData name="Miranda Quispe, Bruno Sebastian" userId="5df213b2-8b23-43f1-8137-24ac80ef972a" providerId="ADAL" clId="{E965C011-1063-4CD3-8CA5-A8D35C5C287B}" dt="2022-09-13T15:56:01.870" v="31408" actId="1076"/>
          <ac:spMkLst>
            <pc:docMk/>
            <pc:sldMk cId="47613801" sldId="2147470496"/>
            <ac:spMk id="131" creationId="{35ABCA8C-A630-007B-9768-31E186A4D6FD}"/>
          </ac:spMkLst>
        </pc:spChg>
        <pc:spChg chg="add del mod">
          <ac:chgData name="Miranda Quispe, Bruno Sebastian" userId="5df213b2-8b23-43f1-8137-24ac80ef972a" providerId="ADAL" clId="{E965C011-1063-4CD3-8CA5-A8D35C5C287B}" dt="2022-09-13T15:45:35.570" v="31269"/>
          <ac:spMkLst>
            <pc:docMk/>
            <pc:sldMk cId="47613801" sldId="2147470496"/>
            <ac:spMk id="136" creationId="{2FDF4A7F-55E7-612C-3FB1-E71DCE94ECB2}"/>
          </ac:spMkLst>
        </pc:spChg>
        <pc:spChg chg="add mod">
          <ac:chgData name="Miranda Quispe, Bruno Sebastian" userId="5df213b2-8b23-43f1-8137-24ac80ef972a" providerId="ADAL" clId="{E965C011-1063-4CD3-8CA5-A8D35C5C287B}" dt="2022-09-13T15:50:16.680" v="31326" actId="164"/>
          <ac:spMkLst>
            <pc:docMk/>
            <pc:sldMk cId="47613801" sldId="2147470496"/>
            <ac:spMk id="138" creationId="{5169E53C-1362-6722-E76F-C76AC440CD8F}"/>
          </ac:spMkLst>
        </pc:spChg>
        <pc:spChg chg="add mod">
          <ac:chgData name="Miranda Quispe, Bruno Sebastian" userId="5df213b2-8b23-43f1-8137-24ac80ef972a" providerId="ADAL" clId="{E965C011-1063-4CD3-8CA5-A8D35C5C287B}" dt="2022-09-13T15:50:16.680" v="31326" actId="164"/>
          <ac:spMkLst>
            <pc:docMk/>
            <pc:sldMk cId="47613801" sldId="2147470496"/>
            <ac:spMk id="140" creationId="{2063DEDA-4A5F-BF61-CE14-C3BC1D70ACA6}"/>
          </ac:spMkLst>
        </pc:spChg>
        <pc:spChg chg="add mod">
          <ac:chgData name="Miranda Quispe, Bruno Sebastian" userId="5df213b2-8b23-43f1-8137-24ac80ef972a" providerId="ADAL" clId="{E965C011-1063-4CD3-8CA5-A8D35C5C287B}" dt="2022-09-13T15:55:49.985" v="31407" actId="14100"/>
          <ac:spMkLst>
            <pc:docMk/>
            <pc:sldMk cId="47613801" sldId="2147470496"/>
            <ac:spMk id="146" creationId="{B0313192-30C9-65CC-6355-4C01213F4F92}"/>
          </ac:spMkLst>
        </pc:spChg>
        <pc:spChg chg="add del mod">
          <ac:chgData name="Miranda Quispe, Bruno Sebastian" userId="5df213b2-8b23-43f1-8137-24ac80ef972a" providerId="ADAL" clId="{E965C011-1063-4CD3-8CA5-A8D35C5C287B}" dt="2022-09-13T15:48:42.511" v="31313" actId="478"/>
          <ac:spMkLst>
            <pc:docMk/>
            <pc:sldMk cId="47613801" sldId="2147470496"/>
            <ac:spMk id="150" creationId="{91B48B9F-DD4B-B9F7-8FF0-AB082E05DD00}"/>
          </ac:spMkLst>
        </pc:spChg>
        <pc:spChg chg="add mod">
          <ac:chgData name="Miranda Quispe, Bruno Sebastian" userId="5df213b2-8b23-43f1-8137-24ac80ef972a" providerId="ADAL" clId="{E965C011-1063-4CD3-8CA5-A8D35C5C287B}" dt="2022-09-13T15:49:48.024" v="31318" actId="164"/>
          <ac:spMkLst>
            <pc:docMk/>
            <pc:sldMk cId="47613801" sldId="2147470496"/>
            <ac:spMk id="154" creationId="{F6C2A179-33B7-8766-320F-3C2120E51490}"/>
          </ac:spMkLst>
        </pc:spChg>
        <pc:spChg chg="add mod">
          <ac:chgData name="Miranda Quispe, Bruno Sebastian" userId="5df213b2-8b23-43f1-8137-24ac80ef972a" providerId="ADAL" clId="{E965C011-1063-4CD3-8CA5-A8D35C5C287B}" dt="2022-09-13T15:55:03.273" v="31396" actId="1076"/>
          <ac:spMkLst>
            <pc:docMk/>
            <pc:sldMk cId="47613801" sldId="2147470496"/>
            <ac:spMk id="166" creationId="{E9E0823D-F4EF-AA6E-DFEE-38C59DBB147E}"/>
          </ac:spMkLst>
        </pc:spChg>
        <pc:spChg chg="add del">
          <ac:chgData name="Miranda Quispe, Bruno Sebastian" userId="5df213b2-8b23-43f1-8137-24ac80ef972a" providerId="ADAL" clId="{E965C011-1063-4CD3-8CA5-A8D35C5C287B}" dt="2022-09-13T15:55:07.661" v="31398" actId="478"/>
          <ac:spMkLst>
            <pc:docMk/>
            <pc:sldMk cId="47613801" sldId="2147470496"/>
            <ac:spMk id="168" creationId="{CB5D9AAD-1109-303F-37A7-2D7700EC2637}"/>
          </ac:spMkLst>
        </pc:spChg>
        <pc:spChg chg="add mod">
          <ac:chgData name="Miranda Quispe, Bruno Sebastian" userId="5df213b2-8b23-43f1-8137-24ac80ef972a" providerId="ADAL" clId="{E965C011-1063-4CD3-8CA5-A8D35C5C287B}" dt="2022-09-15T17:54:13.462" v="34731" actId="20577"/>
          <ac:spMkLst>
            <pc:docMk/>
            <pc:sldMk cId="47613801" sldId="2147470496"/>
            <ac:spMk id="178" creationId="{359398AE-03FD-3780-E779-658345E3C825}"/>
          </ac:spMkLst>
        </pc:spChg>
        <pc:spChg chg="add mod">
          <ac:chgData name="Miranda Quispe, Bruno Sebastian" userId="5df213b2-8b23-43f1-8137-24ac80ef972a" providerId="ADAL" clId="{E965C011-1063-4CD3-8CA5-A8D35C5C287B}" dt="2022-09-13T15:58:54.096" v="31487" actId="164"/>
          <ac:spMkLst>
            <pc:docMk/>
            <pc:sldMk cId="47613801" sldId="2147470496"/>
            <ac:spMk id="190" creationId="{F98F2BA5-CDD7-C641-1380-917712E169B4}"/>
          </ac:spMkLst>
        </pc:spChg>
        <pc:spChg chg="add mod">
          <ac:chgData name="Miranda Quispe, Bruno Sebastian" userId="5df213b2-8b23-43f1-8137-24ac80ef972a" providerId="ADAL" clId="{E965C011-1063-4CD3-8CA5-A8D35C5C287B}" dt="2022-09-13T15:58:54.096" v="31487" actId="164"/>
          <ac:spMkLst>
            <pc:docMk/>
            <pc:sldMk cId="47613801" sldId="2147470496"/>
            <ac:spMk id="192" creationId="{BB58E87C-C5EA-7C62-7843-0A15482F7975}"/>
          </ac:spMkLst>
        </pc:spChg>
        <pc:spChg chg="add mod">
          <ac:chgData name="Miranda Quispe, Bruno Sebastian" userId="5df213b2-8b23-43f1-8137-24ac80ef972a" providerId="ADAL" clId="{E965C011-1063-4CD3-8CA5-A8D35C5C287B}" dt="2022-09-13T15:58:54.096" v="31487" actId="164"/>
          <ac:spMkLst>
            <pc:docMk/>
            <pc:sldMk cId="47613801" sldId="2147470496"/>
            <ac:spMk id="194" creationId="{456C409D-A61A-C741-718A-5BA82F30158F}"/>
          </ac:spMkLst>
        </pc:spChg>
        <pc:spChg chg="add mod">
          <ac:chgData name="Miranda Quispe, Bruno Sebastian" userId="5df213b2-8b23-43f1-8137-24ac80ef972a" providerId="ADAL" clId="{E965C011-1063-4CD3-8CA5-A8D35C5C287B}" dt="2022-09-13T16:00:03.551" v="31527" actId="20577"/>
          <ac:spMkLst>
            <pc:docMk/>
            <pc:sldMk cId="47613801" sldId="2147470496"/>
            <ac:spMk id="197" creationId="{E40DDCB9-37A0-ACF5-B5A7-7348BEAA8895}"/>
          </ac:spMkLst>
        </pc:spChg>
        <pc:spChg chg="mod">
          <ac:chgData name="Miranda Quispe, Bruno Sebastian" userId="5df213b2-8b23-43f1-8137-24ac80ef972a" providerId="ADAL" clId="{E965C011-1063-4CD3-8CA5-A8D35C5C287B}" dt="2022-09-13T16:00:32.811" v="31530"/>
          <ac:spMkLst>
            <pc:docMk/>
            <pc:sldMk cId="47613801" sldId="2147470496"/>
            <ac:spMk id="208" creationId="{0EE1888E-B521-973C-E7AE-43B48B75DAFF}"/>
          </ac:spMkLst>
        </pc:spChg>
        <pc:spChg chg="mod">
          <ac:chgData name="Miranda Quispe, Bruno Sebastian" userId="5df213b2-8b23-43f1-8137-24ac80ef972a" providerId="ADAL" clId="{E965C011-1063-4CD3-8CA5-A8D35C5C287B}" dt="2022-09-13T16:00:32.811" v="31530"/>
          <ac:spMkLst>
            <pc:docMk/>
            <pc:sldMk cId="47613801" sldId="2147470496"/>
            <ac:spMk id="209" creationId="{F1BBDE05-DEEC-EB2C-F864-6B36B1A71574}"/>
          </ac:spMkLst>
        </pc:spChg>
        <pc:spChg chg="mod">
          <ac:chgData name="Miranda Quispe, Bruno Sebastian" userId="5df213b2-8b23-43f1-8137-24ac80ef972a" providerId="ADAL" clId="{E965C011-1063-4CD3-8CA5-A8D35C5C287B}" dt="2022-09-13T16:00:32.811" v="31530"/>
          <ac:spMkLst>
            <pc:docMk/>
            <pc:sldMk cId="47613801" sldId="2147470496"/>
            <ac:spMk id="210" creationId="{5884B6D8-3A24-9C9F-5D5A-04E5B0201F03}"/>
          </ac:spMkLst>
        </pc:spChg>
        <pc:spChg chg="mod">
          <ac:chgData name="Miranda Quispe, Bruno Sebastian" userId="5df213b2-8b23-43f1-8137-24ac80ef972a" providerId="ADAL" clId="{E965C011-1063-4CD3-8CA5-A8D35C5C287B}" dt="2022-09-13T16:00:32.811" v="31530"/>
          <ac:spMkLst>
            <pc:docMk/>
            <pc:sldMk cId="47613801" sldId="2147470496"/>
            <ac:spMk id="211" creationId="{3DBDEC42-D416-1798-6D66-832A5C94F224}"/>
          </ac:spMkLst>
        </pc:spChg>
        <pc:spChg chg="mod">
          <ac:chgData name="Miranda Quispe, Bruno Sebastian" userId="5df213b2-8b23-43f1-8137-24ac80ef972a" providerId="ADAL" clId="{E965C011-1063-4CD3-8CA5-A8D35C5C287B}" dt="2022-09-13T16:00:32.811" v="31530"/>
          <ac:spMkLst>
            <pc:docMk/>
            <pc:sldMk cId="47613801" sldId="2147470496"/>
            <ac:spMk id="212" creationId="{BC486B53-9B46-222F-4100-A3C112B431D1}"/>
          </ac:spMkLst>
        </pc:spChg>
        <pc:spChg chg="mod">
          <ac:chgData name="Miranda Quispe, Bruno Sebastian" userId="5df213b2-8b23-43f1-8137-24ac80ef972a" providerId="ADAL" clId="{E965C011-1063-4CD3-8CA5-A8D35C5C287B}" dt="2022-09-13T16:00:32.811" v="31530"/>
          <ac:spMkLst>
            <pc:docMk/>
            <pc:sldMk cId="47613801" sldId="2147470496"/>
            <ac:spMk id="213" creationId="{54E84020-56A8-F665-0ADF-0D3D2FC5684F}"/>
          </ac:spMkLst>
        </pc:spChg>
        <pc:spChg chg="add del mod">
          <ac:chgData name="Miranda Quispe, Bruno Sebastian" userId="5df213b2-8b23-43f1-8137-24ac80ef972a" providerId="ADAL" clId="{E965C011-1063-4CD3-8CA5-A8D35C5C287B}" dt="2022-09-13T16:00:49.882" v="31536" actId="478"/>
          <ac:spMkLst>
            <pc:docMk/>
            <pc:sldMk cId="47613801" sldId="2147470496"/>
            <ac:spMk id="214" creationId="{DB0A8E9D-7A8B-7078-88CA-308BECCC0E21}"/>
          </ac:spMkLst>
        </pc:spChg>
        <pc:spChg chg="add mod">
          <ac:chgData name="Miranda Quispe, Bruno Sebastian" userId="5df213b2-8b23-43f1-8137-24ac80ef972a" providerId="ADAL" clId="{E965C011-1063-4CD3-8CA5-A8D35C5C287B}" dt="2022-09-13T16:03:08.508" v="31588" actId="164"/>
          <ac:spMkLst>
            <pc:docMk/>
            <pc:sldMk cId="47613801" sldId="2147470496"/>
            <ac:spMk id="218" creationId="{8D2C8003-67E7-E251-69F4-1768F4E53A42}"/>
          </ac:spMkLst>
        </pc:spChg>
        <pc:grpChg chg="add mod">
          <ac:chgData name="Miranda Quispe, Bruno Sebastian" userId="5df213b2-8b23-43f1-8137-24ac80ef972a" providerId="ADAL" clId="{E965C011-1063-4CD3-8CA5-A8D35C5C287B}" dt="2022-09-13T15:17:59.129" v="30643" actId="164"/>
          <ac:grpSpMkLst>
            <pc:docMk/>
            <pc:sldMk cId="47613801" sldId="2147470496"/>
            <ac:grpSpMk id="4" creationId="{28A2E6CB-1C39-8941-86C6-E0E8199D945A}"/>
          </ac:grpSpMkLst>
        </pc:grpChg>
        <pc:grpChg chg="mod">
          <ac:chgData name="Miranda Quispe, Bruno Sebastian" userId="5df213b2-8b23-43f1-8137-24ac80ef972a" providerId="ADAL" clId="{E965C011-1063-4CD3-8CA5-A8D35C5C287B}" dt="2022-09-13T15:13:03.548" v="30587"/>
          <ac:grpSpMkLst>
            <pc:docMk/>
            <pc:sldMk cId="47613801" sldId="2147470496"/>
            <ac:grpSpMk id="6" creationId="{B1538679-ACC9-B8DC-8786-90C1D44A8DB7}"/>
          </ac:grpSpMkLst>
        </pc:grpChg>
        <pc:grpChg chg="mod">
          <ac:chgData name="Miranda Quispe, Bruno Sebastian" userId="5df213b2-8b23-43f1-8137-24ac80ef972a" providerId="ADAL" clId="{E965C011-1063-4CD3-8CA5-A8D35C5C287B}" dt="2022-09-13T15:13:03.548" v="30587"/>
          <ac:grpSpMkLst>
            <pc:docMk/>
            <pc:sldMk cId="47613801" sldId="2147470496"/>
            <ac:grpSpMk id="9" creationId="{9D531D1C-0E5C-0D9D-A97F-195EB31EB152}"/>
          </ac:grpSpMkLst>
        </pc:grpChg>
        <pc:grpChg chg="mod">
          <ac:chgData name="Miranda Quispe, Bruno Sebastian" userId="5df213b2-8b23-43f1-8137-24ac80ef972a" providerId="ADAL" clId="{E965C011-1063-4CD3-8CA5-A8D35C5C287B}" dt="2022-09-13T15:13:03.548" v="30587"/>
          <ac:grpSpMkLst>
            <pc:docMk/>
            <pc:sldMk cId="47613801" sldId="2147470496"/>
            <ac:grpSpMk id="10" creationId="{1491D709-2748-4FF9-5674-EADB45A7CAA2}"/>
          </ac:grpSpMkLst>
        </pc:grpChg>
        <pc:grpChg chg="mod">
          <ac:chgData name="Miranda Quispe, Bruno Sebastian" userId="5df213b2-8b23-43f1-8137-24ac80ef972a" providerId="ADAL" clId="{E965C011-1063-4CD3-8CA5-A8D35C5C287B}" dt="2022-09-13T15:13:03.548" v="30587"/>
          <ac:grpSpMkLst>
            <pc:docMk/>
            <pc:sldMk cId="47613801" sldId="2147470496"/>
            <ac:grpSpMk id="11" creationId="{302B371A-CCB2-A302-2C88-520E8EF5E733}"/>
          </ac:grpSpMkLst>
        </pc:grpChg>
        <pc:grpChg chg="mod">
          <ac:chgData name="Miranda Quispe, Bruno Sebastian" userId="5df213b2-8b23-43f1-8137-24ac80ef972a" providerId="ADAL" clId="{E965C011-1063-4CD3-8CA5-A8D35C5C287B}" dt="2022-09-13T15:13:03.548" v="30587"/>
          <ac:grpSpMkLst>
            <pc:docMk/>
            <pc:sldMk cId="47613801" sldId="2147470496"/>
            <ac:grpSpMk id="12" creationId="{C67227BD-5136-9A71-CF5B-2A57623CFAA5}"/>
          </ac:grpSpMkLst>
        </pc:grpChg>
        <pc:grpChg chg="mod">
          <ac:chgData name="Miranda Quispe, Bruno Sebastian" userId="5df213b2-8b23-43f1-8137-24ac80ef972a" providerId="ADAL" clId="{E965C011-1063-4CD3-8CA5-A8D35C5C287B}" dt="2022-09-13T15:13:03.548" v="30587"/>
          <ac:grpSpMkLst>
            <pc:docMk/>
            <pc:sldMk cId="47613801" sldId="2147470496"/>
            <ac:grpSpMk id="16" creationId="{3E93B572-3E0B-9760-4736-C6383FD16EC3}"/>
          </ac:grpSpMkLst>
        </pc:grpChg>
        <pc:grpChg chg="mod">
          <ac:chgData name="Miranda Quispe, Bruno Sebastian" userId="5df213b2-8b23-43f1-8137-24ac80ef972a" providerId="ADAL" clId="{E965C011-1063-4CD3-8CA5-A8D35C5C287B}" dt="2022-09-13T15:13:03.548" v="30587"/>
          <ac:grpSpMkLst>
            <pc:docMk/>
            <pc:sldMk cId="47613801" sldId="2147470496"/>
            <ac:grpSpMk id="18" creationId="{26D98224-9423-BB72-1E96-2DF477D6F49A}"/>
          </ac:grpSpMkLst>
        </pc:grpChg>
        <pc:grpChg chg="mod">
          <ac:chgData name="Miranda Quispe, Bruno Sebastian" userId="5df213b2-8b23-43f1-8137-24ac80ef972a" providerId="ADAL" clId="{E965C011-1063-4CD3-8CA5-A8D35C5C287B}" dt="2022-09-13T15:13:03.548" v="30587"/>
          <ac:grpSpMkLst>
            <pc:docMk/>
            <pc:sldMk cId="47613801" sldId="2147470496"/>
            <ac:grpSpMk id="23" creationId="{4FE60012-B7F5-C70A-C1DE-004C8365BE5F}"/>
          </ac:grpSpMkLst>
        </pc:grpChg>
        <pc:grpChg chg="add mod">
          <ac:chgData name="Miranda Quispe, Bruno Sebastian" userId="5df213b2-8b23-43f1-8137-24ac80ef972a" providerId="ADAL" clId="{E965C011-1063-4CD3-8CA5-A8D35C5C287B}" dt="2022-09-13T15:41:09.564" v="31174" actId="164"/>
          <ac:grpSpMkLst>
            <pc:docMk/>
            <pc:sldMk cId="47613801" sldId="2147470496"/>
            <ac:grpSpMk id="36" creationId="{08DAC04B-A2B8-8F0B-17D6-063CA2879F38}"/>
          </ac:grpSpMkLst>
        </pc:grpChg>
        <pc:grpChg chg="add mod">
          <ac:chgData name="Miranda Quispe, Bruno Sebastian" userId="5df213b2-8b23-43f1-8137-24ac80ef972a" providerId="ADAL" clId="{E965C011-1063-4CD3-8CA5-A8D35C5C287B}" dt="2022-09-13T15:20:25.364" v="30739" actId="164"/>
          <ac:grpSpMkLst>
            <pc:docMk/>
            <pc:sldMk cId="47613801" sldId="2147470496"/>
            <ac:grpSpMk id="43" creationId="{19992AAF-F374-43D7-4546-1FC955992288}"/>
          </ac:grpSpMkLst>
        </pc:grpChg>
        <pc:grpChg chg="add mod">
          <ac:chgData name="Miranda Quispe, Bruno Sebastian" userId="5df213b2-8b23-43f1-8137-24ac80ef972a" providerId="ADAL" clId="{E965C011-1063-4CD3-8CA5-A8D35C5C287B}" dt="2022-09-13T15:41:09.564" v="31174" actId="164"/>
          <ac:grpSpMkLst>
            <pc:docMk/>
            <pc:sldMk cId="47613801" sldId="2147470496"/>
            <ac:grpSpMk id="46" creationId="{085AE7CA-3BD6-BB7A-6119-69F27B484B36}"/>
          </ac:grpSpMkLst>
        </pc:grpChg>
        <pc:grpChg chg="add mod">
          <ac:chgData name="Miranda Quispe, Bruno Sebastian" userId="5df213b2-8b23-43f1-8137-24ac80ef972a" providerId="ADAL" clId="{E965C011-1063-4CD3-8CA5-A8D35C5C287B}" dt="2022-09-13T15:28:36.644" v="30915" actId="164"/>
          <ac:grpSpMkLst>
            <pc:docMk/>
            <pc:sldMk cId="47613801" sldId="2147470496"/>
            <ac:grpSpMk id="59" creationId="{9783BE3C-DBB1-1C04-044E-6DF928551A94}"/>
          </ac:grpSpMkLst>
        </pc:grpChg>
        <pc:grpChg chg="add mod">
          <ac:chgData name="Miranda Quispe, Bruno Sebastian" userId="5df213b2-8b23-43f1-8137-24ac80ef972a" providerId="ADAL" clId="{E965C011-1063-4CD3-8CA5-A8D35C5C287B}" dt="2022-09-13T15:41:09.564" v="31174" actId="164"/>
          <ac:grpSpMkLst>
            <pc:docMk/>
            <pc:sldMk cId="47613801" sldId="2147470496"/>
            <ac:grpSpMk id="82" creationId="{6355DF2D-E3C4-CB8B-76A1-B457459FF16D}"/>
          </ac:grpSpMkLst>
        </pc:grpChg>
        <pc:grpChg chg="add mod">
          <ac:chgData name="Miranda Quispe, Bruno Sebastian" userId="5df213b2-8b23-43f1-8137-24ac80ef972a" providerId="ADAL" clId="{E965C011-1063-4CD3-8CA5-A8D35C5C287B}" dt="2022-09-13T15:41:09.564" v="31174" actId="164"/>
          <ac:grpSpMkLst>
            <pc:docMk/>
            <pc:sldMk cId="47613801" sldId="2147470496"/>
            <ac:grpSpMk id="101" creationId="{65A7E2E5-D3DC-21E0-8361-5B70E337E55C}"/>
          </ac:grpSpMkLst>
        </pc:grpChg>
        <pc:grpChg chg="add mod">
          <ac:chgData name="Miranda Quispe, Bruno Sebastian" userId="5df213b2-8b23-43f1-8137-24ac80ef972a" providerId="ADAL" clId="{E965C011-1063-4CD3-8CA5-A8D35C5C287B}" dt="2022-09-13T15:43:50.164" v="31222" actId="164"/>
          <ac:grpSpMkLst>
            <pc:docMk/>
            <pc:sldMk cId="47613801" sldId="2147470496"/>
            <ac:grpSpMk id="102" creationId="{7B87C03F-823C-F076-E83C-20431F49AC53}"/>
          </ac:grpSpMkLst>
        </pc:grpChg>
        <pc:grpChg chg="add mod">
          <ac:chgData name="Miranda Quispe, Bruno Sebastian" userId="5df213b2-8b23-43f1-8137-24ac80ef972a" providerId="ADAL" clId="{E965C011-1063-4CD3-8CA5-A8D35C5C287B}" dt="2022-09-13T15:41:13.512" v="31175" actId="1076"/>
          <ac:grpSpMkLst>
            <pc:docMk/>
            <pc:sldMk cId="47613801" sldId="2147470496"/>
            <ac:grpSpMk id="108" creationId="{9981A617-6B33-819D-C206-74DF6E03FDC6}"/>
          </ac:grpSpMkLst>
        </pc:grpChg>
        <pc:grpChg chg="add mod">
          <ac:chgData name="Miranda Quispe, Bruno Sebastian" userId="5df213b2-8b23-43f1-8137-24ac80ef972a" providerId="ADAL" clId="{E965C011-1063-4CD3-8CA5-A8D35C5C287B}" dt="2022-09-13T15:43:50.164" v="31222" actId="164"/>
          <ac:grpSpMkLst>
            <pc:docMk/>
            <pc:sldMk cId="47613801" sldId="2147470496"/>
            <ac:grpSpMk id="124" creationId="{BA8A3915-C939-B401-04B5-75BD38F5B8C1}"/>
          </ac:grpSpMkLst>
        </pc:grpChg>
        <pc:grpChg chg="add mod">
          <ac:chgData name="Miranda Quispe, Bruno Sebastian" userId="5df213b2-8b23-43f1-8137-24ac80ef972a" providerId="ADAL" clId="{E965C011-1063-4CD3-8CA5-A8D35C5C287B}" dt="2022-09-13T15:50:16.680" v="31326" actId="164"/>
          <ac:grpSpMkLst>
            <pc:docMk/>
            <pc:sldMk cId="47613801" sldId="2147470496"/>
            <ac:grpSpMk id="125" creationId="{2D293042-FBE2-14B8-76FD-D6364896DE46}"/>
          </ac:grpSpMkLst>
        </pc:grpChg>
        <pc:grpChg chg="add mod">
          <ac:chgData name="Miranda Quispe, Bruno Sebastian" userId="5df213b2-8b23-43f1-8137-24ac80ef972a" providerId="ADAL" clId="{E965C011-1063-4CD3-8CA5-A8D35C5C287B}" dt="2022-09-13T15:50:16.680" v="31326" actId="164"/>
          <ac:grpSpMkLst>
            <pc:docMk/>
            <pc:sldMk cId="47613801" sldId="2147470496"/>
            <ac:grpSpMk id="132" creationId="{D01A2AE3-14CF-E023-FC05-5932A15A4113}"/>
          </ac:grpSpMkLst>
        </pc:grpChg>
        <pc:grpChg chg="add del mod">
          <ac:chgData name="Miranda Quispe, Bruno Sebastian" userId="5df213b2-8b23-43f1-8137-24ac80ef972a" providerId="ADAL" clId="{E965C011-1063-4CD3-8CA5-A8D35C5C287B}" dt="2022-09-13T15:49:58.537" v="31321" actId="478"/>
          <ac:grpSpMkLst>
            <pc:docMk/>
            <pc:sldMk cId="47613801" sldId="2147470496"/>
            <ac:grpSpMk id="155" creationId="{8AA96181-8D23-4044-7DA4-6F305208165E}"/>
          </ac:grpSpMkLst>
        </pc:grpChg>
        <pc:grpChg chg="add mod">
          <ac:chgData name="Miranda Quispe, Bruno Sebastian" userId="5df213b2-8b23-43f1-8137-24ac80ef972a" providerId="ADAL" clId="{E965C011-1063-4CD3-8CA5-A8D35C5C287B}" dt="2022-09-13T15:58:16.084" v="31470" actId="1076"/>
          <ac:grpSpMkLst>
            <pc:docMk/>
            <pc:sldMk cId="47613801" sldId="2147470496"/>
            <ac:grpSpMk id="156" creationId="{89FAE5CF-A1AD-2D3B-C957-7C0DA8B50A8F}"/>
          </ac:grpSpMkLst>
        </pc:grpChg>
        <pc:grpChg chg="add del mod">
          <ac:chgData name="Miranda Quispe, Bruno Sebastian" userId="5df213b2-8b23-43f1-8137-24ac80ef972a" providerId="ADAL" clId="{E965C011-1063-4CD3-8CA5-A8D35C5C287B}" dt="2022-09-13T15:52:49.017" v="31339" actId="478"/>
          <ac:grpSpMkLst>
            <pc:docMk/>
            <pc:sldMk cId="47613801" sldId="2147470496"/>
            <ac:grpSpMk id="157" creationId="{18828C0F-8B24-3F74-828B-28BCD8FFD970}"/>
          </ac:grpSpMkLst>
        </pc:grpChg>
        <pc:grpChg chg="add mod">
          <ac:chgData name="Miranda Quispe, Bruno Sebastian" userId="5df213b2-8b23-43f1-8137-24ac80ef972a" providerId="ADAL" clId="{E965C011-1063-4CD3-8CA5-A8D35C5C287B}" dt="2022-09-13T16:03:14.653" v="31589" actId="164"/>
          <ac:grpSpMkLst>
            <pc:docMk/>
            <pc:sldMk cId="47613801" sldId="2147470496"/>
            <ac:grpSpMk id="171" creationId="{EDF19732-0124-240C-77E7-7CF4E1932269}"/>
          </ac:grpSpMkLst>
        </pc:grpChg>
        <pc:grpChg chg="add mod">
          <ac:chgData name="Miranda Quispe, Bruno Sebastian" userId="5df213b2-8b23-43f1-8137-24ac80ef972a" providerId="ADAL" clId="{E965C011-1063-4CD3-8CA5-A8D35C5C287B}" dt="2022-09-13T15:59:59.263" v="31525" actId="164"/>
          <ac:grpSpMkLst>
            <pc:docMk/>
            <pc:sldMk cId="47613801" sldId="2147470496"/>
            <ac:grpSpMk id="195" creationId="{5D3FEF5E-8D0F-CB63-0751-0BEB6FF7466E}"/>
          </ac:grpSpMkLst>
        </pc:grpChg>
        <pc:grpChg chg="add mod">
          <ac:chgData name="Miranda Quispe, Bruno Sebastian" userId="5df213b2-8b23-43f1-8137-24ac80ef972a" providerId="ADAL" clId="{E965C011-1063-4CD3-8CA5-A8D35C5C287B}" dt="2022-09-13T16:00:01.734" v="31526" actId="1076"/>
          <ac:grpSpMkLst>
            <pc:docMk/>
            <pc:sldMk cId="47613801" sldId="2147470496"/>
            <ac:grpSpMk id="198" creationId="{D3DC36B2-9494-B9D3-5B2E-264F8D22B9FC}"/>
          </ac:grpSpMkLst>
        </pc:grpChg>
        <pc:grpChg chg="add del mod">
          <ac:chgData name="Miranda Quispe, Bruno Sebastian" userId="5df213b2-8b23-43f1-8137-24ac80ef972a" providerId="ADAL" clId="{E965C011-1063-4CD3-8CA5-A8D35C5C287B}" dt="2022-09-13T16:00:49.882" v="31536" actId="478"/>
          <ac:grpSpMkLst>
            <pc:docMk/>
            <pc:sldMk cId="47613801" sldId="2147470496"/>
            <ac:grpSpMk id="201" creationId="{5A0F48A4-BA09-02C1-C6B4-3A8E3903F101}"/>
          </ac:grpSpMkLst>
        </pc:grpChg>
        <pc:grpChg chg="add mod">
          <ac:chgData name="Miranda Quispe, Bruno Sebastian" userId="5df213b2-8b23-43f1-8137-24ac80ef972a" providerId="ADAL" clId="{E965C011-1063-4CD3-8CA5-A8D35C5C287B}" dt="2022-09-13T16:03:08.508" v="31588" actId="164"/>
          <ac:grpSpMkLst>
            <pc:docMk/>
            <pc:sldMk cId="47613801" sldId="2147470496"/>
            <ac:grpSpMk id="219" creationId="{25B6E39B-C337-A354-9F75-D9BE5C8FE1CE}"/>
          </ac:grpSpMkLst>
        </pc:grpChg>
        <pc:grpChg chg="add mod">
          <ac:chgData name="Miranda Quispe, Bruno Sebastian" userId="5df213b2-8b23-43f1-8137-24ac80ef972a" providerId="ADAL" clId="{E965C011-1063-4CD3-8CA5-A8D35C5C287B}" dt="2022-09-13T16:03:14.653" v="31589" actId="164"/>
          <ac:grpSpMkLst>
            <pc:docMk/>
            <pc:sldMk cId="47613801" sldId="2147470496"/>
            <ac:grpSpMk id="220" creationId="{4F3A59CA-A0B3-FA3E-D6C3-EE4F2AE94635}"/>
          </ac:grpSpMkLst>
        </pc:grpChg>
        <pc:graphicFrameChg chg="add mod">
          <ac:chgData name="Miranda Quispe, Bruno Sebastian" userId="5df213b2-8b23-43f1-8137-24ac80ef972a" providerId="ADAL" clId="{E965C011-1063-4CD3-8CA5-A8D35C5C287B}" dt="2022-09-13T15:49:48.024" v="31318" actId="164"/>
          <ac:graphicFrameMkLst>
            <pc:docMk/>
            <pc:sldMk cId="47613801" sldId="2147470496"/>
            <ac:graphicFrameMk id="152" creationId="{35159C47-C272-88F4-8202-655E145195F4}"/>
          </ac:graphicFrameMkLst>
        </pc:graphicFrameChg>
        <pc:picChg chg="mod">
          <ac:chgData name="Miranda Quispe, Bruno Sebastian" userId="5df213b2-8b23-43f1-8137-24ac80ef972a" providerId="ADAL" clId="{E965C011-1063-4CD3-8CA5-A8D35C5C287B}" dt="2022-09-13T15:13:03.548" v="30587"/>
          <ac:picMkLst>
            <pc:docMk/>
            <pc:sldMk cId="47613801" sldId="2147470496"/>
            <ac:picMk id="17" creationId="{B480306D-4F90-8B3E-0E0C-50915E1F62CF}"/>
          </ac:picMkLst>
        </pc:picChg>
        <pc:picChg chg="mod">
          <ac:chgData name="Miranda Quispe, Bruno Sebastian" userId="5df213b2-8b23-43f1-8137-24ac80ef972a" providerId="ADAL" clId="{E965C011-1063-4CD3-8CA5-A8D35C5C287B}" dt="2022-09-13T15:13:03.548" v="30587"/>
          <ac:picMkLst>
            <pc:docMk/>
            <pc:sldMk cId="47613801" sldId="2147470496"/>
            <ac:picMk id="19" creationId="{07AC597E-8255-9447-C270-034C545A67ED}"/>
          </ac:picMkLst>
        </pc:picChg>
        <pc:picChg chg="mod">
          <ac:chgData name="Miranda Quispe, Bruno Sebastian" userId="5df213b2-8b23-43f1-8137-24ac80ef972a" providerId="ADAL" clId="{E965C011-1063-4CD3-8CA5-A8D35C5C287B}" dt="2022-09-13T15:13:03.548" v="30587"/>
          <ac:picMkLst>
            <pc:docMk/>
            <pc:sldMk cId="47613801" sldId="2147470496"/>
            <ac:picMk id="20" creationId="{D628AD2D-18F0-4206-7B95-C6DD75B651E4}"/>
          </ac:picMkLst>
        </pc:picChg>
        <pc:picChg chg="mod">
          <ac:chgData name="Miranda Quispe, Bruno Sebastian" userId="5df213b2-8b23-43f1-8137-24ac80ef972a" providerId="ADAL" clId="{E965C011-1063-4CD3-8CA5-A8D35C5C287B}" dt="2022-09-13T15:13:03.548" v="30587"/>
          <ac:picMkLst>
            <pc:docMk/>
            <pc:sldMk cId="47613801" sldId="2147470496"/>
            <ac:picMk id="21" creationId="{4BD82B8C-934D-596F-DA3D-34143C6E65EC}"/>
          </ac:picMkLst>
        </pc:picChg>
        <pc:picChg chg="mod">
          <ac:chgData name="Miranda Quispe, Bruno Sebastian" userId="5df213b2-8b23-43f1-8137-24ac80ef972a" providerId="ADAL" clId="{E965C011-1063-4CD3-8CA5-A8D35C5C287B}" dt="2022-09-13T15:13:03.548" v="30587"/>
          <ac:picMkLst>
            <pc:docMk/>
            <pc:sldMk cId="47613801" sldId="2147470496"/>
            <ac:picMk id="22" creationId="{8B122A40-5185-DAB3-32F7-A2BF0D36BC69}"/>
          </ac:picMkLst>
        </pc:picChg>
        <pc:picChg chg="mod">
          <ac:chgData name="Miranda Quispe, Bruno Sebastian" userId="5df213b2-8b23-43f1-8137-24ac80ef972a" providerId="ADAL" clId="{E965C011-1063-4CD3-8CA5-A8D35C5C287B}" dt="2022-09-13T15:13:03.548" v="30587"/>
          <ac:picMkLst>
            <pc:docMk/>
            <pc:sldMk cId="47613801" sldId="2147470496"/>
            <ac:picMk id="24" creationId="{759FCEBB-DE93-B8F4-110A-2087E8A9A23B}"/>
          </ac:picMkLst>
        </pc:picChg>
        <pc:picChg chg="mod">
          <ac:chgData name="Miranda Quispe, Bruno Sebastian" userId="5df213b2-8b23-43f1-8137-24ac80ef972a" providerId="ADAL" clId="{E965C011-1063-4CD3-8CA5-A8D35C5C287B}" dt="2022-09-13T15:13:03.548" v="30587"/>
          <ac:picMkLst>
            <pc:docMk/>
            <pc:sldMk cId="47613801" sldId="2147470496"/>
            <ac:picMk id="25" creationId="{F6710D8B-5CE9-1426-AFCC-AD51FD5C3D48}"/>
          </ac:picMkLst>
        </pc:picChg>
        <pc:picChg chg="mod">
          <ac:chgData name="Miranda Quispe, Bruno Sebastian" userId="5df213b2-8b23-43f1-8137-24ac80ef972a" providerId="ADAL" clId="{E965C011-1063-4CD3-8CA5-A8D35C5C287B}" dt="2022-09-13T15:13:03.548" v="30587"/>
          <ac:picMkLst>
            <pc:docMk/>
            <pc:sldMk cId="47613801" sldId="2147470496"/>
            <ac:picMk id="26" creationId="{050A5AA3-527F-3C8C-3DFC-F9EA72479911}"/>
          </ac:picMkLst>
        </pc:picChg>
        <pc:picChg chg="mod">
          <ac:chgData name="Miranda Quispe, Bruno Sebastian" userId="5df213b2-8b23-43f1-8137-24ac80ef972a" providerId="ADAL" clId="{E965C011-1063-4CD3-8CA5-A8D35C5C287B}" dt="2022-09-13T15:13:03.548" v="30587"/>
          <ac:picMkLst>
            <pc:docMk/>
            <pc:sldMk cId="47613801" sldId="2147470496"/>
            <ac:picMk id="27" creationId="{0D6D6238-9776-B6B7-96F1-E416FF4781EC}"/>
          </ac:picMkLst>
        </pc:picChg>
        <pc:picChg chg="mod">
          <ac:chgData name="Miranda Quispe, Bruno Sebastian" userId="5df213b2-8b23-43f1-8137-24ac80ef972a" providerId="ADAL" clId="{E965C011-1063-4CD3-8CA5-A8D35C5C287B}" dt="2022-09-13T15:13:03.548" v="30587"/>
          <ac:picMkLst>
            <pc:docMk/>
            <pc:sldMk cId="47613801" sldId="2147470496"/>
            <ac:picMk id="28" creationId="{FB1F1371-BDBC-02DB-66FE-CAB817A4CB93}"/>
          </ac:picMkLst>
        </pc:picChg>
        <pc:picChg chg="mod">
          <ac:chgData name="Miranda Quispe, Bruno Sebastian" userId="5df213b2-8b23-43f1-8137-24ac80ef972a" providerId="ADAL" clId="{E965C011-1063-4CD3-8CA5-A8D35C5C287B}" dt="2022-09-13T15:13:03.548" v="30587"/>
          <ac:picMkLst>
            <pc:docMk/>
            <pc:sldMk cId="47613801" sldId="2147470496"/>
            <ac:picMk id="29" creationId="{DFCBA8FA-68CB-18FA-02E2-58462533B171}"/>
          </ac:picMkLst>
        </pc:picChg>
        <pc:picChg chg="mod">
          <ac:chgData name="Miranda Quispe, Bruno Sebastian" userId="5df213b2-8b23-43f1-8137-24ac80ef972a" providerId="ADAL" clId="{E965C011-1063-4CD3-8CA5-A8D35C5C287B}" dt="2022-09-13T15:13:03.548" v="30587"/>
          <ac:picMkLst>
            <pc:docMk/>
            <pc:sldMk cId="47613801" sldId="2147470496"/>
            <ac:picMk id="30" creationId="{015F507C-A6E0-BAE7-1237-03C05EB88F94}"/>
          </ac:picMkLst>
        </pc:picChg>
        <pc:picChg chg="mod">
          <ac:chgData name="Miranda Quispe, Bruno Sebastian" userId="5df213b2-8b23-43f1-8137-24ac80ef972a" providerId="ADAL" clId="{E965C011-1063-4CD3-8CA5-A8D35C5C287B}" dt="2022-09-13T15:13:03.548" v="30587"/>
          <ac:picMkLst>
            <pc:docMk/>
            <pc:sldMk cId="47613801" sldId="2147470496"/>
            <ac:picMk id="31" creationId="{112B7103-1C56-F067-6288-26B21824E823}"/>
          </ac:picMkLst>
        </pc:picChg>
        <pc:picChg chg="mod">
          <ac:chgData name="Miranda Quispe, Bruno Sebastian" userId="5df213b2-8b23-43f1-8137-24ac80ef972a" providerId="ADAL" clId="{E965C011-1063-4CD3-8CA5-A8D35C5C287B}" dt="2022-09-13T15:13:03.548" v="30587"/>
          <ac:picMkLst>
            <pc:docMk/>
            <pc:sldMk cId="47613801" sldId="2147470496"/>
            <ac:picMk id="32" creationId="{B44A4E65-BD1B-2CFB-AEEA-E5FF526360DF}"/>
          </ac:picMkLst>
        </pc:picChg>
        <pc:picChg chg="mod">
          <ac:chgData name="Miranda Quispe, Bruno Sebastian" userId="5df213b2-8b23-43f1-8137-24ac80ef972a" providerId="ADAL" clId="{E965C011-1063-4CD3-8CA5-A8D35C5C287B}" dt="2022-09-13T15:13:03.548" v="30587"/>
          <ac:picMkLst>
            <pc:docMk/>
            <pc:sldMk cId="47613801" sldId="2147470496"/>
            <ac:picMk id="33" creationId="{375EA297-58AC-70D4-2711-9255D8610B28}"/>
          </ac:picMkLst>
        </pc:picChg>
        <pc:picChg chg="add mod">
          <ac:chgData name="Miranda Quispe, Bruno Sebastian" userId="5df213b2-8b23-43f1-8137-24ac80ef972a" providerId="ADAL" clId="{E965C011-1063-4CD3-8CA5-A8D35C5C287B}" dt="2022-09-13T15:50:26.776" v="31329" actId="14100"/>
          <ac:picMkLst>
            <pc:docMk/>
            <pc:sldMk cId="47613801" sldId="2147470496"/>
            <ac:picMk id="38" creationId="{2382959B-FE14-80F0-2EAB-F2C8AE5CE80B}"/>
          </ac:picMkLst>
        </pc:picChg>
        <pc:picChg chg="add mod">
          <ac:chgData name="Miranda Quispe, Bruno Sebastian" userId="5df213b2-8b23-43f1-8137-24ac80ef972a" providerId="ADAL" clId="{E965C011-1063-4CD3-8CA5-A8D35C5C287B}" dt="2022-09-13T15:19:19.554" v="30656" actId="164"/>
          <ac:picMkLst>
            <pc:docMk/>
            <pc:sldMk cId="47613801" sldId="2147470496"/>
            <ac:picMk id="40" creationId="{3E1DB0D5-98D0-CC9D-2C5C-7DCEAA7A769B}"/>
          </ac:picMkLst>
        </pc:picChg>
        <pc:picChg chg="add mod">
          <ac:chgData name="Miranda Quispe, Bruno Sebastian" userId="5df213b2-8b23-43f1-8137-24ac80ef972a" providerId="ADAL" clId="{E965C011-1063-4CD3-8CA5-A8D35C5C287B}" dt="2022-09-13T15:19:19.554" v="30656" actId="164"/>
          <ac:picMkLst>
            <pc:docMk/>
            <pc:sldMk cId="47613801" sldId="2147470496"/>
            <ac:picMk id="42" creationId="{4A9A22AC-4B28-CBA1-141B-6E4BFB595C01}"/>
          </ac:picMkLst>
        </pc:picChg>
        <pc:picChg chg="add mod">
          <ac:chgData name="Miranda Quispe, Bruno Sebastian" userId="5df213b2-8b23-43f1-8137-24ac80ef972a" providerId="ADAL" clId="{E965C011-1063-4CD3-8CA5-A8D35C5C287B}" dt="2022-09-13T15:41:09.564" v="31174" actId="164"/>
          <ac:picMkLst>
            <pc:docMk/>
            <pc:sldMk cId="47613801" sldId="2147470496"/>
            <ac:picMk id="48" creationId="{5ACF3589-D984-5392-5CA8-FE6AEB5C6110}"/>
          </ac:picMkLst>
        </pc:picChg>
        <pc:picChg chg="add mod">
          <ac:chgData name="Miranda Quispe, Bruno Sebastian" userId="5df213b2-8b23-43f1-8137-24ac80ef972a" providerId="ADAL" clId="{E965C011-1063-4CD3-8CA5-A8D35C5C287B}" dt="2022-09-13T15:28:36.644" v="30915" actId="164"/>
          <ac:picMkLst>
            <pc:docMk/>
            <pc:sldMk cId="47613801" sldId="2147470496"/>
            <ac:picMk id="50" creationId="{9E0FD0F6-7365-BE7A-24D5-B619F187D80F}"/>
          </ac:picMkLst>
        </pc:picChg>
        <pc:picChg chg="add mod">
          <ac:chgData name="Miranda Quispe, Bruno Sebastian" userId="5df213b2-8b23-43f1-8137-24ac80ef972a" providerId="ADAL" clId="{E965C011-1063-4CD3-8CA5-A8D35C5C287B}" dt="2022-09-13T15:28:36.644" v="30915" actId="164"/>
          <ac:picMkLst>
            <pc:docMk/>
            <pc:sldMk cId="47613801" sldId="2147470496"/>
            <ac:picMk id="52" creationId="{B0C1C4BA-3760-A91E-E5D2-322C0B9CEA43}"/>
          </ac:picMkLst>
        </pc:picChg>
        <pc:picChg chg="add mod">
          <ac:chgData name="Miranda Quispe, Bruno Sebastian" userId="5df213b2-8b23-43f1-8137-24ac80ef972a" providerId="ADAL" clId="{E965C011-1063-4CD3-8CA5-A8D35C5C287B}" dt="2022-09-13T15:28:36.644" v="30915" actId="164"/>
          <ac:picMkLst>
            <pc:docMk/>
            <pc:sldMk cId="47613801" sldId="2147470496"/>
            <ac:picMk id="61" creationId="{1D5C9800-E74C-3FB3-BD05-CBC6C75BB83B}"/>
          </ac:picMkLst>
        </pc:picChg>
        <pc:picChg chg="add del mod">
          <ac:chgData name="Miranda Quispe, Bruno Sebastian" userId="5df213b2-8b23-43f1-8137-24ac80ef972a" providerId="ADAL" clId="{E965C011-1063-4CD3-8CA5-A8D35C5C287B}" dt="2022-09-13T15:26:35.473" v="30858" actId="478"/>
          <ac:picMkLst>
            <pc:docMk/>
            <pc:sldMk cId="47613801" sldId="2147470496"/>
            <ac:picMk id="71" creationId="{ABD89392-159F-C0BC-0B40-DC5160C7CCFB}"/>
          </ac:picMkLst>
        </pc:picChg>
        <pc:picChg chg="add del mod">
          <ac:chgData name="Miranda Quispe, Bruno Sebastian" userId="5df213b2-8b23-43f1-8137-24ac80ef972a" providerId="ADAL" clId="{E965C011-1063-4CD3-8CA5-A8D35C5C287B}" dt="2022-09-13T15:28:02.995" v="30906" actId="478"/>
          <ac:picMkLst>
            <pc:docMk/>
            <pc:sldMk cId="47613801" sldId="2147470496"/>
            <ac:picMk id="75" creationId="{820D4E6C-B22A-7208-39E0-FCF28934CF35}"/>
          </ac:picMkLst>
        </pc:picChg>
        <pc:picChg chg="add del mod">
          <ac:chgData name="Miranda Quispe, Bruno Sebastian" userId="5df213b2-8b23-43f1-8137-24ac80ef972a" providerId="ADAL" clId="{E965C011-1063-4CD3-8CA5-A8D35C5C287B}" dt="2022-09-13T15:35:22.054" v="31102" actId="478"/>
          <ac:picMkLst>
            <pc:docMk/>
            <pc:sldMk cId="47613801" sldId="2147470496"/>
            <ac:picMk id="91" creationId="{9D72C3C4-001A-5425-17B5-404A2E69469A}"/>
          </ac:picMkLst>
        </pc:picChg>
        <pc:picChg chg="mod">
          <ac:chgData name="Miranda Quispe, Bruno Sebastian" userId="5df213b2-8b23-43f1-8137-24ac80ef972a" providerId="ADAL" clId="{E965C011-1063-4CD3-8CA5-A8D35C5C287B}" dt="2022-09-13T15:40:50.645" v="31172"/>
          <ac:picMkLst>
            <pc:docMk/>
            <pc:sldMk cId="47613801" sldId="2147470496"/>
            <ac:picMk id="103" creationId="{474CB543-93E8-8AEF-28B1-3DC58E36EA24}"/>
          </ac:picMkLst>
        </pc:picChg>
        <pc:picChg chg="mod">
          <ac:chgData name="Miranda Quispe, Bruno Sebastian" userId="5df213b2-8b23-43f1-8137-24ac80ef972a" providerId="ADAL" clId="{E965C011-1063-4CD3-8CA5-A8D35C5C287B}" dt="2022-09-13T15:40:50.645" v="31172"/>
          <ac:picMkLst>
            <pc:docMk/>
            <pc:sldMk cId="47613801" sldId="2147470496"/>
            <ac:picMk id="104" creationId="{622C4F9E-438D-0AD0-968A-F496BE03F7AD}"/>
          </ac:picMkLst>
        </pc:picChg>
        <pc:picChg chg="mod">
          <ac:chgData name="Miranda Quispe, Bruno Sebastian" userId="5df213b2-8b23-43f1-8137-24ac80ef972a" providerId="ADAL" clId="{E965C011-1063-4CD3-8CA5-A8D35C5C287B}" dt="2022-09-13T15:40:50.645" v="31172"/>
          <ac:picMkLst>
            <pc:docMk/>
            <pc:sldMk cId="47613801" sldId="2147470496"/>
            <ac:picMk id="105" creationId="{0C1B7031-82FA-555C-CC98-3F870B19CD79}"/>
          </ac:picMkLst>
        </pc:picChg>
        <pc:picChg chg="mod">
          <ac:chgData name="Miranda Quispe, Bruno Sebastian" userId="5df213b2-8b23-43f1-8137-24ac80ef972a" providerId="ADAL" clId="{E965C011-1063-4CD3-8CA5-A8D35C5C287B}" dt="2022-09-13T15:43:40.694" v="31219" actId="1076"/>
          <ac:picMkLst>
            <pc:docMk/>
            <pc:sldMk cId="47613801" sldId="2147470496"/>
            <ac:picMk id="106" creationId="{F1FE7FE1-D074-D452-AF6A-CFD1733553B6}"/>
          </ac:picMkLst>
        </pc:picChg>
        <pc:picChg chg="mod">
          <ac:chgData name="Miranda Quispe, Bruno Sebastian" userId="5df213b2-8b23-43f1-8137-24ac80ef972a" providerId="ADAL" clId="{E965C011-1063-4CD3-8CA5-A8D35C5C287B}" dt="2022-09-13T15:43:42.478" v="31220" actId="1076"/>
          <ac:picMkLst>
            <pc:docMk/>
            <pc:sldMk cId="47613801" sldId="2147470496"/>
            <ac:picMk id="107" creationId="{1AE9B6EF-3C0F-6F0E-613E-8EE0F0764793}"/>
          </ac:picMkLst>
        </pc:picChg>
        <pc:picChg chg="add mod">
          <ac:chgData name="Miranda Quispe, Bruno Sebastian" userId="5df213b2-8b23-43f1-8137-24ac80ef972a" providerId="ADAL" clId="{E965C011-1063-4CD3-8CA5-A8D35C5C287B}" dt="2022-09-13T15:58:16.499" v="31471" actId="1076"/>
          <ac:picMkLst>
            <pc:docMk/>
            <pc:sldMk cId="47613801" sldId="2147470496"/>
            <ac:picMk id="115" creationId="{D42D5124-B94D-A59B-B2E9-F997A4FC1CED}"/>
          </ac:picMkLst>
        </pc:picChg>
        <pc:picChg chg="add mod">
          <ac:chgData name="Miranda Quispe, Bruno Sebastian" userId="5df213b2-8b23-43f1-8137-24ac80ef972a" providerId="ADAL" clId="{E965C011-1063-4CD3-8CA5-A8D35C5C287B}" dt="2022-09-13T15:56:01.870" v="31408" actId="1076"/>
          <ac:picMkLst>
            <pc:docMk/>
            <pc:sldMk cId="47613801" sldId="2147470496"/>
            <ac:picMk id="117" creationId="{BA998887-FEA5-232E-243E-3637D2F453B8}"/>
          </ac:picMkLst>
        </pc:picChg>
        <pc:picChg chg="add mod">
          <ac:chgData name="Miranda Quispe, Bruno Sebastian" userId="5df213b2-8b23-43f1-8137-24ac80ef972a" providerId="ADAL" clId="{E965C011-1063-4CD3-8CA5-A8D35C5C287B}" dt="2022-09-13T15:56:01.870" v="31408" actId="1076"/>
          <ac:picMkLst>
            <pc:docMk/>
            <pc:sldMk cId="47613801" sldId="2147470496"/>
            <ac:picMk id="134" creationId="{697D7397-315D-9F4C-0680-04EE89D1B2B7}"/>
          </ac:picMkLst>
        </pc:picChg>
        <pc:picChg chg="add mod">
          <ac:chgData name="Miranda Quispe, Bruno Sebastian" userId="5df213b2-8b23-43f1-8137-24ac80ef972a" providerId="ADAL" clId="{E965C011-1063-4CD3-8CA5-A8D35C5C287B}" dt="2022-09-13T15:50:16.680" v="31326" actId="164"/>
          <ac:picMkLst>
            <pc:docMk/>
            <pc:sldMk cId="47613801" sldId="2147470496"/>
            <ac:picMk id="142" creationId="{E7D90652-2DBC-4B26-D742-F4E5B966E4C9}"/>
          </ac:picMkLst>
        </pc:picChg>
        <pc:picChg chg="add mod">
          <ac:chgData name="Miranda Quispe, Bruno Sebastian" userId="5df213b2-8b23-43f1-8137-24ac80ef972a" providerId="ADAL" clId="{E965C011-1063-4CD3-8CA5-A8D35C5C287B}" dt="2022-09-13T15:50:16.680" v="31326" actId="164"/>
          <ac:picMkLst>
            <pc:docMk/>
            <pc:sldMk cId="47613801" sldId="2147470496"/>
            <ac:picMk id="144" creationId="{7D2E305F-11C4-CF88-D01F-2AE57816F3A8}"/>
          </ac:picMkLst>
        </pc:picChg>
        <pc:picChg chg="add del mod">
          <ac:chgData name="Miranda Quispe, Bruno Sebastian" userId="5df213b2-8b23-43f1-8137-24ac80ef972a" providerId="ADAL" clId="{E965C011-1063-4CD3-8CA5-A8D35C5C287B}" dt="2022-09-13T15:49:59.617" v="31322" actId="478"/>
          <ac:picMkLst>
            <pc:docMk/>
            <pc:sldMk cId="47613801" sldId="2147470496"/>
            <ac:picMk id="148" creationId="{8A1430DE-BE99-7F97-5F63-9E57F4E5CAEC}"/>
          </ac:picMkLst>
        </pc:picChg>
        <pc:picChg chg="mod">
          <ac:chgData name="Miranda Quispe, Bruno Sebastian" userId="5df213b2-8b23-43f1-8137-24ac80ef972a" providerId="ADAL" clId="{E965C011-1063-4CD3-8CA5-A8D35C5C287B}" dt="2022-09-13T15:52:22.547" v="31336"/>
          <ac:picMkLst>
            <pc:docMk/>
            <pc:sldMk cId="47613801" sldId="2147470496"/>
            <ac:picMk id="158" creationId="{E8D26AB2-3997-05C4-8092-2E23C9598D6B}"/>
          </ac:picMkLst>
        </pc:picChg>
        <pc:picChg chg="mod">
          <ac:chgData name="Miranda Quispe, Bruno Sebastian" userId="5df213b2-8b23-43f1-8137-24ac80ef972a" providerId="ADAL" clId="{E965C011-1063-4CD3-8CA5-A8D35C5C287B}" dt="2022-09-13T15:52:22.547" v="31336"/>
          <ac:picMkLst>
            <pc:docMk/>
            <pc:sldMk cId="47613801" sldId="2147470496"/>
            <ac:picMk id="159" creationId="{C12A5EAD-B450-AE17-EE82-7837871D6E7E}"/>
          </ac:picMkLst>
        </pc:picChg>
        <pc:picChg chg="mod">
          <ac:chgData name="Miranda Quispe, Bruno Sebastian" userId="5df213b2-8b23-43f1-8137-24ac80ef972a" providerId="ADAL" clId="{E965C011-1063-4CD3-8CA5-A8D35C5C287B}" dt="2022-09-13T15:52:22.547" v="31336"/>
          <ac:picMkLst>
            <pc:docMk/>
            <pc:sldMk cId="47613801" sldId="2147470496"/>
            <ac:picMk id="160" creationId="{C7FBECEB-9BA4-EC1A-1BE7-CCB1CD48D509}"/>
          </ac:picMkLst>
        </pc:picChg>
        <pc:picChg chg="mod">
          <ac:chgData name="Miranda Quispe, Bruno Sebastian" userId="5df213b2-8b23-43f1-8137-24ac80ef972a" providerId="ADAL" clId="{E965C011-1063-4CD3-8CA5-A8D35C5C287B}" dt="2022-09-13T15:52:22.547" v="31336"/>
          <ac:picMkLst>
            <pc:docMk/>
            <pc:sldMk cId="47613801" sldId="2147470496"/>
            <ac:picMk id="161" creationId="{AFB75562-E5CF-8D81-2A65-507ADFD68514}"/>
          </ac:picMkLst>
        </pc:picChg>
        <pc:picChg chg="mod">
          <ac:chgData name="Miranda Quispe, Bruno Sebastian" userId="5df213b2-8b23-43f1-8137-24ac80ef972a" providerId="ADAL" clId="{E965C011-1063-4CD3-8CA5-A8D35C5C287B}" dt="2022-09-13T15:52:22.547" v="31336"/>
          <ac:picMkLst>
            <pc:docMk/>
            <pc:sldMk cId="47613801" sldId="2147470496"/>
            <ac:picMk id="162" creationId="{4D794412-D85D-3FC6-B030-FBABFBC501BC}"/>
          </ac:picMkLst>
        </pc:picChg>
        <pc:picChg chg="add mod">
          <ac:chgData name="Miranda Quispe, Bruno Sebastian" userId="5df213b2-8b23-43f1-8137-24ac80ef972a" providerId="ADAL" clId="{E965C011-1063-4CD3-8CA5-A8D35C5C287B}" dt="2022-09-13T15:56:14.694" v="31410" actId="1076"/>
          <ac:picMkLst>
            <pc:docMk/>
            <pc:sldMk cId="47613801" sldId="2147470496"/>
            <ac:picMk id="170" creationId="{96BD800B-4BAC-1B52-DFF7-E9F44342EB87}"/>
          </ac:picMkLst>
        </pc:picChg>
        <pc:picChg chg="mod">
          <ac:chgData name="Miranda Quispe, Bruno Sebastian" userId="5df213b2-8b23-43f1-8137-24ac80ef972a" providerId="ADAL" clId="{E965C011-1063-4CD3-8CA5-A8D35C5C287B}" dt="2022-09-13T15:56:26.990" v="31411"/>
          <ac:picMkLst>
            <pc:docMk/>
            <pc:sldMk cId="47613801" sldId="2147470496"/>
            <ac:picMk id="172" creationId="{023EC932-00A5-2FFB-90DB-3456ADE3586C}"/>
          </ac:picMkLst>
        </pc:picChg>
        <pc:picChg chg="mod">
          <ac:chgData name="Miranda Quispe, Bruno Sebastian" userId="5df213b2-8b23-43f1-8137-24ac80ef972a" providerId="ADAL" clId="{E965C011-1063-4CD3-8CA5-A8D35C5C287B}" dt="2022-09-13T15:56:26.990" v="31411"/>
          <ac:picMkLst>
            <pc:docMk/>
            <pc:sldMk cId="47613801" sldId="2147470496"/>
            <ac:picMk id="173" creationId="{5AA5A42E-1997-B04C-7561-A39240544051}"/>
          </ac:picMkLst>
        </pc:picChg>
        <pc:picChg chg="mod">
          <ac:chgData name="Miranda Quispe, Bruno Sebastian" userId="5df213b2-8b23-43f1-8137-24ac80ef972a" providerId="ADAL" clId="{E965C011-1063-4CD3-8CA5-A8D35C5C287B}" dt="2022-09-13T15:56:26.990" v="31411"/>
          <ac:picMkLst>
            <pc:docMk/>
            <pc:sldMk cId="47613801" sldId="2147470496"/>
            <ac:picMk id="174" creationId="{13856A70-3218-F587-AE88-0E65A94DF11F}"/>
          </ac:picMkLst>
        </pc:picChg>
        <pc:picChg chg="mod">
          <ac:chgData name="Miranda Quispe, Bruno Sebastian" userId="5df213b2-8b23-43f1-8137-24ac80ef972a" providerId="ADAL" clId="{E965C011-1063-4CD3-8CA5-A8D35C5C287B}" dt="2022-09-13T15:56:26.990" v="31411"/>
          <ac:picMkLst>
            <pc:docMk/>
            <pc:sldMk cId="47613801" sldId="2147470496"/>
            <ac:picMk id="175" creationId="{BBBFFFF8-9395-6F06-535B-120B6D66D511}"/>
          </ac:picMkLst>
        </pc:picChg>
        <pc:picChg chg="mod">
          <ac:chgData name="Miranda Quispe, Bruno Sebastian" userId="5df213b2-8b23-43f1-8137-24ac80ef972a" providerId="ADAL" clId="{E965C011-1063-4CD3-8CA5-A8D35C5C287B}" dt="2022-09-13T15:56:26.990" v="31411"/>
          <ac:picMkLst>
            <pc:docMk/>
            <pc:sldMk cId="47613801" sldId="2147470496"/>
            <ac:picMk id="176" creationId="{6359A902-FA9C-E9C0-3FAD-5FEE0A892262}"/>
          </ac:picMkLst>
        </pc:picChg>
        <pc:picChg chg="add mod">
          <ac:chgData name="Miranda Quispe, Bruno Sebastian" userId="5df213b2-8b23-43f1-8137-24ac80ef972a" providerId="ADAL" clId="{E965C011-1063-4CD3-8CA5-A8D35C5C287B}" dt="2022-09-13T15:59:45.366" v="31524" actId="1076"/>
          <ac:picMkLst>
            <pc:docMk/>
            <pc:sldMk cId="47613801" sldId="2147470496"/>
            <ac:picMk id="180" creationId="{DDCE7EE6-1C22-D74F-B035-AE6330BA53E4}"/>
          </ac:picMkLst>
        </pc:picChg>
        <pc:picChg chg="add mod">
          <ac:chgData name="Miranda Quispe, Bruno Sebastian" userId="5df213b2-8b23-43f1-8137-24ac80ef972a" providerId="ADAL" clId="{E965C011-1063-4CD3-8CA5-A8D35C5C287B}" dt="2022-09-13T15:59:59.263" v="31525" actId="164"/>
          <ac:picMkLst>
            <pc:docMk/>
            <pc:sldMk cId="47613801" sldId="2147470496"/>
            <ac:picMk id="182" creationId="{FDF46A16-1E72-2F27-1F03-574A4FA626EA}"/>
          </ac:picMkLst>
        </pc:picChg>
        <pc:picChg chg="add mod">
          <ac:chgData name="Miranda Quispe, Bruno Sebastian" userId="5df213b2-8b23-43f1-8137-24ac80ef972a" providerId="ADAL" clId="{E965C011-1063-4CD3-8CA5-A8D35C5C287B}" dt="2022-09-13T15:59:59.263" v="31525" actId="164"/>
          <ac:picMkLst>
            <pc:docMk/>
            <pc:sldMk cId="47613801" sldId="2147470496"/>
            <ac:picMk id="184" creationId="{53441D95-C110-E112-DA46-7CEC3AE1E5AE}"/>
          </ac:picMkLst>
        </pc:picChg>
        <pc:picChg chg="add mod">
          <ac:chgData name="Miranda Quispe, Bruno Sebastian" userId="5df213b2-8b23-43f1-8137-24ac80ef972a" providerId="ADAL" clId="{E965C011-1063-4CD3-8CA5-A8D35C5C287B}" dt="2022-09-13T15:59:59.263" v="31525" actId="164"/>
          <ac:picMkLst>
            <pc:docMk/>
            <pc:sldMk cId="47613801" sldId="2147470496"/>
            <ac:picMk id="186" creationId="{7AAA4288-F09E-EF2B-7D98-03BF2CFB8E3F}"/>
          </ac:picMkLst>
        </pc:picChg>
        <pc:picChg chg="add mod">
          <ac:chgData name="Miranda Quispe, Bruno Sebastian" userId="5df213b2-8b23-43f1-8137-24ac80ef972a" providerId="ADAL" clId="{E965C011-1063-4CD3-8CA5-A8D35C5C287B}" dt="2022-09-13T15:59:59.263" v="31525" actId="164"/>
          <ac:picMkLst>
            <pc:docMk/>
            <pc:sldMk cId="47613801" sldId="2147470496"/>
            <ac:picMk id="188" creationId="{61A7B914-762E-FF3F-03BF-D04533DA87C1}"/>
          </ac:picMkLst>
        </pc:picChg>
        <pc:picChg chg="add mod">
          <ac:chgData name="Miranda Quispe, Bruno Sebastian" userId="5df213b2-8b23-43f1-8137-24ac80ef972a" providerId="ADAL" clId="{E965C011-1063-4CD3-8CA5-A8D35C5C287B}" dt="2022-09-13T16:00:21.031" v="31529" actId="1076"/>
          <ac:picMkLst>
            <pc:docMk/>
            <pc:sldMk cId="47613801" sldId="2147470496"/>
            <ac:picMk id="200" creationId="{0A971837-BEE9-2EBE-54C4-ACC8B71F69CF}"/>
          </ac:picMkLst>
        </pc:picChg>
        <pc:picChg chg="mod">
          <ac:chgData name="Miranda Quispe, Bruno Sebastian" userId="5df213b2-8b23-43f1-8137-24ac80ef972a" providerId="ADAL" clId="{E965C011-1063-4CD3-8CA5-A8D35C5C287B}" dt="2022-09-13T16:00:32.811" v="31530"/>
          <ac:picMkLst>
            <pc:docMk/>
            <pc:sldMk cId="47613801" sldId="2147470496"/>
            <ac:picMk id="202" creationId="{CAEC3C21-7D10-C35E-6795-F7E603CA50D0}"/>
          </ac:picMkLst>
        </pc:picChg>
        <pc:picChg chg="mod">
          <ac:chgData name="Miranda Quispe, Bruno Sebastian" userId="5df213b2-8b23-43f1-8137-24ac80ef972a" providerId="ADAL" clId="{E965C011-1063-4CD3-8CA5-A8D35C5C287B}" dt="2022-09-13T16:00:32.811" v="31530"/>
          <ac:picMkLst>
            <pc:docMk/>
            <pc:sldMk cId="47613801" sldId="2147470496"/>
            <ac:picMk id="203" creationId="{E5A72FF2-8426-2B5F-259E-9E89750C705D}"/>
          </ac:picMkLst>
        </pc:picChg>
        <pc:picChg chg="mod">
          <ac:chgData name="Miranda Quispe, Bruno Sebastian" userId="5df213b2-8b23-43f1-8137-24ac80ef972a" providerId="ADAL" clId="{E965C011-1063-4CD3-8CA5-A8D35C5C287B}" dt="2022-09-13T16:00:32.811" v="31530"/>
          <ac:picMkLst>
            <pc:docMk/>
            <pc:sldMk cId="47613801" sldId="2147470496"/>
            <ac:picMk id="204" creationId="{82BAF762-0BDD-5B2C-7CD0-43244D49F750}"/>
          </ac:picMkLst>
        </pc:picChg>
        <pc:picChg chg="mod">
          <ac:chgData name="Miranda Quispe, Bruno Sebastian" userId="5df213b2-8b23-43f1-8137-24ac80ef972a" providerId="ADAL" clId="{E965C011-1063-4CD3-8CA5-A8D35C5C287B}" dt="2022-09-13T16:00:32.811" v="31530"/>
          <ac:picMkLst>
            <pc:docMk/>
            <pc:sldMk cId="47613801" sldId="2147470496"/>
            <ac:picMk id="205" creationId="{101C43D1-5C6F-5A5B-7964-69B622355110}"/>
          </ac:picMkLst>
        </pc:picChg>
        <pc:picChg chg="mod">
          <ac:chgData name="Miranda Quispe, Bruno Sebastian" userId="5df213b2-8b23-43f1-8137-24ac80ef972a" providerId="ADAL" clId="{E965C011-1063-4CD3-8CA5-A8D35C5C287B}" dt="2022-09-13T16:00:32.811" v="31530"/>
          <ac:picMkLst>
            <pc:docMk/>
            <pc:sldMk cId="47613801" sldId="2147470496"/>
            <ac:picMk id="206" creationId="{F3C7D2FC-125A-2770-1FB4-F4CCAA1DFEB1}"/>
          </ac:picMkLst>
        </pc:picChg>
        <pc:picChg chg="mod">
          <ac:chgData name="Miranda Quispe, Bruno Sebastian" userId="5df213b2-8b23-43f1-8137-24ac80ef972a" providerId="ADAL" clId="{E965C011-1063-4CD3-8CA5-A8D35C5C287B}" dt="2022-09-13T16:00:32.811" v="31530"/>
          <ac:picMkLst>
            <pc:docMk/>
            <pc:sldMk cId="47613801" sldId="2147470496"/>
            <ac:picMk id="207" creationId="{41074D97-1ED7-91A3-59DE-0078A24F621D}"/>
          </ac:picMkLst>
        </pc:picChg>
        <pc:picChg chg="add mod">
          <ac:chgData name="Miranda Quispe, Bruno Sebastian" userId="5df213b2-8b23-43f1-8137-24ac80ef972a" providerId="ADAL" clId="{E965C011-1063-4CD3-8CA5-A8D35C5C287B}" dt="2022-09-13T16:03:08.508" v="31588" actId="164"/>
          <ac:picMkLst>
            <pc:docMk/>
            <pc:sldMk cId="47613801" sldId="2147470496"/>
            <ac:picMk id="216" creationId="{118411CD-E4EE-537A-72B2-5636674F7017}"/>
          </ac:picMkLst>
        </pc:picChg>
        <pc:cxnChg chg="add mod">
          <ac:chgData name="Miranda Quispe, Bruno Sebastian" userId="5df213b2-8b23-43f1-8137-24ac80ef972a" providerId="ADAL" clId="{E965C011-1063-4CD3-8CA5-A8D35C5C287B}" dt="2022-09-13T15:38:29.200" v="31170" actId="164"/>
          <ac:cxnSpMkLst>
            <pc:docMk/>
            <pc:sldMk cId="47613801" sldId="2147470496"/>
            <ac:cxnSpMk id="77" creationId="{9C929B3E-A1A8-C25F-9159-D0A43B714F60}"/>
          </ac:cxnSpMkLst>
        </pc:cxnChg>
        <pc:cxnChg chg="add mod">
          <ac:chgData name="Miranda Quispe, Bruno Sebastian" userId="5df213b2-8b23-43f1-8137-24ac80ef972a" providerId="ADAL" clId="{E965C011-1063-4CD3-8CA5-A8D35C5C287B}" dt="2022-09-13T15:38:29.200" v="31170" actId="164"/>
          <ac:cxnSpMkLst>
            <pc:docMk/>
            <pc:sldMk cId="47613801" sldId="2147470496"/>
            <ac:cxnSpMk id="86" creationId="{102E3BF9-D750-AC0D-1406-9A629ACD405D}"/>
          </ac:cxnSpMkLst>
        </pc:cxnChg>
        <pc:cxnChg chg="add mod">
          <ac:chgData name="Miranda Quispe, Bruno Sebastian" userId="5df213b2-8b23-43f1-8137-24ac80ef972a" providerId="ADAL" clId="{E965C011-1063-4CD3-8CA5-A8D35C5C287B}" dt="2022-09-13T15:38:29.200" v="31170" actId="164"/>
          <ac:cxnSpMkLst>
            <pc:docMk/>
            <pc:sldMk cId="47613801" sldId="2147470496"/>
            <ac:cxnSpMk id="87" creationId="{29331C6E-4091-1C39-4130-68D71F7A3168}"/>
          </ac:cxnSpMkLst>
        </pc:cxnChg>
        <pc:cxnChg chg="add del mod">
          <ac:chgData name="Miranda Quispe, Bruno Sebastian" userId="5df213b2-8b23-43f1-8137-24ac80ef972a" providerId="ADAL" clId="{E965C011-1063-4CD3-8CA5-A8D35C5C287B}" dt="2022-09-13T15:35:46.550" v="31107" actId="478"/>
          <ac:cxnSpMkLst>
            <pc:docMk/>
            <pc:sldMk cId="47613801" sldId="2147470496"/>
            <ac:cxnSpMk id="93" creationId="{980A9DCB-B4E2-F2FF-1F9D-7C02E59FBB17}"/>
          </ac:cxnSpMkLst>
        </pc:cxnChg>
        <pc:cxnChg chg="add del mod">
          <ac:chgData name="Miranda Quispe, Bruno Sebastian" userId="5df213b2-8b23-43f1-8137-24ac80ef972a" providerId="ADAL" clId="{E965C011-1063-4CD3-8CA5-A8D35C5C287B}" dt="2022-09-13T15:50:04.956" v="31323" actId="478"/>
          <ac:cxnSpMkLst>
            <pc:docMk/>
            <pc:sldMk cId="47613801" sldId="2147470496"/>
            <ac:cxnSpMk id="110" creationId="{51F14D45-D8A3-686A-77A6-52832299C120}"/>
          </ac:cxnSpMkLst>
        </pc:cxnChg>
        <pc:cxnChg chg="add mod">
          <ac:chgData name="Miranda Quispe, Bruno Sebastian" userId="5df213b2-8b23-43f1-8137-24ac80ef972a" providerId="ADAL" clId="{E965C011-1063-4CD3-8CA5-A8D35C5C287B}" dt="2022-09-13T15:53:31.839" v="31347" actId="14100"/>
          <ac:cxnSpMkLst>
            <pc:docMk/>
            <pc:sldMk cId="47613801" sldId="2147470496"/>
            <ac:cxnSpMk id="163" creationId="{FADA7917-011B-FA6B-47F8-D4C88AE06B4F}"/>
          </ac:cxnSpMkLst>
        </pc:cxnChg>
      </pc:sldChg>
      <pc:sldChg chg="addSp delSp modSp new del mod modClrScheme chgLayout">
        <pc:chgData name="Miranda Quispe, Bruno Sebastian" userId="5df213b2-8b23-43f1-8137-24ac80ef972a" providerId="ADAL" clId="{E965C011-1063-4CD3-8CA5-A8D35C5C287B}" dt="2022-09-15T15:45:14.629" v="34035" actId="47"/>
        <pc:sldMkLst>
          <pc:docMk/>
          <pc:sldMk cId="3844308685" sldId="2147470497"/>
        </pc:sldMkLst>
        <pc:spChg chg="del mod ord">
          <ac:chgData name="Miranda Quispe, Bruno Sebastian" userId="5df213b2-8b23-43f1-8137-24ac80ef972a" providerId="ADAL" clId="{E965C011-1063-4CD3-8CA5-A8D35C5C287B}" dt="2022-09-13T16:23:59.874" v="31602" actId="700"/>
          <ac:spMkLst>
            <pc:docMk/>
            <pc:sldMk cId="3844308685" sldId="2147470497"/>
            <ac:spMk id="2" creationId="{85A658E8-2E9A-E08E-26A2-1F3124F3EA76}"/>
          </ac:spMkLst>
        </pc:spChg>
        <pc:spChg chg="mod ord">
          <ac:chgData name="Miranda Quispe, Bruno Sebastian" userId="5df213b2-8b23-43f1-8137-24ac80ef972a" providerId="ADAL" clId="{E965C011-1063-4CD3-8CA5-A8D35C5C287B}" dt="2022-09-13T16:23:59.874" v="31602" actId="700"/>
          <ac:spMkLst>
            <pc:docMk/>
            <pc:sldMk cId="3844308685" sldId="2147470497"/>
            <ac:spMk id="3" creationId="{B6BFDCF9-F2E3-31A5-71E7-5294C2DA08E3}"/>
          </ac:spMkLst>
        </pc:spChg>
        <pc:spChg chg="add mod ord">
          <ac:chgData name="Miranda Quispe, Bruno Sebastian" userId="5df213b2-8b23-43f1-8137-24ac80ef972a" providerId="ADAL" clId="{E965C011-1063-4CD3-8CA5-A8D35C5C287B}" dt="2022-09-13T16:26:26.691" v="31622" actId="20577"/>
          <ac:spMkLst>
            <pc:docMk/>
            <pc:sldMk cId="3844308685" sldId="2147470497"/>
            <ac:spMk id="4" creationId="{304D5A42-FA7B-74A5-5498-CFA18410CD46}"/>
          </ac:spMkLst>
        </pc:spChg>
        <pc:spChg chg="add mod ord">
          <ac:chgData name="Miranda Quispe, Bruno Sebastian" userId="5df213b2-8b23-43f1-8137-24ac80ef972a" providerId="ADAL" clId="{E965C011-1063-4CD3-8CA5-A8D35C5C287B}" dt="2022-09-13T16:23:59.874" v="31602" actId="700"/>
          <ac:spMkLst>
            <pc:docMk/>
            <pc:sldMk cId="3844308685" sldId="2147470497"/>
            <ac:spMk id="5" creationId="{0C3C79C0-0893-F30B-F657-73BADFC88E0B}"/>
          </ac:spMkLst>
        </pc:spChg>
      </pc:sldChg>
      <pc:sldChg chg="addSp delSp modSp add mod setBg">
        <pc:chgData name="Miranda Quispe, Bruno Sebastian" userId="5df213b2-8b23-43f1-8137-24ac80ef972a" providerId="ADAL" clId="{E965C011-1063-4CD3-8CA5-A8D35C5C287B}" dt="2022-09-15T15:44:20.044" v="34033" actId="1582"/>
        <pc:sldMkLst>
          <pc:docMk/>
          <pc:sldMk cId="1212659561" sldId="2147470498"/>
        </pc:sldMkLst>
        <pc:spChg chg="del">
          <ac:chgData name="Miranda Quispe, Bruno Sebastian" userId="5df213b2-8b23-43f1-8137-24ac80ef972a" providerId="ADAL" clId="{E965C011-1063-4CD3-8CA5-A8D35C5C287B}" dt="2022-09-15T15:29:19.829" v="33398" actId="478"/>
          <ac:spMkLst>
            <pc:docMk/>
            <pc:sldMk cId="1212659561" sldId="2147470498"/>
            <ac:spMk id="5" creationId="{3CCDF212-5721-61B6-8A59-E40B62B913A3}"/>
          </ac:spMkLst>
        </pc:spChg>
        <pc:spChg chg="add mod">
          <ac:chgData name="Miranda Quispe, Bruno Sebastian" userId="5df213b2-8b23-43f1-8137-24ac80ef972a" providerId="ADAL" clId="{E965C011-1063-4CD3-8CA5-A8D35C5C287B}" dt="2022-09-15T15:36:59.275" v="33856" actId="20577"/>
          <ac:spMkLst>
            <pc:docMk/>
            <pc:sldMk cId="1212659561" sldId="2147470498"/>
            <ac:spMk id="6" creationId="{79650AFD-76B3-DF16-9A6A-F46EE9868C24}"/>
          </ac:spMkLst>
        </pc:spChg>
        <pc:spChg chg="add mod ord">
          <ac:chgData name="Miranda Quispe, Bruno Sebastian" userId="5df213b2-8b23-43f1-8137-24ac80ef972a" providerId="ADAL" clId="{E965C011-1063-4CD3-8CA5-A8D35C5C287B}" dt="2022-09-15T15:44:20.044" v="34033" actId="1582"/>
          <ac:spMkLst>
            <pc:docMk/>
            <pc:sldMk cId="1212659561" sldId="2147470498"/>
            <ac:spMk id="63" creationId="{B28109C9-6228-2363-4971-55A5E1C88377}"/>
          </ac:spMkLst>
        </pc:spChg>
        <pc:spChg chg="add mod">
          <ac:chgData name="Miranda Quispe, Bruno Sebastian" userId="5df213b2-8b23-43f1-8137-24ac80ef972a" providerId="ADAL" clId="{E965C011-1063-4CD3-8CA5-A8D35C5C287B}" dt="2022-09-15T15:40:08.165" v="33964" actId="164"/>
          <ac:spMkLst>
            <pc:docMk/>
            <pc:sldMk cId="1212659561" sldId="2147470498"/>
            <ac:spMk id="65" creationId="{59BA37D1-2159-C665-B188-8526FE15E2AB}"/>
          </ac:spMkLst>
        </pc:spChg>
        <pc:spChg chg="add del">
          <ac:chgData name="Miranda Quispe, Bruno Sebastian" userId="5df213b2-8b23-43f1-8137-24ac80ef972a" providerId="ADAL" clId="{E965C011-1063-4CD3-8CA5-A8D35C5C287B}" dt="2022-09-15T15:40:49.479" v="33969" actId="22"/>
          <ac:spMkLst>
            <pc:docMk/>
            <pc:sldMk cId="1212659561" sldId="2147470498"/>
            <ac:spMk id="70" creationId="{8B7B7D62-A3E6-270E-E498-299162C8AC0C}"/>
          </ac:spMkLst>
        </pc:spChg>
        <pc:grpChg chg="add mod">
          <ac:chgData name="Miranda Quispe, Bruno Sebastian" userId="5df213b2-8b23-43f1-8137-24ac80ef972a" providerId="ADAL" clId="{E965C011-1063-4CD3-8CA5-A8D35C5C287B}" dt="2022-09-15T15:40:08.165" v="33964" actId="164"/>
          <ac:grpSpMkLst>
            <pc:docMk/>
            <pc:sldMk cId="1212659561" sldId="2147470498"/>
            <ac:grpSpMk id="18" creationId="{88708D35-98C2-0582-D95A-204119E2D76A}"/>
          </ac:grpSpMkLst>
        </pc:grpChg>
        <pc:grpChg chg="mod">
          <ac:chgData name="Miranda Quispe, Bruno Sebastian" userId="5df213b2-8b23-43f1-8137-24ac80ef972a" providerId="ADAL" clId="{E965C011-1063-4CD3-8CA5-A8D35C5C287B}" dt="2022-09-15T15:34:33.696" v="33782"/>
          <ac:grpSpMkLst>
            <pc:docMk/>
            <pc:sldMk cId="1212659561" sldId="2147470498"/>
            <ac:grpSpMk id="19" creationId="{C5C7EB7E-4D9B-572C-304C-AEBF6757268A}"/>
          </ac:grpSpMkLst>
        </pc:grpChg>
        <pc:grpChg chg="add mod">
          <ac:chgData name="Miranda Quispe, Bruno Sebastian" userId="5df213b2-8b23-43f1-8137-24ac80ef972a" providerId="ADAL" clId="{E965C011-1063-4CD3-8CA5-A8D35C5C287B}" dt="2022-09-15T15:40:08.165" v="33964" actId="164"/>
          <ac:grpSpMkLst>
            <pc:docMk/>
            <pc:sldMk cId="1212659561" sldId="2147470498"/>
            <ac:grpSpMk id="23" creationId="{1F06F3E1-E9E3-E106-0BF9-EB6157707E2F}"/>
          </ac:grpSpMkLst>
        </pc:grpChg>
        <pc:grpChg chg="add mod">
          <ac:chgData name="Miranda Quispe, Bruno Sebastian" userId="5df213b2-8b23-43f1-8137-24ac80ef972a" providerId="ADAL" clId="{E965C011-1063-4CD3-8CA5-A8D35C5C287B}" dt="2022-09-15T15:40:08.165" v="33964" actId="164"/>
          <ac:grpSpMkLst>
            <pc:docMk/>
            <pc:sldMk cId="1212659561" sldId="2147470498"/>
            <ac:grpSpMk id="31" creationId="{E964292A-6D3C-830B-8254-3B6840D87D1D}"/>
          </ac:grpSpMkLst>
        </pc:grpChg>
        <pc:grpChg chg="del">
          <ac:chgData name="Miranda Quispe, Bruno Sebastian" userId="5df213b2-8b23-43f1-8137-24ac80ef972a" providerId="ADAL" clId="{E965C011-1063-4CD3-8CA5-A8D35C5C287B}" dt="2022-09-15T15:29:19.829" v="33398" actId="478"/>
          <ac:grpSpMkLst>
            <pc:docMk/>
            <pc:sldMk cId="1212659561" sldId="2147470498"/>
            <ac:grpSpMk id="32" creationId="{651C2C9B-65F3-FBB5-EA8C-4883885A3463}"/>
          </ac:grpSpMkLst>
        </pc:grpChg>
        <pc:grpChg chg="add mod">
          <ac:chgData name="Miranda Quispe, Bruno Sebastian" userId="5df213b2-8b23-43f1-8137-24ac80ef972a" providerId="ADAL" clId="{E965C011-1063-4CD3-8CA5-A8D35C5C287B}" dt="2022-09-15T15:40:08.165" v="33964" actId="164"/>
          <ac:grpSpMkLst>
            <pc:docMk/>
            <pc:sldMk cId="1212659561" sldId="2147470498"/>
            <ac:grpSpMk id="39" creationId="{3F9AF488-6387-92B5-3D38-F18D9EE0765B}"/>
          </ac:grpSpMkLst>
        </pc:grpChg>
        <pc:grpChg chg="del">
          <ac:chgData name="Miranda Quispe, Bruno Sebastian" userId="5df213b2-8b23-43f1-8137-24ac80ef972a" providerId="ADAL" clId="{E965C011-1063-4CD3-8CA5-A8D35C5C287B}" dt="2022-09-15T15:29:19.829" v="33398" actId="478"/>
          <ac:grpSpMkLst>
            <pc:docMk/>
            <pc:sldMk cId="1212659561" sldId="2147470498"/>
            <ac:grpSpMk id="41" creationId="{661C2855-8C0D-B35B-DB05-10163708D191}"/>
          </ac:grpSpMkLst>
        </pc:grpChg>
        <pc:grpChg chg="del">
          <ac:chgData name="Miranda Quispe, Bruno Sebastian" userId="5df213b2-8b23-43f1-8137-24ac80ef972a" providerId="ADAL" clId="{E965C011-1063-4CD3-8CA5-A8D35C5C287B}" dt="2022-09-15T15:29:24.460" v="33402" actId="478"/>
          <ac:grpSpMkLst>
            <pc:docMk/>
            <pc:sldMk cId="1212659561" sldId="2147470498"/>
            <ac:grpSpMk id="60" creationId="{7C8AE1A2-E854-6BC8-8821-49F1E8904F31}"/>
          </ac:grpSpMkLst>
        </pc:grpChg>
        <pc:grpChg chg="del">
          <ac:chgData name="Miranda Quispe, Bruno Sebastian" userId="5df213b2-8b23-43f1-8137-24ac80ef972a" providerId="ADAL" clId="{E965C011-1063-4CD3-8CA5-A8D35C5C287B}" dt="2022-09-15T15:29:25.020" v="33403" actId="478"/>
          <ac:grpSpMkLst>
            <pc:docMk/>
            <pc:sldMk cId="1212659561" sldId="2147470498"/>
            <ac:grpSpMk id="67" creationId="{FFCAABB9-AC5A-D043-B3D4-F90BA7D69AFA}"/>
          </ac:grpSpMkLst>
        </pc:grpChg>
        <pc:grpChg chg="add mod">
          <ac:chgData name="Miranda Quispe, Bruno Sebastian" userId="5df213b2-8b23-43f1-8137-24ac80ef972a" providerId="ADAL" clId="{E965C011-1063-4CD3-8CA5-A8D35C5C287B}" dt="2022-09-15T15:40:12.745" v="33966" actId="1076"/>
          <ac:grpSpMkLst>
            <pc:docMk/>
            <pc:sldMk cId="1212659561" sldId="2147470498"/>
            <ac:grpSpMk id="68" creationId="{111E274A-B116-9700-ADC2-CBAAB9758722}"/>
          </ac:grpSpMkLst>
        </pc:grpChg>
        <pc:graphicFrameChg chg="add mod modGraphic">
          <ac:chgData name="Miranda Quispe, Bruno Sebastian" userId="5df213b2-8b23-43f1-8137-24ac80ef972a" providerId="ADAL" clId="{E965C011-1063-4CD3-8CA5-A8D35C5C287B}" dt="2022-09-15T15:40:08.165" v="33964" actId="164"/>
          <ac:graphicFrameMkLst>
            <pc:docMk/>
            <pc:sldMk cId="1212659561" sldId="2147470498"/>
            <ac:graphicFrameMk id="10" creationId="{DF70927F-FC7C-BAD5-8456-F84E3B501612}"/>
          </ac:graphicFrameMkLst>
        </pc:graphicFrameChg>
        <pc:graphicFrameChg chg="del">
          <ac:chgData name="Miranda Quispe, Bruno Sebastian" userId="5df213b2-8b23-43f1-8137-24ac80ef972a" providerId="ADAL" clId="{E965C011-1063-4CD3-8CA5-A8D35C5C287B}" dt="2022-09-15T15:29:19.829" v="33398" actId="478"/>
          <ac:graphicFrameMkLst>
            <pc:docMk/>
            <pc:sldMk cId="1212659561" sldId="2147470498"/>
            <ac:graphicFrameMk id="38" creationId="{D4A70D0A-B7A3-3161-42FA-A038C830A1A9}"/>
          </ac:graphicFrameMkLst>
        </pc:graphicFrameChg>
        <pc:picChg chg="add del">
          <ac:chgData name="Miranda Quispe, Bruno Sebastian" userId="5df213b2-8b23-43f1-8137-24ac80ef972a" providerId="ADAL" clId="{E965C011-1063-4CD3-8CA5-A8D35C5C287B}" dt="2022-09-15T15:29:23.754" v="33401" actId="478"/>
          <ac:picMkLst>
            <pc:docMk/>
            <pc:sldMk cId="1212659561" sldId="2147470498"/>
            <ac:picMk id="7" creationId="{7E744F0D-30E1-8695-CD41-16D7EBEB6882}"/>
          </ac:picMkLst>
        </pc:picChg>
        <pc:picChg chg="add mod">
          <ac:chgData name="Miranda Quispe, Bruno Sebastian" userId="5df213b2-8b23-43f1-8137-24ac80ef972a" providerId="ADAL" clId="{E965C011-1063-4CD3-8CA5-A8D35C5C287B}" dt="2022-09-15T15:43:43.484" v="34028" actId="208"/>
          <ac:picMkLst>
            <pc:docMk/>
            <pc:sldMk cId="1212659561" sldId="2147470498"/>
            <ac:picMk id="16" creationId="{17857D5C-D371-FE41-8A80-BAB7F122EBEF}"/>
          </ac:picMkLst>
        </pc:picChg>
        <pc:picChg chg="mod">
          <ac:chgData name="Miranda Quispe, Bruno Sebastian" userId="5df213b2-8b23-43f1-8137-24ac80ef972a" providerId="ADAL" clId="{E965C011-1063-4CD3-8CA5-A8D35C5C287B}" dt="2022-09-15T15:43:43.484" v="34028" actId="208"/>
          <ac:picMkLst>
            <pc:docMk/>
            <pc:sldMk cId="1212659561" sldId="2147470498"/>
            <ac:picMk id="20" creationId="{90837740-E934-B1F7-1E6B-CE402667107D}"/>
          </ac:picMkLst>
        </pc:picChg>
        <pc:picChg chg="mod">
          <ac:chgData name="Miranda Quispe, Bruno Sebastian" userId="5df213b2-8b23-43f1-8137-24ac80ef972a" providerId="ADAL" clId="{E965C011-1063-4CD3-8CA5-A8D35C5C287B}" dt="2022-09-15T15:43:43.484" v="34028" actId="208"/>
          <ac:picMkLst>
            <pc:docMk/>
            <pc:sldMk cId="1212659561" sldId="2147470498"/>
            <ac:picMk id="21" creationId="{0DDEF72E-471B-67F4-21BE-537D0F9C947C}"/>
          </ac:picMkLst>
        </pc:picChg>
        <pc:picChg chg="mod">
          <ac:chgData name="Miranda Quispe, Bruno Sebastian" userId="5df213b2-8b23-43f1-8137-24ac80ef972a" providerId="ADAL" clId="{E965C011-1063-4CD3-8CA5-A8D35C5C287B}" dt="2022-09-15T15:43:43.484" v="34028" actId="208"/>
          <ac:picMkLst>
            <pc:docMk/>
            <pc:sldMk cId="1212659561" sldId="2147470498"/>
            <ac:picMk id="22" creationId="{3735B8B6-842F-50DA-9EB4-574E77DF7FED}"/>
          </ac:picMkLst>
        </pc:picChg>
        <pc:picChg chg="mod">
          <ac:chgData name="Miranda Quispe, Bruno Sebastian" userId="5df213b2-8b23-43f1-8137-24ac80ef972a" providerId="ADAL" clId="{E965C011-1063-4CD3-8CA5-A8D35C5C287B}" dt="2022-09-15T15:43:43.484" v="34028" actId="208"/>
          <ac:picMkLst>
            <pc:docMk/>
            <pc:sldMk cId="1212659561" sldId="2147470498"/>
            <ac:picMk id="24" creationId="{40B1EF4D-D2A3-D581-1D26-250680B3A141}"/>
          </ac:picMkLst>
        </pc:picChg>
        <pc:picChg chg="mod">
          <ac:chgData name="Miranda Quispe, Bruno Sebastian" userId="5df213b2-8b23-43f1-8137-24ac80ef972a" providerId="ADAL" clId="{E965C011-1063-4CD3-8CA5-A8D35C5C287B}" dt="2022-09-15T15:43:43.484" v="34028" actId="208"/>
          <ac:picMkLst>
            <pc:docMk/>
            <pc:sldMk cId="1212659561" sldId="2147470498"/>
            <ac:picMk id="25" creationId="{24096024-A5CF-EC68-2C25-65E638A15A94}"/>
          </ac:picMkLst>
        </pc:picChg>
        <pc:picChg chg="mod">
          <ac:chgData name="Miranda Quispe, Bruno Sebastian" userId="5df213b2-8b23-43f1-8137-24ac80ef972a" providerId="ADAL" clId="{E965C011-1063-4CD3-8CA5-A8D35C5C287B}" dt="2022-09-15T15:43:43.484" v="34028" actId="208"/>
          <ac:picMkLst>
            <pc:docMk/>
            <pc:sldMk cId="1212659561" sldId="2147470498"/>
            <ac:picMk id="26" creationId="{BF97E3A1-497A-FD25-A618-0D9F1AEC6E2A}"/>
          </ac:picMkLst>
        </pc:picChg>
        <pc:picChg chg="mod">
          <ac:chgData name="Miranda Quispe, Bruno Sebastian" userId="5df213b2-8b23-43f1-8137-24ac80ef972a" providerId="ADAL" clId="{E965C011-1063-4CD3-8CA5-A8D35C5C287B}" dt="2022-09-15T15:43:43.484" v="34028" actId="208"/>
          <ac:picMkLst>
            <pc:docMk/>
            <pc:sldMk cId="1212659561" sldId="2147470498"/>
            <ac:picMk id="27" creationId="{20EA4C9F-8E11-174C-1008-BB4B3F1FCAA3}"/>
          </ac:picMkLst>
        </pc:picChg>
        <pc:picChg chg="mod">
          <ac:chgData name="Miranda Quispe, Bruno Sebastian" userId="5df213b2-8b23-43f1-8137-24ac80ef972a" providerId="ADAL" clId="{E965C011-1063-4CD3-8CA5-A8D35C5C287B}" dt="2022-09-15T15:43:43.484" v="34028" actId="208"/>
          <ac:picMkLst>
            <pc:docMk/>
            <pc:sldMk cId="1212659561" sldId="2147470498"/>
            <ac:picMk id="29" creationId="{B28516E6-4E89-90A0-9B47-E062419917AC}"/>
          </ac:picMkLst>
        </pc:picChg>
        <pc:picChg chg="mod">
          <ac:chgData name="Miranda Quispe, Bruno Sebastian" userId="5df213b2-8b23-43f1-8137-24ac80ef972a" providerId="ADAL" clId="{E965C011-1063-4CD3-8CA5-A8D35C5C287B}" dt="2022-09-15T15:43:43.484" v="34028" actId="208"/>
          <ac:picMkLst>
            <pc:docMk/>
            <pc:sldMk cId="1212659561" sldId="2147470498"/>
            <ac:picMk id="33" creationId="{61CA2F33-73F7-0533-4C4B-9A9F0E021FE8}"/>
          </ac:picMkLst>
        </pc:picChg>
        <pc:picChg chg="mod">
          <ac:chgData name="Miranda Quispe, Bruno Sebastian" userId="5df213b2-8b23-43f1-8137-24ac80ef972a" providerId="ADAL" clId="{E965C011-1063-4CD3-8CA5-A8D35C5C287B}" dt="2022-09-15T15:43:43.484" v="34028" actId="208"/>
          <ac:picMkLst>
            <pc:docMk/>
            <pc:sldMk cId="1212659561" sldId="2147470498"/>
            <ac:picMk id="35" creationId="{2DF5ABD9-D597-E558-B6A6-786F2977A8D0}"/>
          </ac:picMkLst>
        </pc:picChg>
        <pc:picChg chg="mod">
          <ac:chgData name="Miranda Quispe, Bruno Sebastian" userId="5df213b2-8b23-43f1-8137-24ac80ef972a" providerId="ADAL" clId="{E965C011-1063-4CD3-8CA5-A8D35C5C287B}" dt="2022-09-15T15:43:43.484" v="34028" actId="208"/>
          <ac:picMkLst>
            <pc:docMk/>
            <pc:sldMk cId="1212659561" sldId="2147470498"/>
            <ac:picMk id="36" creationId="{595BDEEF-2C32-2BAF-6072-7F318041E4D1}"/>
          </ac:picMkLst>
        </pc:picChg>
        <pc:picChg chg="mod">
          <ac:chgData name="Miranda Quispe, Bruno Sebastian" userId="5df213b2-8b23-43f1-8137-24ac80ef972a" providerId="ADAL" clId="{E965C011-1063-4CD3-8CA5-A8D35C5C287B}" dt="2022-09-15T15:43:43.484" v="34028" actId="208"/>
          <ac:picMkLst>
            <pc:docMk/>
            <pc:sldMk cId="1212659561" sldId="2147470498"/>
            <ac:picMk id="37" creationId="{A76A42F7-C142-8154-C687-996625FAF040}"/>
          </ac:picMkLst>
        </pc:picChg>
        <pc:picChg chg="mod">
          <ac:chgData name="Miranda Quispe, Bruno Sebastian" userId="5df213b2-8b23-43f1-8137-24ac80ef972a" providerId="ADAL" clId="{E965C011-1063-4CD3-8CA5-A8D35C5C287B}" dt="2022-09-15T15:43:43.484" v="34028" actId="208"/>
          <ac:picMkLst>
            <pc:docMk/>
            <pc:sldMk cId="1212659561" sldId="2147470498"/>
            <ac:picMk id="42" creationId="{2D0CCFA3-2178-C3D6-DBDB-89CBC04AE473}"/>
          </ac:picMkLst>
        </pc:picChg>
        <pc:picChg chg="mod">
          <ac:chgData name="Miranda Quispe, Bruno Sebastian" userId="5df213b2-8b23-43f1-8137-24ac80ef972a" providerId="ADAL" clId="{E965C011-1063-4CD3-8CA5-A8D35C5C287B}" dt="2022-09-15T15:43:43.484" v="34028" actId="208"/>
          <ac:picMkLst>
            <pc:docMk/>
            <pc:sldMk cId="1212659561" sldId="2147470498"/>
            <ac:picMk id="44" creationId="{289F350D-95EC-A364-FDB9-C5BA90CA4311}"/>
          </ac:picMkLst>
        </pc:picChg>
        <pc:picChg chg="mod">
          <ac:chgData name="Miranda Quispe, Bruno Sebastian" userId="5df213b2-8b23-43f1-8137-24ac80ef972a" providerId="ADAL" clId="{E965C011-1063-4CD3-8CA5-A8D35C5C287B}" dt="2022-09-15T15:43:43.484" v="34028" actId="208"/>
          <ac:picMkLst>
            <pc:docMk/>
            <pc:sldMk cId="1212659561" sldId="2147470498"/>
            <ac:picMk id="46" creationId="{EE9A84DB-A6EB-36D0-8F52-55710CDBE566}"/>
          </ac:picMkLst>
        </pc:picChg>
        <pc:picChg chg="mod">
          <ac:chgData name="Miranda Quispe, Bruno Sebastian" userId="5df213b2-8b23-43f1-8137-24ac80ef972a" providerId="ADAL" clId="{E965C011-1063-4CD3-8CA5-A8D35C5C287B}" dt="2022-09-15T15:43:43.484" v="34028" actId="208"/>
          <ac:picMkLst>
            <pc:docMk/>
            <pc:sldMk cId="1212659561" sldId="2147470498"/>
            <ac:picMk id="48" creationId="{E890964A-999D-5CF3-F1FF-EC085CA860E3}"/>
          </ac:picMkLst>
        </pc:picChg>
        <pc:picChg chg="mod">
          <ac:chgData name="Miranda Quispe, Bruno Sebastian" userId="5df213b2-8b23-43f1-8137-24ac80ef972a" providerId="ADAL" clId="{E965C011-1063-4CD3-8CA5-A8D35C5C287B}" dt="2022-09-15T15:43:43.484" v="34028" actId="208"/>
          <ac:picMkLst>
            <pc:docMk/>
            <pc:sldMk cId="1212659561" sldId="2147470498"/>
            <ac:picMk id="50" creationId="{1008D5B9-1485-DCC9-5F91-ED3A6693F985}"/>
          </ac:picMkLst>
        </pc:picChg>
        <pc:picChg chg="mod">
          <ac:chgData name="Miranda Quispe, Bruno Sebastian" userId="5df213b2-8b23-43f1-8137-24ac80ef972a" providerId="ADAL" clId="{E965C011-1063-4CD3-8CA5-A8D35C5C287B}" dt="2022-09-15T15:43:43.484" v="34028" actId="208"/>
          <ac:picMkLst>
            <pc:docMk/>
            <pc:sldMk cId="1212659561" sldId="2147470498"/>
            <ac:picMk id="52" creationId="{2DE896C6-FC63-51B6-9DFF-75BA41C5E6C1}"/>
          </ac:picMkLst>
        </pc:picChg>
        <pc:picChg chg="mod">
          <ac:chgData name="Miranda Quispe, Bruno Sebastian" userId="5df213b2-8b23-43f1-8137-24ac80ef972a" providerId="ADAL" clId="{E965C011-1063-4CD3-8CA5-A8D35C5C287B}" dt="2022-09-15T15:43:43.484" v="34028" actId="208"/>
          <ac:picMkLst>
            <pc:docMk/>
            <pc:sldMk cId="1212659561" sldId="2147470498"/>
            <ac:picMk id="54" creationId="{6EBAAD1F-E98A-DC92-3235-BC3E13AD429C}"/>
          </ac:picMkLst>
        </pc:picChg>
        <pc:picChg chg="mod">
          <ac:chgData name="Miranda Quispe, Bruno Sebastian" userId="5df213b2-8b23-43f1-8137-24ac80ef972a" providerId="ADAL" clId="{E965C011-1063-4CD3-8CA5-A8D35C5C287B}" dt="2022-09-15T15:43:43.484" v="34028" actId="208"/>
          <ac:picMkLst>
            <pc:docMk/>
            <pc:sldMk cId="1212659561" sldId="2147470498"/>
            <ac:picMk id="56" creationId="{61B6176C-3ADA-A784-0528-8B6CDE5F94D6}"/>
          </ac:picMkLst>
        </pc:picChg>
        <pc:picChg chg="mod">
          <ac:chgData name="Miranda Quispe, Bruno Sebastian" userId="5df213b2-8b23-43f1-8137-24ac80ef972a" providerId="ADAL" clId="{E965C011-1063-4CD3-8CA5-A8D35C5C287B}" dt="2022-09-15T15:43:43.484" v="34028" actId="208"/>
          <ac:picMkLst>
            <pc:docMk/>
            <pc:sldMk cId="1212659561" sldId="2147470498"/>
            <ac:picMk id="58" creationId="{1F40E443-654B-85A6-FC93-BE8F2E0CEE64}"/>
          </ac:picMkLst>
        </pc:picChg>
        <pc:picChg chg="mod">
          <ac:chgData name="Miranda Quispe, Bruno Sebastian" userId="5df213b2-8b23-43f1-8137-24ac80ef972a" providerId="ADAL" clId="{E965C011-1063-4CD3-8CA5-A8D35C5C287B}" dt="2022-09-15T15:43:43.484" v="34028" actId="208"/>
          <ac:picMkLst>
            <pc:docMk/>
            <pc:sldMk cId="1212659561" sldId="2147470498"/>
            <ac:picMk id="61" creationId="{EFAA4C01-B8E9-F9D7-F1A2-9308B1448358}"/>
          </ac:picMkLst>
        </pc:picChg>
        <pc:cxnChg chg="del">
          <ac:chgData name="Miranda Quispe, Bruno Sebastian" userId="5df213b2-8b23-43f1-8137-24ac80ef972a" providerId="ADAL" clId="{E965C011-1063-4CD3-8CA5-A8D35C5C287B}" dt="2022-09-15T15:29:19.829" v="33398" actId="478"/>
          <ac:cxnSpMkLst>
            <pc:docMk/>
            <pc:sldMk cId="1212659561" sldId="2147470498"/>
            <ac:cxnSpMk id="4" creationId="{A4146A74-5A83-1CB8-AAE6-D368E163F31F}"/>
          </ac:cxnSpMkLst>
        </pc:cxnChg>
      </pc:sldChg>
      <pc:sldChg chg="add del">
        <pc:chgData name="Miranda Quispe, Bruno Sebastian" userId="5df213b2-8b23-43f1-8137-24ac80ef972a" providerId="ADAL" clId="{E965C011-1063-4CD3-8CA5-A8D35C5C287B}" dt="2022-09-15T15:40:56.885" v="33971"/>
        <pc:sldMkLst>
          <pc:docMk/>
          <pc:sldMk cId="876098232" sldId="2147470499"/>
        </pc:sldMkLst>
      </pc:sldChg>
      <pc:sldChg chg="addSp delSp modSp add del mod setBg">
        <pc:chgData name="Miranda Quispe, Bruno Sebastian" userId="5df213b2-8b23-43f1-8137-24ac80ef972a" providerId="ADAL" clId="{E965C011-1063-4CD3-8CA5-A8D35C5C287B}" dt="2022-09-15T19:47:13.581" v="34845" actId="20577"/>
        <pc:sldMkLst>
          <pc:docMk/>
          <pc:sldMk cId="3125756300" sldId="2147470499"/>
        </pc:sldMkLst>
        <pc:spChg chg="mod">
          <ac:chgData name="Miranda Quispe, Bruno Sebastian" userId="5df213b2-8b23-43f1-8137-24ac80ef972a" providerId="ADAL" clId="{E965C011-1063-4CD3-8CA5-A8D35C5C287B}" dt="2022-09-15T19:47:13.581" v="34845" actId="20577"/>
          <ac:spMkLst>
            <pc:docMk/>
            <pc:sldMk cId="3125756300" sldId="2147470499"/>
            <ac:spMk id="3" creationId="{2C82129A-8A90-5556-E3C6-11BFFF37C6B9}"/>
          </ac:spMkLst>
        </pc:spChg>
        <pc:spChg chg="del">
          <ac:chgData name="Miranda Quispe, Bruno Sebastian" userId="5df213b2-8b23-43f1-8137-24ac80ef972a" providerId="ADAL" clId="{E965C011-1063-4CD3-8CA5-A8D35C5C287B}" dt="2022-09-15T16:25:50.239" v="34662" actId="478"/>
          <ac:spMkLst>
            <pc:docMk/>
            <pc:sldMk cId="3125756300" sldId="2147470499"/>
            <ac:spMk id="11" creationId="{1694006C-8228-5D0B-DAF7-11B8D13204A4}"/>
          </ac:spMkLst>
        </pc:spChg>
        <pc:spChg chg="del">
          <ac:chgData name="Miranda Quispe, Bruno Sebastian" userId="5df213b2-8b23-43f1-8137-24ac80ef972a" providerId="ADAL" clId="{E965C011-1063-4CD3-8CA5-A8D35C5C287B}" dt="2022-09-15T16:25:46.597" v="34658" actId="478"/>
          <ac:spMkLst>
            <pc:docMk/>
            <pc:sldMk cId="3125756300" sldId="2147470499"/>
            <ac:spMk id="13" creationId="{3C8AFF83-6863-92C3-9533-48D034E95142}"/>
          </ac:spMkLst>
        </pc:spChg>
        <pc:spChg chg="del">
          <ac:chgData name="Miranda Quispe, Bruno Sebastian" userId="5df213b2-8b23-43f1-8137-24ac80ef972a" providerId="ADAL" clId="{E965C011-1063-4CD3-8CA5-A8D35C5C287B}" dt="2022-09-15T16:25:49.072" v="34661" actId="478"/>
          <ac:spMkLst>
            <pc:docMk/>
            <pc:sldMk cId="3125756300" sldId="2147470499"/>
            <ac:spMk id="14" creationId="{F45955B9-ED9C-9A95-3C5E-076F11A38707}"/>
          </ac:spMkLst>
        </pc:spChg>
        <pc:spChg chg="del">
          <ac:chgData name="Miranda Quispe, Bruno Sebastian" userId="5df213b2-8b23-43f1-8137-24ac80ef972a" providerId="ADAL" clId="{E965C011-1063-4CD3-8CA5-A8D35C5C287B}" dt="2022-09-15T16:25:47.915" v="34660" actId="478"/>
          <ac:spMkLst>
            <pc:docMk/>
            <pc:sldMk cId="3125756300" sldId="2147470499"/>
            <ac:spMk id="15" creationId="{229322EB-D6F4-49D7-A3F5-6F210A861A63}"/>
          </ac:spMkLst>
        </pc:spChg>
        <pc:spChg chg="del mod">
          <ac:chgData name="Miranda Quispe, Bruno Sebastian" userId="5df213b2-8b23-43f1-8137-24ac80ef972a" providerId="ADAL" clId="{E965C011-1063-4CD3-8CA5-A8D35C5C287B}" dt="2022-09-15T16:25:47.559" v="34659" actId="478"/>
          <ac:spMkLst>
            <pc:docMk/>
            <pc:sldMk cId="3125756300" sldId="2147470499"/>
            <ac:spMk id="17" creationId="{751C1BCA-B9B2-0428-2D1A-460DD9D038F1}"/>
          </ac:spMkLst>
        </pc:spChg>
        <pc:spChg chg="mod">
          <ac:chgData name="Miranda Quispe, Bruno Sebastian" userId="5df213b2-8b23-43f1-8137-24ac80ef972a" providerId="ADAL" clId="{E965C011-1063-4CD3-8CA5-A8D35C5C287B}" dt="2022-09-15T16:25:54.254" v="34664" actId="6549"/>
          <ac:spMkLst>
            <pc:docMk/>
            <pc:sldMk cId="3125756300" sldId="2147470499"/>
            <ac:spMk id="18" creationId="{A0332872-16A3-B130-CE53-F443640E2F20}"/>
          </ac:spMkLst>
        </pc:spChg>
        <pc:graphicFrameChg chg="add del mod modGraphic">
          <ac:chgData name="Miranda Quispe, Bruno Sebastian" userId="5df213b2-8b23-43f1-8137-24ac80ef972a" providerId="ADAL" clId="{E965C011-1063-4CD3-8CA5-A8D35C5C287B}" dt="2022-09-15T19:44:52.791" v="34786" actId="478"/>
          <ac:graphicFrameMkLst>
            <pc:docMk/>
            <pc:sldMk cId="3125756300" sldId="2147470499"/>
            <ac:graphicFrameMk id="4" creationId="{5C3DE31E-9146-ED35-29CB-4FCA10B371C7}"/>
          </ac:graphicFrameMkLst>
        </pc:graphicFrameChg>
        <pc:graphicFrameChg chg="del">
          <ac:chgData name="Miranda Quispe, Bruno Sebastian" userId="5df213b2-8b23-43f1-8137-24ac80ef972a" providerId="ADAL" clId="{E965C011-1063-4CD3-8CA5-A8D35C5C287B}" dt="2022-09-15T16:25:45.337" v="34657" actId="478"/>
          <ac:graphicFrameMkLst>
            <pc:docMk/>
            <pc:sldMk cId="3125756300" sldId="2147470499"/>
            <ac:graphicFrameMk id="5" creationId="{9153655C-FF46-7ED3-4CFD-2695B1E1962A}"/>
          </ac:graphicFrameMkLst>
        </pc:graphicFrameChg>
        <pc:graphicFrameChg chg="add mod">
          <ac:chgData name="Miranda Quispe, Bruno Sebastian" userId="5df213b2-8b23-43f1-8137-24ac80ef972a" providerId="ADAL" clId="{E965C011-1063-4CD3-8CA5-A8D35C5C287B}" dt="2022-09-15T19:46:30.950" v="34798"/>
          <ac:graphicFrameMkLst>
            <pc:docMk/>
            <pc:sldMk cId="3125756300" sldId="2147470499"/>
            <ac:graphicFrameMk id="6" creationId="{587D34C7-2D87-2FA8-23CC-AAA8DE6B9D90}"/>
          </ac:graphicFrameMkLst>
        </pc:graphicFrameChg>
        <pc:graphicFrameChg chg="del">
          <ac:chgData name="Miranda Quispe, Bruno Sebastian" userId="5df213b2-8b23-43f1-8137-24ac80ef972a" providerId="ADAL" clId="{E965C011-1063-4CD3-8CA5-A8D35C5C287B}" dt="2022-09-15T16:25:44.525" v="34656" actId="478"/>
          <ac:graphicFrameMkLst>
            <pc:docMk/>
            <pc:sldMk cId="3125756300" sldId="2147470499"/>
            <ac:graphicFrameMk id="9" creationId="{6A1D88A8-013B-0BDC-1CE5-57E0F22F5BB8}"/>
          </ac:graphicFrameMkLst>
        </pc:graphicFrameChg>
      </pc:sldChg>
      <pc:sldMasterChg chg="setBg modSldLayout">
        <pc:chgData name="Miranda Quispe, Bruno Sebastian" userId="5df213b2-8b23-43f1-8137-24ac80ef972a" providerId="ADAL" clId="{E965C011-1063-4CD3-8CA5-A8D35C5C287B}" dt="2022-07-25T15:15:46.797" v="379"/>
        <pc:sldMasterMkLst>
          <pc:docMk/>
          <pc:sldMasterMk cId="1208952338" sldId="2147483648"/>
        </pc:sldMasterMkLst>
        <pc:sldLayoutChg chg="setBg">
          <pc:chgData name="Miranda Quispe, Bruno Sebastian" userId="5df213b2-8b23-43f1-8137-24ac80ef972a" providerId="ADAL" clId="{E965C011-1063-4CD3-8CA5-A8D35C5C287B}" dt="2022-07-25T15:15:46.797" v="379"/>
          <pc:sldLayoutMkLst>
            <pc:docMk/>
            <pc:sldMasterMk cId="1208952338" sldId="2147483648"/>
            <pc:sldLayoutMk cId="274648657" sldId="2147483649"/>
          </pc:sldLayoutMkLst>
        </pc:sldLayoutChg>
        <pc:sldLayoutChg chg="setBg">
          <pc:chgData name="Miranda Quispe, Bruno Sebastian" userId="5df213b2-8b23-43f1-8137-24ac80ef972a" providerId="ADAL" clId="{E965C011-1063-4CD3-8CA5-A8D35C5C287B}" dt="2022-07-25T15:15:46.797" v="379"/>
          <pc:sldLayoutMkLst>
            <pc:docMk/>
            <pc:sldMasterMk cId="1208952338" sldId="2147483648"/>
            <pc:sldLayoutMk cId="3214306446" sldId="2147483650"/>
          </pc:sldLayoutMkLst>
        </pc:sldLayoutChg>
        <pc:sldLayoutChg chg="setBg">
          <pc:chgData name="Miranda Quispe, Bruno Sebastian" userId="5df213b2-8b23-43f1-8137-24ac80ef972a" providerId="ADAL" clId="{E965C011-1063-4CD3-8CA5-A8D35C5C287B}" dt="2022-07-25T15:15:46.797" v="379"/>
          <pc:sldLayoutMkLst>
            <pc:docMk/>
            <pc:sldMasterMk cId="1208952338" sldId="2147483648"/>
            <pc:sldLayoutMk cId="3395342462" sldId="2147483652"/>
          </pc:sldLayoutMkLst>
        </pc:sldLayoutChg>
        <pc:sldLayoutChg chg="setBg">
          <pc:chgData name="Miranda Quispe, Bruno Sebastian" userId="5df213b2-8b23-43f1-8137-24ac80ef972a" providerId="ADAL" clId="{E965C011-1063-4CD3-8CA5-A8D35C5C287B}" dt="2022-07-25T15:15:46.797" v="379"/>
          <pc:sldLayoutMkLst>
            <pc:docMk/>
            <pc:sldMasterMk cId="1208952338" sldId="2147483648"/>
            <pc:sldLayoutMk cId="639245535" sldId="2147483654"/>
          </pc:sldLayoutMkLst>
        </pc:sldLayoutChg>
        <pc:sldLayoutChg chg="setBg">
          <pc:chgData name="Miranda Quispe, Bruno Sebastian" userId="5df213b2-8b23-43f1-8137-24ac80ef972a" providerId="ADAL" clId="{E965C011-1063-4CD3-8CA5-A8D35C5C287B}" dt="2022-07-25T15:15:46.797" v="379"/>
          <pc:sldLayoutMkLst>
            <pc:docMk/>
            <pc:sldMasterMk cId="1208952338" sldId="2147483648"/>
            <pc:sldLayoutMk cId="1038273789" sldId="2147483655"/>
          </pc:sldLayoutMkLst>
        </pc:sldLayoutChg>
        <pc:sldLayoutChg chg="setBg">
          <pc:chgData name="Miranda Quispe, Bruno Sebastian" userId="5df213b2-8b23-43f1-8137-24ac80ef972a" providerId="ADAL" clId="{E965C011-1063-4CD3-8CA5-A8D35C5C287B}" dt="2022-07-25T15:15:46.797" v="379"/>
          <pc:sldLayoutMkLst>
            <pc:docMk/>
            <pc:sldMasterMk cId="1208952338" sldId="2147483648"/>
            <pc:sldLayoutMk cId="511064428" sldId="2147483657"/>
          </pc:sldLayoutMkLst>
        </pc:sldLayoutChg>
        <pc:sldLayoutChg chg="setBg">
          <pc:chgData name="Miranda Quispe, Bruno Sebastian" userId="5df213b2-8b23-43f1-8137-24ac80ef972a" providerId="ADAL" clId="{E965C011-1063-4CD3-8CA5-A8D35C5C287B}" dt="2022-07-25T15:15:46.797" v="379"/>
          <pc:sldLayoutMkLst>
            <pc:docMk/>
            <pc:sldMasterMk cId="1208952338" sldId="2147483648"/>
            <pc:sldLayoutMk cId="0" sldId="2147483658"/>
          </pc:sldLayoutMkLst>
        </pc:sldLayoutChg>
        <pc:sldLayoutChg chg="setBg">
          <pc:chgData name="Miranda Quispe, Bruno Sebastian" userId="5df213b2-8b23-43f1-8137-24ac80ef972a" providerId="ADAL" clId="{E965C011-1063-4CD3-8CA5-A8D35C5C287B}" dt="2022-07-25T15:15:46.797" v="379"/>
          <pc:sldLayoutMkLst>
            <pc:docMk/>
            <pc:sldMasterMk cId="1208952338" sldId="2147483648"/>
            <pc:sldLayoutMk cId="2976512440" sldId="2147483659"/>
          </pc:sldLayoutMkLst>
        </pc:sldLayoutChg>
        <pc:sldLayoutChg chg="setBg">
          <pc:chgData name="Miranda Quispe, Bruno Sebastian" userId="5df213b2-8b23-43f1-8137-24ac80ef972a" providerId="ADAL" clId="{E965C011-1063-4CD3-8CA5-A8D35C5C287B}" dt="2022-07-25T15:15:46.797" v="379"/>
          <pc:sldLayoutMkLst>
            <pc:docMk/>
            <pc:sldMasterMk cId="1208952338" sldId="2147483648"/>
            <pc:sldLayoutMk cId="482630304" sldId="2147483660"/>
          </pc:sldLayoutMkLst>
        </pc:sldLayoutChg>
        <pc:sldLayoutChg chg="setBg">
          <pc:chgData name="Miranda Quispe, Bruno Sebastian" userId="5df213b2-8b23-43f1-8137-24ac80ef972a" providerId="ADAL" clId="{E965C011-1063-4CD3-8CA5-A8D35C5C287B}" dt="2022-07-25T15:15:46.797" v="379"/>
          <pc:sldLayoutMkLst>
            <pc:docMk/>
            <pc:sldMasterMk cId="1208952338" sldId="2147483648"/>
            <pc:sldLayoutMk cId="3725999712" sldId="2147483661"/>
          </pc:sldLayoutMkLst>
        </pc:sldLayoutChg>
        <pc:sldLayoutChg chg="setBg">
          <pc:chgData name="Miranda Quispe, Bruno Sebastian" userId="5df213b2-8b23-43f1-8137-24ac80ef972a" providerId="ADAL" clId="{E965C011-1063-4CD3-8CA5-A8D35C5C287B}" dt="2022-07-25T15:15:46.797" v="379"/>
          <pc:sldLayoutMkLst>
            <pc:docMk/>
            <pc:sldMasterMk cId="1208952338" sldId="2147483648"/>
            <pc:sldLayoutMk cId="1127223354" sldId="2147483662"/>
          </pc:sldLayoutMkLst>
        </pc:sldLayoutChg>
        <pc:sldLayoutChg chg="setBg">
          <pc:chgData name="Miranda Quispe, Bruno Sebastian" userId="5df213b2-8b23-43f1-8137-24ac80ef972a" providerId="ADAL" clId="{E965C011-1063-4CD3-8CA5-A8D35C5C287B}" dt="2022-07-25T15:15:46.797" v="379"/>
          <pc:sldLayoutMkLst>
            <pc:docMk/>
            <pc:sldMasterMk cId="1208952338" sldId="2147483648"/>
            <pc:sldLayoutMk cId="2164874782" sldId="2147483663"/>
          </pc:sldLayoutMkLst>
        </pc:sldLayoutChg>
        <pc:sldLayoutChg chg="setBg">
          <pc:chgData name="Miranda Quispe, Bruno Sebastian" userId="5df213b2-8b23-43f1-8137-24ac80ef972a" providerId="ADAL" clId="{E965C011-1063-4CD3-8CA5-A8D35C5C287B}" dt="2022-07-25T15:15:46.797" v="379"/>
          <pc:sldLayoutMkLst>
            <pc:docMk/>
            <pc:sldMasterMk cId="1208952338" sldId="2147483648"/>
            <pc:sldLayoutMk cId="1868546712" sldId="2147483664"/>
          </pc:sldLayoutMkLst>
        </pc:sldLayoutChg>
        <pc:sldLayoutChg chg="setBg">
          <pc:chgData name="Miranda Quispe, Bruno Sebastian" userId="5df213b2-8b23-43f1-8137-24ac80ef972a" providerId="ADAL" clId="{E965C011-1063-4CD3-8CA5-A8D35C5C287B}" dt="2022-07-25T15:15:46.797" v="379"/>
          <pc:sldLayoutMkLst>
            <pc:docMk/>
            <pc:sldMasterMk cId="1208952338" sldId="2147483648"/>
            <pc:sldLayoutMk cId="1153407739" sldId="2147483665"/>
          </pc:sldLayoutMkLst>
        </pc:sldLayoutChg>
        <pc:sldLayoutChg chg="setBg">
          <pc:chgData name="Miranda Quispe, Bruno Sebastian" userId="5df213b2-8b23-43f1-8137-24ac80ef972a" providerId="ADAL" clId="{E965C011-1063-4CD3-8CA5-A8D35C5C287B}" dt="2022-07-25T15:15:46.797" v="379"/>
          <pc:sldLayoutMkLst>
            <pc:docMk/>
            <pc:sldMasterMk cId="1208952338" sldId="2147483648"/>
            <pc:sldLayoutMk cId="4278194322" sldId="2147483670"/>
          </pc:sldLayoutMkLst>
        </pc:sldLayoutChg>
      </pc:sldMasterChg>
      <pc:sldMasterChg chg="setBg delSldLayout modSldLayout">
        <pc:chgData name="Miranda Quispe, Bruno Sebastian" userId="5df213b2-8b23-43f1-8137-24ac80ef972a" providerId="ADAL" clId="{E965C011-1063-4CD3-8CA5-A8D35C5C287B}" dt="2022-08-29T20:48:36.914" v="18879" actId="47"/>
        <pc:sldMasterMkLst>
          <pc:docMk/>
          <pc:sldMasterMk cId="1552149400" sldId="2147483672"/>
        </pc:sldMasterMkLst>
        <pc:sldLayoutChg chg="setBg">
          <pc:chgData name="Miranda Quispe, Bruno Sebastian" userId="5df213b2-8b23-43f1-8137-24ac80ef972a" providerId="ADAL" clId="{E965C011-1063-4CD3-8CA5-A8D35C5C287B}" dt="2022-07-25T15:15:46.797" v="379"/>
          <pc:sldLayoutMkLst>
            <pc:docMk/>
            <pc:sldMasterMk cId="1552149400" sldId="2147483672"/>
            <pc:sldLayoutMk cId="360049769" sldId="2147483673"/>
          </pc:sldLayoutMkLst>
        </pc:sldLayoutChg>
        <pc:sldLayoutChg chg="setBg">
          <pc:chgData name="Miranda Quispe, Bruno Sebastian" userId="5df213b2-8b23-43f1-8137-24ac80ef972a" providerId="ADAL" clId="{E965C011-1063-4CD3-8CA5-A8D35C5C287B}" dt="2022-07-25T15:15:46.797" v="379"/>
          <pc:sldLayoutMkLst>
            <pc:docMk/>
            <pc:sldMasterMk cId="1552149400" sldId="2147483672"/>
            <pc:sldLayoutMk cId="2871131992" sldId="2147483674"/>
          </pc:sldLayoutMkLst>
        </pc:sldLayoutChg>
        <pc:sldLayoutChg chg="setBg">
          <pc:chgData name="Miranda Quispe, Bruno Sebastian" userId="5df213b2-8b23-43f1-8137-24ac80ef972a" providerId="ADAL" clId="{E965C011-1063-4CD3-8CA5-A8D35C5C287B}" dt="2022-07-25T15:15:46.797" v="379"/>
          <pc:sldLayoutMkLst>
            <pc:docMk/>
            <pc:sldMasterMk cId="1552149400" sldId="2147483672"/>
            <pc:sldLayoutMk cId="630737652" sldId="2147483675"/>
          </pc:sldLayoutMkLst>
        </pc:sldLayoutChg>
        <pc:sldLayoutChg chg="setBg">
          <pc:chgData name="Miranda Quispe, Bruno Sebastian" userId="5df213b2-8b23-43f1-8137-24ac80ef972a" providerId="ADAL" clId="{E965C011-1063-4CD3-8CA5-A8D35C5C287B}" dt="2022-07-25T15:15:46.797" v="379"/>
          <pc:sldLayoutMkLst>
            <pc:docMk/>
            <pc:sldMasterMk cId="1552149400" sldId="2147483672"/>
            <pc:sldLayoutMk cId="338516313" sldId="2147483676"/>
          </pc:sldLayoutMkLst>
        </pc:sldLayoutChg>
        <pc:sldLayoutChg chg="setBg">
          <pc:chgData name="Miranda Quispe, Bruno Sebastian" userId="5df213b2-8b23-43f1-8137-24ac80ef972a" providerId="ADAL" clId="{E965C011-1063-4CD3-8CA5-A8D35C5C287B}" dt="2022-07-25T15:15:46.797" v="379"/>
          <pc:sldLayoutMkLst>
            <pc:docMk/>
            <pc:sldMasterMk cId="1552149400" sldId="2147483672"/>
            <pc:sldLayoutMk cId="317801958" sldId="2147483677"/>
          </pc:sldLayoutMkLst>
        </pc:sldLayoutChg>
        <pc:sldLayoutChg chg="setBg">
          <pc:chgData name="Miranda Quispe, Bruno Sebastian" userId="5df213b2-8b23-43f1-8137-24ac80ef972a" providerId="ADAL" clId="{E965C011-1063-4CD3-8CA5-A8D35C5C287B}" dt="2022-07-25T15:15:46.797" v="379"/>
          <pc:sldLayoutMkLst>
            <pc:docMk/>
            <pc:sldMasterMk cId="1552149400" sldId="2147483672"/>
            <pc:sldLayoutMk cId="3430531572" sldId="2147483678"/>
          </pc:sldLayoutMkLst>
        </pc:sldLayoutChg>
        <pc:sldLayoutChg chg="setBg">
          <pc:chgData name="Miranda Quispe, Bruno Sebastian" userId="5df213b2-8b23-43f1-8137-24ac80ef972a" providerId="ADAL" clId="{E965C011-1063-4CD3-8CA5-A8D35C5C287B}" dt="2022-07-25T15:15:46.797" v="379"/>
          <pc:sldLayoutMkLst>
            <pc:docMk/>
            <pc:sldMasterMk cId="1552149400" sldId="2147483672"/>
            <pc:sldLayoutMk cId="908777386" sldId="2147483679"/>
          </pc:sldLayoutMkLst>
        </pc:sldLayoutChg>
        <pc:sldLayoutChg chg="setBg">
          <pc:chgData name="Miranda Quispe, Bruno Sebastian" userId="5df213b2-8b23-43f1-8137-24ac80ef972a" providerId="ADAL" clId="{E965C011-1063-4CD3-8CA5-A8D35C5C287B}" dt="2022-07-25T15:15:46.797" v="379"/>
          <pc:sldLayoutMkLst>
            <pc:docMk/>
            <pc:sldMasterMk cId="1552149400" sldId="2147483672"/>
            <pc:sldLayoutMk cId="2125061110" sldId="2147483680"/>
          </pc:sldLayoutMkLst>
        </pc:sldLayoutChg>
        <pc:sldLayoutChg chg="setBg">
          <pc:chgData name="Miranda Quispe, Bruno Sebastian" userId="5df213b2-8b23-43f1-8137-24ac80ef972a" providerId="ADAL" clId="{E965C011-1063-4CD3-8CA5-A8D35C5C287B}" dt="2022-07-25T15:15:46.797" v="379"/>
          <pc:sldLayoutMkLst>
            <pc:docMk/>
            <pc:sldMasterMk cId="1552149400" sldId="2147483672"/>
            <pc:sldLayoutMk cId="1634572651" sldId="2147483681"/>
          </pc:sldLayoutMkLst>
        </pc:sldLayoutChg>
        <pc:sldLayoutChg chg="setBg">
          <pc:chgData name="Miranda Quispe, Bruno Sebastian" userId="5df213b2-8b23-43f1-8137-24ac80ef972a" providerId="ADAL" clId="{E965C011-1063-4CD3-8CA5-A8D35C5C287B}" dt="2022-07-25T15:15:46.797" v="379"/>
          <pc:sldLayoutMkLst>
            <pc:docMk/>
            <pc:sldMasterMk cId="1552149400" sldId="2147483672"/>
            <pc:sldLayoutMk cId="500013663" sldId="2147483682"/>
          </pc:sldLayoutMkLst>
        </pc:sldLayoutChg>
        <pc:sldLayoutChg chg="setBg">
          <pc:chgData name="Miranda Quispe, Bruno Sebastian" userId="5df213b2-8b23-43f1-8137-24ac80ef972a" providerId="ADAL" clId="{E965C011-1063-4CD3-8CA5-A8D35C5C287B}" dt="2022-07-25T15:15:46.797" v="379"/>
          <pc:sldLayoutMkLst>
            <pc:docMk/>
            <pc:sldMasterMk cId="1552149400" sldId="2147483672"/>
            <pc:sldLayoutMk cId="3520013486" sldId="2147483683"/>
          </pc:sldLayoutMkLst>
        </pc:sldLayoutChg>
        <pc:sldLayoutChg chg="setBg">
          <pc:chgData name="Miranda Quispe, Bruno Sebastian" userId="5df213b2-8b23-43f1-8137-24ac80ef972a" providerId="ADAL" clId="{E965C011-1063-4CD3-8CA5-A8D35C5C287B}" dt="2022-07-25T15:15:46.797" v="379"/>
          <pc:sldLayoutMkLst>
            <pc:docMk/>
            <pc:sldMasterMk cId="1552149400" sldId="2147483672"/>
            <pc:sldLayoutMk cId="872895212" sldId="2147483684"/>
          </pc:sldLayoutMkLst>
        </pc:sldLayoutChg>
        <pc:sldLayoutChg chg="setBg">
          <pc:chgData name="Miranda Quispe, Bruno Sebastian" userId="5df213b2-8b23-43f1-8137-24ac80ef972a" providerId="ADAL" clId="{E965C011-1063-4CD3-8CA5-A8D35C5C287B}" dt="2022-07-25T15:15:46.797" v="379"/>
          <pc:sldLayoutMkLst>
            <pc:docMk/>
            <pc:sldMasterMk cId="1552149400" sldId="2147483672"/>
            <pc:sldLayoutMk cId="3425345811" sldId="2147483685"/>
          </pc:sldLayoutMkLst>
        </pc:sldLayoutChg>
        <pc:sldLayoutChg chg="setBg">
          <pc:chgData name="Miranda Quispe, Bruno Sebastian" userId="5df213b2-8b23-43f1-8137-24ac80ef972a" providerId="ADAL" clId="{E965C011-1063-4CD3-8CA5-A8D35C5C287B}" dt="2022-07-25T15:15:46.797" v="379"/>
          <pc:sldLayoutMkLst>
            <pc:docMk/>
            <pc:sldMasterMk cId="1552149400" sldId="2147483672"/>
            <pc:sldLayoutMk cId="1082385878" sldId="2147483686"/>
          </pc:sldLayoutMkLst>
        </pc:sldLayoutChg>
        <pc:sldLayoutChg chg="setBg">
          <pc:chgData name="Miranda Quispe, Bruno Sebastian" userId="5df213b2-8b23-43f1-8137-24ac80ef972a" providerId="ADAL" clId="{E965C011-1063-4CD3-8CA5-A8D35C5C287B}" dt="2022-07-25T15:15:46.797" v="379"/>
          <pc:sldLayoutMkLst>
            <pc:docMk/>
            <pc:sldMasterMk cId="1552149400" sldId="2147483672"/>
            <pc:sldLayoutMk cId="3260444783" sldId="2147483687"/>
          </pc:sldLayoutMkLst>
        </pc:sldLayoutChg>
        <pc:sldLayoutChg chg="setBg">
          <pc:chgData name="Miranda Quispe, Bruno Sebastian" userId="5df213b2-8b23-43f1-8137-24ac80ef972a" providerId="ADAL" clId="{E965C011-1063-4CD3-8CA5-A8D35C5C287B}" dt="2022-07-25T15:15:46.797" v="379"/>
          <pc:sldLayoutMkLst>
            <pc:docMk/>
            <pc:sldMasterMk cId="1552149400" sldId="2147483672"/>
            <pc:sldLayoutMk cId="2007162764" sldId="2147483688"/>
          </pc:sldLayoutMkLst>
        </pc:sldLayoutChg>
        <pc:sldLayoutChg chg="setBg">
          <pc:chgData name="Miranda Quispe, Bruno Sebastian" userId="5df213b2-8b23-43f1-8137-24ac80ef972a" providerId="ADAL" clId="{E965C011-1063-4CD3-8CA5-A8D35C5C287B}" dt="2022-07-25T15:15:46.797" v="379"/>
          <pc:sldLayoutMkLst>
            <pc:docMk/>
            <pc:sldMasterMk cId="1552149400" sldId="2147483672"/>
            <pc:sldLayoutMk cId="3617850319" sldId="2147483689"/>
          </pc:sldLayoutMkLst>
        </pc:sldLayoutChg>
        <pc:sldLayoutChg chg="setBg">
          <pc:chgData name="Miranda Quispe, Bruno Sebastian" userId="5df213b2-8b23-43f1-8137-24ac80ef972a" providerId="ADAL" clId="{E965C011-1063-4CD3-8CA5-A8D35C5C287B}" dt="2022-07-25T15:15:46.797" v="379"/>
          <pc:sldLayoutMkLst>
            <pc:docMk/>
            <pc:sldMasterMk cId="1552149400" sldId="2147483672"/>
            <pc:sldLayoutMk cId="2863293475" sldId="2147483690"/>
          </pc:sldLayoutMkLst>
        </pc:sldLayoutChg>
        <pc:sldLayoutChg chg="setBg">
          <pc:chgData name="Miranda Quispe, Bruno Sebastian" userId="5df213b2-8b23-43f1-8137-24ac80ef972a" providerId="ADAL" clId="{E965C011-1063-4CD3-8CA5-A8D35C5C287B}" dt="2022-07-25T15:15:46.797" v="379"/>
          <pc:sldLayoutMkLst>
            <pc:docMk/>
            <pc:sldMasterMk cId="1552149400" sldId="2147483672"/>
            <pc:sldLayoutMk cId="1568050813" sldId="2147483691"/>
          </pc:sldLayoutMkLst>
        </pc:sldLayoutChg>
        <pc:sldLayoutChg chg="setBg">
          <pc:chgData name="Miranda Quispe, Bruno Sebastian" userId="5df213b2-8b23-43f1-8137-24ac80ef972a" providerId="ADAL" clId="{E965C011-1063-4CD3-8CA5-A8D35C5C287B}" dt="2022-07-25T15:15:46.797" v="379"/>
          <pc:sldLayoutMkLst>
            <pc:docMk/>
            <pc:sldMasterMk cId="1552149400" sldId="2147483672"/>
            <pc:sldLayoutMk cId="1067663937" sldId="2147483692"/>
          </pc:sldLayoutMkLst>
        </pc:sldLayoutChg>
        <pc:sldLayoutChg chg="del setBg">
          <pc:chgData name="Miranda Quispe, Bruno Sebastian" userId="5df213b2-8b23-43f1-8137-24ac80ef972a" providerId="ADAL" clId="{E965C011-1063-4CD3-8CA5-A8D35C5C287B}" dt="2022-08-29T20:48:36.914" v="18879" actId="47"/>
          <pc:sldLayoutMkLst>
            <pc:docMk/>
            <pc:sldMasterMk cId="1552149400" sldId="2147483672"/>
            <pc:sldLayoutMk cId="2603121408" sldId="2147483693"/>
          </pc:sldLayoutMkLst>
        </pc:sldLayoutChg>
        <pc:sldLayoutChg chg="setBg">
          <pc:chgData name="Miranda Quispe, Bruno Sebastian" userId="5df213b2-8b23-43f1-8137-24ac80ef972a" providerId="ADAL" clId="{E965C011-1063-4CD3-8CA5-A8D35C5C287B}" dt="2022-07-25T15:15:46.797" v="379"/>
          <pc:sldLayoutMkLst>
            <pc:docMk/>
            <pc:sldMasterMk cId="1552149400" sldId="2147483672"/>
            <pc:sldLayoutMk cId="1337319514" sldId="2147483694"/>
          </pc:sldLayoutMkLst>
        </pc:sldLayoutChg>
      </pc:sldMasterChg>
    </pc:docChg>
  </pc:docChgLst>
  <pc:docChgLst>
    <pc:chgData name="Bruno Sebastian Miranda Quispe" userId="5df213b2-8b23-43f1-8137-24ac80ef972a" providerId="ADAL" clId="{0CC5D79D-1698-4B08-9DC2-C5FFB73AAEB6}"/>
    <pc:docChg chg="modSld">
      <pc:chgData name="Bruno Sebastian Miranda Quispe" userId="5df213b2-8b23-43f1-8137-24ac80ef972a" providerId="ADAL" clId="{0CC5D79D-1698-4B08-9DC2-C5FFB73AAEB6}" dt="2022-07-21T16:17:09.849" v="0" actId="14100"/>
      <pc:docMkLst>
        <pc:docMk/>
      </pc:docMkLst>
      <pc:sldChg chg="modSp mod">
        <pc:chgData name="Bruno Sebastian Miranda Quispe" userId="5df213b2-8b23-43f1-8137-24ac80ef972a" providerId="ADAL" clId="{0CC5D79D-1698-4B08-9DC2-C5FFB73AAEB6}" dt="2022-07-21T16:17:09.849" v="0" actId="14100"/>
        <pc:sldMkLst>
          <pc:docMk/>
          <pc:sldMk cId="678356737" sldId="13085"/>
        </pc:sldMkLst>
        <pc:spChg chg="mod">
          <ac:chgData name="Bruno Sebastian Miranda Quispe" userId="5df213b2-8b23-43f1-8137-24ac80ef972a" providerId="ADAL" clId="{0CC5D79D-1698-4B08-9DC2-C5FFB73AAEB6}" dt="2022-07-21T16:17:09.849" v="0" actId="14100"/>
          <ac:spMkLst>
            <pc:docMk/>
            <pc:sldMk cId="678356737" sldId="13085"/>
            <ac:spMk id="19" creationId="{8EE7BEF4-8743-4C5A-87DC-3164C10F0E25}"/>
          </ac:spMkLst>
        </pc:spChg>
      </pc:sldChg>
    </pc:docChg>
  </pc:docChgLst>
  <pc:docChgLst>
    <pc:chgData name="Bruno Sebastian Miranda Quispe" userId="5df213b2-8b23-43f1-8137-24ac80ef972a" providerId="ADAL" clId="{E965C011-1063-4CD3-8CA5-A8D35C5C287B}"/>
    <pc:docChg chg="undo custSel addSld delSld modSld sldOrd">
      <pc:chgData name="Bruno Sebastian Miranda Quispe" userId="5df213b2-8b23-43f1-8137-24ac80ef972a" providerId="ADAL" clId="{E965C011-1063-4CD3-8CA5-A8D35C5C287B}" dt="2022-08-12T21:18:58.514" v="1407" actId="14734"/>
      <pc:docMkLst>
        <pc:docMk/>
      </pc:docMkLst>
      <pc:sldChg chg="addSp delSp modSp mod">
        <pc:chgData name="Bruno Sebastian Miranda Quispe" userId="5df213b2-8b23-43f1-8137-24ac80ef972a" providerId="ADAL" clId="{E965C011-1063-4CD3-8CA5-A8D35C5C287B}" dt="2022-08-12T14:06:50.310" v="22" actId="1076"/>
        <pc:sldMkLst>
          <pc:docMk/>
          <pc:sldMk cId="1310895184" sldId="2147470442"/>
        </pc:sldMkLst>
        <pc:spChg chg="mod">
          <ac:chgData name="Bruno Sebastian Miranda Quispe" userId="5df213b2-8b23-43f1-8137-24ac80ef972a" providerId="ADAL" clId="{E965C011-1063-4CD3-8CA5-A8D35C5C287B}" dt="2022-08-12T14:06:37.030" v="18" actId="14100"/>
          <ac:spMkLst>
            <pc:docMk/>
            <pc:sldMk cId="1310895184" sldId="2147470442"/>
            <ac:spMk id="10" creationId="{195EAAD8-42C0-68FC-D170-CA3B4A61E07A}"/>
          </ac:spMkLst>
        </pc:spChg>
        <pc:spChg chg="mod">
          <ac:chgData name="Bruno Sebastian Miranda Quispe" userId="5df213b2-8b23-43f1-8137-24ac80ef972a" providerId="ADAL" clId="{E965C011-1063-4CD3-8CA5-A8D35C5C287B}" dt="2022-08-12T14:06:50.310" v="22" actId="1076"/>
          <ac:spMkLst>
            <pc:docMk/>
            <pc:sldMk cId="1310895184" sldId="2147470442"/>
            <ac:spMk id="11" creationId="{679656A9-4A68-40D3-E52C-9D3BB5555F4D}"/>
          </ac:spMkLst>
        </pc:spChg>
        <pc:grpChg chg="add del mod">
          <ac:chgData name="Bruno Sebastian Miranda Quispe" userId="5df213b2-8b23-43f1-8137-24ac80ef972a" providerId="ADAL" clId="{E965C011-1063-4CD3-8CA5-A8D35C5C287B}" dt="2022-08-12T14:06:45.399" v="20" actId="14100"/>
          <ac:grpSpMkLst>
            <pc:docMk/>
            <pc:sldMk cId="1310895184" sldId="2147470442"/>
            <ac:grpSpMk id="6" creationId="{FCD07EFC-C0CA-4D01-F3D3-753951FE8D93}"/>
          </ac:grpSpMkLst>
        </pc:grpChg>
        <pc:picChg chg="add del">
          <ac:chgData name="Bruno Sebastian Miranda Quispe" userId="5df213b2-8b23-43f1-8137-24ac80ef972a" providerId="ADAL" clId="{E965C011-1063-4CD3-8CA5-A8D35C5C287B}" dt="2022-08-12T14:05:49.559" v="2" actId="22"/>
          <ac:picMkLst>
            <pc:docMk/>
            <pc:sldMk cId="1310895184" sldId="2147470442"/>
            <ac:picMk id="5" creationId="{DD28A698-DAA5-B9E7-E94F-8E073C3201F8}"/>
          </ac:picMkLst>
        </pc:picChg>
        <pc:picChg chg="del mod">
          <ac:chgData name="Bruno Sebastian Miranda Quispe" userId="5df213b2-8b23-43f1-8137-24ac80ef972a" providerId="ADAL" clId="{E965C011-1063-4CD3-8CA5-A8D35C5C287B}" dt="2022-08-12T14:06:08.079" v="8" actId="478"/>
          <ac:picMkLst>
            <pc:docMk/>
            <pc:sldMk cId="1310895184" sldId="2147470442"/>
            <ac:picMk id="9" creationId="{21435AA8-6FDF-4DA4-E5F2-72ECABB06FE8}"/>
          </ac:picMkLst>
        </pc:picChg>
        <pc:picChg chg="add mod ord">
          <ac:chgData name="Bruno Sebastian Miranda Quispe" userId="5df213b2-8b23-43f1-8137-24ac80ef972a" providerId="ADAL" clId="{E965C011-1063-4CD3-8CA5-A8D35C5C287B}" dt="2022-08-12T14:06:25.869" v="14" actId="1076"/>
          <ac:picMkLst>
            <pc:docMk/>
            <pc:sldMk cId="1310895184" sldId="2147470442"/>
            <ac:picMk id="15" creationId="{23813E9C-B328-54FD-921E-D2CA71A9B1B7}"/>
          </ac:picMkLst>
        </pc:picChg>
        <pc:cxnChg chg="mod">
          <ac:chgData name="Bruno Sebastian Miranda Quispe" userId="5df213b2-8b23-43f1-8137-24ac80ef972a" providerId="ADAL" clId="{E965C011-1063-4CD3-8CA5-A8D35C5C287B}" dt="2022-08-12T14:06:50.310" v="22" actId="1076"/>
          <ac:cxnSpMkLst>
            <pc:docMk/>
            <pc:sldMk cId="1310895184" sldId="2147470442"/>
            <ac:cxnSpMk id="8" creationId="{D22C9042-3CE1-1573-296F-D62ABFE9F18A}"/>
          </ac:cxnSpMkLst>
        </pc:cxnChg>
      </pc:sldChg>
      <pc:sldChg chg="addSp delSp modSp mod setBg">
        <pc:chgData name="Bruno Sebastian Miranda Quispe" userId="5df213b2-8b23-43f1-8137-24ac80ef972a" providerId="ADAL" clId="{E965C011-1063-4CD3-8CA5-A8D35C5C287B}" dt="2022-08-12T20:57:06.142" v="1363" actId="1076"/>
        <pc:sldMkLst>
          <pc:docMk/>
          <pc:sldMk cId="2757201866" sldId="2147470443"/>
        </pc:sldMkLst>
        <pc:spChg chg="mod">
          <ac:chgData name="Bruno Sebastian Miranda Quispe" userId="5df213b2-8b23-43f1-8137-24ac80ef972a" providerId="ADAL" clId="{E965C011-1063-4CD3-8CA5-A8D35C5C287B}" dt="2022-08-12T17:45:00.443" v="876" actId="20577"/>
          <ac:spMkLst>
            <pc:docMk/>
            <pc:sldMk cId="2757201866" sldId="2147470443"/>
            <ac:spMk id="5" creationId="{FE09F5BA-278A-94CD-2272-B8A426186E21}"/>
          </ac:spMkLst>
        </pc:spChg>
        <pc:spChg chg="mod">
          <ac:chgData name="Bruno Sebastian Miranda Quispe" userId="5df213b2-8b23-43f1-8137-24ac80ef972a" providerId="ADAL" clId="{E965C011-1063-4CD3-8CA5-A8D35C5C287B}" dt="2022-08-12T17:29:23.663" v="320" actId="20577"/>
          <ac:spMkLst>
            <pc:docMk/>
            <pc:sldMk cId="2757201866" sldId="2147470443"/>
            <ac:spMk id="17" creationId="{E6E3C68F-A397-204B-0ECE-EB88F2205ACD}"/>
          </ac:spMkLst>
        </pc:spChg>
        <pc:spChg chg="del mod">
          <ac:chgData name="Bruno Sebastian Miranda Quispe" userId="5df213b2-8b23-43f1-8137-24ac80ef972a" providerId="ADAL" clId="{E965C011-1063-4CD3-8CA5-A8D35C5C287B}" dt="2022-08-12T17:48:17.483" v="987" actId="478"/>
          <ac:spMkLst>
            <pc:docMk/>
            <pc:sldMk cId="2757201866" sldId="2147470443"/>
            <ac:spMk id="18" creationId="{889C0D9A-6B3C-BA1B-B887-D1C25A08A477}"/>
          </ac:spMkLst>
        </pc:spChg>
        <pc:spChg chg="mod">
          <ac:chgData name="Bruno Sebastian Miranda Quispe" userId="5df213b2-8b23-43f1-8137-24ac80ef972a" providerId="ADAL" clId="{E965C011-1063-4CD3-8CA5-A8D35C5C287B}" dt="2022-08-12T17:22:21.882" v="113" actId="1076"/>
          <ac:spMkLst>
            <pc:docMk/>
            <pc:sldMk cId="2757201866" sldId="2147470443"/>
            <ac:spMk id="19" creationId="{B463160D-17A7-09D5-F4B7-F6049223FEE4}"/>
          </ac:spMkLst>
        </pc:spChg>
        <pc:spChg chg="mod">
          <ac:chgData name="Bruno Sebastian Miranda Quispe" userId="5df213b2-8b23-43f1-8137-24ac80ef972a" providerId="ADAL" clId="{E965C011-1063-4CD3-8CA5-A8D35C5C287B}" dt="2022-08-12T17:22:00.735" v="105" actId="14100"/>
          <ac:spMkLst>
            <pc:docMk/>
            <pc:sldMk cId="2757201866" sldId="2147470443"/>
            <ac:spMk id="21" creationId="{30F02C2B-9B00-21F6-2F3C-F99911176DD6}"/>
          </ac:spMkLst>
        </pc:spChg>
        <pc:spChg chg="del mod">
          <ac:chgData name="Bruno Sebastian Miranda Quispe" userId="5df213b2-8b23-43f1-8137-24ac80ef972a" providerId="ADAL" clId="{E965C011-1063-4CD3-8CA5-A8D35C5C287B}" dt="2022-08-12T17:48:31.163" v="990" actId="478"/>
          <ac:spMkLst>
            <pc:docMk/>
            <pc:sldMk cId="2757201866" sldId="2147470443"/>
            <ac:spMk id="23" creationId="{F46F56C1-C562-5955-0C0C-74F9F46E7B68}"/>
          </ac:spMkLst>
        </pc:spChg>
        <pc:spChg chg="add mod">
          <ac:chgData name="Bruno Sebastian Miranda Quispe" userId="5df213b2-8b23-43f1-8137-24ac80ef972a" providerId="ADAL" clId="{E965C011-1063-4CD3-8CA5-A8D35C5C287B}" dt="2022-08-12T17:33:42.154" v="385" actId="20577"/>
          <ac:spMkLst>
            <pc:docMk/>
            <pc:sldMk cId="2757201866" sldId="2147470443"/>
            <ac:spMk id="25" creationId="{6469420D-2CCD-C36E-CB13-AB15DD5536E9}"/>
          </ac:spMkLst>
        </pc:spChg>
        <pc:spChg chg="add del mod">
          <ac:chgData name="Bruno Sebastian Miranda Quispe" userId="5df213b2-8b23-43f1-8137-24ac80ef972a" providerId="ADAL" clId="{E965C011-1063-4CD3-8CA5-A8D35C5C287B}" dt="2022-08-12T17:35:07.358" v="393"/>
          <ac:spMkLst>
            <pc:docMk/>
            <pc:sldMk cId="2757201866" sldId="2147470443"/>
            <ac:spMk id="26" creationId="{DA6FAD8C-C8FC-ACFD-32E8-51592811C9C4}"/>
          </ac:spMkLst>
        </pc:spChg>
        <pc:spChg chg="add mod">
          <ac:chgData name="Bruno Sebastian Miranda Quispe" userId="5df213b2-8b23-43f1-8137-24ac80ef972a" providerId="ADAL" clId="{E965C011-1063-4CD3-8CA5-A8D35C5C287B}" dt="2022-08-12T17:35:25.183" v="396" actId="14100"/>
          <ac:spMkLst>
            <pc:docMk/>
            <pc:sldMk cId="2757201866" sldId="2147470443"/>
            <ac:spMk id="27" creationId="{3F6A77E2-10A5-A2D7-86E2-F5D54C562811}"/>
          </ac:spMkLst>
        </pc:spChg>
        <pc:spChg chg="add mod">
          <ac:chgData name="Bruno Sebastian Miranda Quispe" userId="5df213b2-8b23-43f1-8137-24ac80ef972a" providerId="ADAL" clId="{E965C011-1063-4CD3-8CA5-A8D35C5C287B}" dt="2022-08-12T17:48:18.113" v="988"/>
          <ac:spMkLst>
            <pc:docMk/>
            <pc:sldMk cId="2757201866" sldId="2147470443"/>
            <ac:spMk id="28" creationId="{B7C2128E-0EE5-0DB4-991A-36B75B0FF95C}"/>
          </ac:spMkLst>
        </pc:spChg>
        <pc:spChg chg="add mod">
          <ac:chgData name="Bruno Sebastian Miranda Quispe" userId="5df213b2-8b23-43f1-8137-24ac80ef972a" providerId="ADAL" clId="{E965C011-1063-4CD3-8CA5-A8D35C5C287B}" dt="2022-08-12T20:57:06.142" v="1363" actId="1076"/>
          <ac:spMkLst>
            <pc:docMk/>
            <pc:sldMk cId="2757201866" sldId="2147470443"/>
            <ac:spMk id="29" creationId="{CB1E06FA-FFC9-DDC3-C064-AE0E17A356E6}"/>
          </ac:spMkLst>
        </pc:spChg>
        <pc:grpChg chg="del">
          <ac:chgData name="Bruno Sebastian Miranda Quispe" userId="5df213b2-8b23-43f1-8137-24ac80ef972a" providerId="ADAL" clId="{E965C011-1063-4CD3-8CA5-A8D35C5C287B}" dt="2022-08-12T14:20:09.873" v="25" actId="478"/>
          <ac:grpSpMkLst>
            <pc:docMk/>
            <pc:sldMk cId="2757201866" sldId="2147470443"/>
            <ac:grpSpMk id="10" creationId="{C1F2C430-EE7C-9EED-FB9C-FDD68AA490EB}"/>
          </ac:grpSpMkLst>
        </pc:grpChg>
        <pc:grpChg chg="del">
          <ac:chgData name="Bruno Sebastian Miranda Quispe" userId="5df213b2-8b23-43f1-8137-24ac80ef972a" providerId="ADAL" clId="{E965C011-1063-4CD3-8CA5-A8D35C5C287B}" dt="2022-08-12T14:20:08.842" v="24" actId="478"/>
          <ac:grpSpMkLst>
            <pc:docMk/>
            <pc:sldMk cId="2757201866" sldId="2147470443"/>
            <ac:grpSpMk id="16" creationId="{AB22F153-80A7-5BB5-5195-08CA7B2168BD}"/>
          </ac:grpSpMkLst>
        </pc:grpChg>
        <pc:graphicFrameChg chg="add del mod">
          <ac:chgData name="Bruno Sebastian Miranda Quispe" userId="5df213b2-8b23-43f1-8137-24ac80ef972a" providerId="ADAL" clId="{E965C011-1063-4CD3-8CA5-A8D35C5C287B}" dt="2022-08-12T14:23:42.990" v="31" actId="478"/>
          <ac:graphicFrameMkLst>
            <pc:docMk/>
            <pc:sldMk cId="2757201866" sldId="2147470443"/>
            <ac:graphicFrameMk id="3" creationId="{0961AC57-461A-8232-B02E-39BE7B3FECA0}"/>
          </ac:graphicFrameMkLst>
        </pc:graphicFrameChg>
        <pc:graphicFrameChg chg="add del mod modGraphic">
          <ac:chgData name="Bruno Sebastian Miranda Quispe" userId="5df213b2-8b23-43f1-8137-24ac80ef972a" providerId="ADAL" clId="{E965C011-1063-4CD3-8CA5-A8D35C5C287B}" dt="2022-08-12T17:23:26.603" v="118" actId="478"/>
          <ac:graphicFrameMkLst>
            <pc:docMk/>
            <pc:sldMk cId="2757201866" sldId="2147470443"/>
            <ac:graphicFrameMk id="6" creationId="{95D0D260-D2AF-11CA-9496-0530816A8B29}"/>
          </ac:graphicFrameMkLst>
        </pc:graphicFrameChg>
        <pc:graphicFrameChg chg="add del mod">
          <ac:chgData name="Bruno Sebastian Miranda Quispe" userId="5df213b2-8b23-43f1-8137-24ac80ef972a" providerId="ADAL" clId="{E965C011-1063-4CD3-8CA5-A8D35C5C287B}" dt="2022-08-12T14:26:39.796" v="50" actId="478"/>
          <ac:graphicFrameMkLst>
            <pc:docMk/>
            <pc:sldMk cId="2757201866" sldId="2147470443"/>
            <ac:graphicFrameMk id="7" creationId="{8B32F9FC-4206-BB7F-BB35-99506F6115B2}"/>
          </ac:graphicFrameMkLst>
        </pc:graphicFrameChg>
        <pc:graphicFrameChg chg="add mod modGraphic">
          <ac:chgData name="Bruno Sebastian Miranda Quispe" userId="5df213b2-8b23-43f1-8137-24ac80ef972a" providerId="ADAL" clId="{E965C011-1063-4CD3-8CA5-A8D35C5C287B}" dt="2022-08-12T17:30:51.024" v="330" actId="1076"/>
          <ac:graphicFrameMkLst>
            <pc:docMk/>
            <pc:sldMk cId="2757201866" sldId="2147470443"/>
            <ac:graphicFrameMk id="8" creationId="{50DD2279-E390-306F-4AF9-03F7C4CF32F6}"/>
          </ac:graphicFrameMkLst>
        </pc:graphicFrameChg>
        <pc:picChg chg="add del mod">
          <ac:chgData name="Bruno Sebastian Miranda Quispe" userId="5df213b2-8b23-43f1-8137-24ac80ef972a" providerId="ADAL" clId="{E965C011-1063-4CD3-8CA5-A8D35C5C287B}" dt="2022-08-12T17:29:42.116" v="326" actId="478"/>
          <ac:picMkLst>
            <pc:docMk/>
            <pc:sldMk cId="2757201866" sldId="2147470443"/>
            <ac:picMk id="13" creationId="{EE354004-63CF-5C7E-9CA3-A15DC776D0F1}"/>
          </ac:picMkLst>
        </pc:picChg>
        <pc:picChg chg="add del mod modCrop">
          <ac:chgData name="Bruno Sebastian Miranda Quispe" userId="5df213b2-8b23-43f1-8137-24ac80ef972a" providerId="ADAL" clId="{E965C011-1063-4CD3-8CA5-A8D35C5C287B}" dt="2022-08-12T17:33:00.353" v="340" actId="478"/>
          <ac:picMkLst>
            <pc:docMk/>
            <pc:sldMk cId="2757201866" sldId="2147470443"/>
            <ac:picMk id="20" creationId="{FFA4B2A4-C72E-EA59-9C97-C5ABDC03E05F}"/>
          </ac:picMkLst>
        </pc:picChg>
        <pc:picChg chg="add mod">
          <ac:chgData name="Bruno Sebastian Miranda Quispe" userId="5df213b2-8b23-43f1-8137-24ac80ef972a" providerId="ADAL" clId="{E965C011-1063-4CD3-8CA5-A8D35C5C287B}" dt="2022-08-12T17:34:40.783" v="391" actId="1076"/>
          <ac:picMkLst>
            <pc:docMk/>
            <pc:sldMk cId="2757201866" sldId="2147470443"/>
            <ac:picMk id="24" creationId="{2161324E-BF89-5D54-D654-BC844FB4016F}"/>
          </ac:picMkLst>
        </pc:picChg>
        <pc:cxnChg chg="del">
          <ac:chgData name="Bruno Sebastian Miranda Quispe" userId="5df213b2-8b23-43f1-8137-24ac80ef972a" providerId="ADAL" clId="{E965C011-1063-4CD3-8CA5-A8D35C5C287B}" dt="2022-08-12T14:07:09.391" v="23" actId="478"/>
          <ac:cxnSpMkLst>
            <pc:docMk/>
            <pc:sldMk cId="2757201866" sldId="2147470443"/>
            <ac:cxnSpMk id="4" creationId="{77EBF455-39E0-E088-D5AC-9B8482052C61}"/>
          </ac:cxnSpMkLst>
        </pc:cxnChg>
      </pc:sldChg>
      <pc:sldChg chg="addSp delSp modSp mod">
        <pc:chgData name="Bruno Sebastian Miranda Quispe" userId="5df213b2-8b23-43f1-8137-24ac80ef972a" providerId="ADAL" clId="{E965C011-1063-4CD3-8CA5-A8D35C5C287B}" dt="2022-08-12T19:31:32.962" v="1218" actId="20577"/>
        <pc:sldMkLst>
          <pc:docMk/>
          <pc:sldMk cId="2492727972" sldId="2147470460"/>
        </pc:sldMkLst>
        <pc:spChg chg="add mod">
          <ac:chgData name="Bruno Sebastian Miranda Quispe" userId="5df213b2-8b23-43f1-8137-24ac80ef972a" providerId="ADAL" clId="{E965C011-1063-4CD3-8CA5-A8D35C5C287B}" dt="2022-08-12T19:20:07.043" v="1093" actId="208"/>
          <ac:spMkLst>
            <pc:docMk/>
            <pc:sldMk cId="2492727972" sldId="2147470460"/>
            <ac:spMk id="4" creationId="{0928CAEE-21B2-9C8A-A1A9-437861373E5E}"/>
          </ac:spMkLst>
        </pc:spChg>
        <pc:spChg chg="add mod">
          <ac:chgData name="Bruno Sebastian Miranda Quispe" userId="5df213b2-8b23-43f1-8137-24ac80ef972a" providerId="ADAL" clId="{E965C011-1063-4CD3-8CA5-A8D35C5C287B}" dt="2022-08-12T19:20:47.483" v="1097" actId="208"/>
          <ac:spMkLst>
            <pc:docMk/>
            <pc:sldMk cId="2492727972" sldId="2147470460"/>
            <ac:spMk id="7" creationId="{222A3C59-9E41-C9CC-57F2-CB5340D06D3E}"/>
          </ac:spMkLst>
        </pc:spChg>
        <pc:spChg chg="mod">
          <ac:chgData name="Bruno Sebastian Miranda Quispe" userId="5df213b2-8b23-43f1-8137-24ac80ef972a" providerId="ADAL" clId="{E965C011-1063-4CD3-8CA5-A8D35C5C287B}" dt="2022-08-12T19:28:43.302" v="1124" actId="14100"/>
          <ac:spMkLst>
            <pc:docMk/>
            <pc:sldMk cId="2492727972" sldId="2147470460"/>
            <ac:spMk id="8" creationId="{907C4F2A-5B13-1805-ACEA-1AAB8E0E5ED7}"/>
          </ac:spMkLst>
        </pc:spChg>
        <pc:spChg chg="add del mod">
          <ac:chgData name="Bruno Sebastian Miranda Quispe" userId="5df213b2-8b23-43f1-8137-24ac80ef972a" providerId="ADAL" clId="{E965C011-1063-4CD3-8CA5-A8D35C5C287B}" dt="2022-08-12T19:28:23.745" v="1118" actId="478"/>
          <ac:spMkLst>
            <pc:docMk/>
            <pc:sldMk cId="2492727972" sldId="2147470460"/>
            <ac:spMk id="10" creationId="{AC4C25CF-4AA6-3D1D-B38A-49C664DB389E}"/>
          </ac:spMkLst>
        </pc:spChg>
        <pc:spChg chg="add mod">
          <ac:chgData name="Bruno Sebastian Miranda Quispe" userId="5df213b2-8b23-43f1-8137-24ac80ef972a" providerId="ADAL" clId="{E965C011-1063-4CD3-8CA5-A8D35C5C287B}" dt="2022-08-12T19:26:20.905" v="1110" actId="208"/>
          <ac:spMkLst>
            <pc:docMk/>
            <pc:sldMk cId="2492727972" sldId="2147470460"/>
            <ac:spMk id="11" creationId="{202ED528-16CA-5144-244E-29D626AF965D}"/>
          </ac:spMkLst>
        </pc:spChg>
        <pc:spChg chg="mod">
          <ac:chgData name="Bruno Sebastian Miranda Quispe" userId="5df213b2-8b23-43f1-8137-24ac80ef972a" providerId="ADAL" clId="{E965C011-1063-4CD3-8CA5-A8D35C5C287B}" dt="2022-08-12T19:26:41.054" v="1111" actId="1076"/>
          <ac:spMkLst>
            <pc:docMk/>
            <pc:sldMk cId="2492727972" sldId="2147470460"/>
            <ac:spMk id="12" creationId="{3E267E9B-EC2E-C214-B315-C4249B7CF200}"/>
          </ac:spMkLst>
        </pc:spChg>
        <pc:spChg chg="mod">
          <ac:chgData name="Bruno Sebastian Miranda Quispe" userId="5df213b2-8b23-43f1-8137-24ac80ef972a" providerId="ADAL" clId="{E965C011-1063-4CD3-8CA5-A8D35C5C287B}" dt="2022-08-12T19:30:59.847" v="1197" actId="1076"/>
          <ac:spMkLst>
            <pc:docMk/>
            <pc:sldMk cId="2492727972" sldId="2147470460"/>
            <ac:spMk id="13" creationId="{322D49E6-1792-66D6-6113-6A38ED82CDEF}"/>
          </ac:spMkLst>
        </pc:spChg>
        <pc:spChg chg="mod">
          <ac:chgData name="Bruno Sebastian Miranda Quispe" userId="5df213b2-8b23-43f1-8137-24ac80ef972a" providerId="ADAL" clId="{E965C011-1063-4CD3-8CA5-A8D35C5C287B}" dt="2022-08-12T19:30:59.847" v="1197" actId="1076"/>
          <ac:spMkLst>
            <pc:docMk/>
            <pc:sldMk cId="2492727972" sldId="2147470460"/>
            <ac:spMk id="14" creationId="{4515EFA1-3A49-4395-37BB-C363A8C28B84}"/>
          </ac:spMkLst>
        </pc:spChg>
        <pc:spChg chg="mod">
          <ac:chgData name="Bruno Sebastian Miranda Quispe" userId="5df213b2-8b23-43f1-8137-24ac80ef972a" providerId="ADAL" clId="{E965C011-1063-4CD3-8CA5-A8D35C5C287B}" dt="2022-08-12T19:30:37.965" v="1196" actId="1076"/>
          <ac:spMkLst>
            <pc:docMk/>
            <pc:sldMk cId="2492727972" sldId="2147470460"/>
            <ac:spMk id="15" creationId="{8DFA3110-5D21-CB2D-A0A6-A2104B766459}"/>
          </ac:spMkLst>
        </pc:spChg>
        <pc:spChg chg="mod">
          <ac:chgData name="Bruno Sebastian Miranda Quispe" userId="5df213b2-8b23-43f1-8137-24ac80ef972a" providerId="ADAL" clId="{E965C011-1063-4CD3-8CA5-A8D35C5C287B}" dt="2022-08-12T19:30:59.847" v="1197" actId="1076"/>
          <ac:spMkLst>
            <pc:docMk/>
            <pc:sldMk cId="2492727972" sldId="2147470460"/>
            <ac:spMk id="16" creationId="{1EA8B0E9-FE22-0323-912F-17DEB154E4E9}"/>
          </ac:spMkLst>
        </pc:spChg>
        <pc:spChg chg="mod">
          <ac:chgData name="Bruno Sebastian Miranda Quispe" userId="5df213b2-8b23-43f1-8137-24ac80ef972a" providerId="ADAL" clId="{E965C011-1063-4CD3-8CA5-A8D35C5C287B}" dt="2022-08-12T19:30:59.847" v="1197" actId="1076"/>
          <ac:spMkLst>
            <pc:docMk/>
            <pc:sldMk cId="2492727972" sldId="2147470460"/>
            <ac:spMk id="17" creationId="{2F4A2A20-EEDD-B746-E9B2-5659D671AA58}"/>
          </ac:spMkLst>
        </pc:spChg>
        <pc:spChg chg="add del mod">
          <ac:chgData name="Bruno Sebastian Miranda Quispe" userId="5df213b2-8b23-43f1-8137-24ac80ef972a" providerId="ADAL" clId="{E965C011-1063-4CD3-8CA5-A8D35C5C287B}" dt="2022-08-12T19:28:20.888" v="1117" actId="478"/>
          <ac:spMkLst>
            <pc:docMk/>
            <pc:sldMk cId="2492727972" sldId="2147470460"/>
            <ac:spMk id="18" creationId="{2726E12B-7D19-861B-E35F-56F448C12E65}"/>
          </ac:spMkLst>
        </pc:spChg>
        <pc:spChg chg="add del mod">
          <ac:chgData name="Bruno Sebastian Miranda Quispe" userId="5df213b2-8b23-43f1-8137-24ac80ef972a" providerId="ADAL" clId="{E965C011-1063-4CD3-8CA5-A8D35C5C287B}" dt="2022-08-12T19:28:50.866" v="1125" actId="478"/>
          <ac:spMkLst>
            <pc:docMk/>
            <pc:sldMk cId="2492727972" sldId="2147470460"/>
            <ac:spMk id="19" creationId="{35572CA0-98AB-7366-0F1A-A7EBE45E1C2D}"/>
          </ac:spMkLst>
        </pc:spChg>
        <pc:spChg chg="add del mod">
          <ac:chgData name="Bruno Sebastian Miranda Quispe" userId="5df213b2-8b23-43f1-8137-24ac80ef972a" providerId="ADAL" clId="{E965C011-1063-4CD3-8CA5-A8D35C5C287B}" dt="2022-08-12T19:29:01.568" v="1129"/>
          <ac:spMkLst>
            <pc:docMk/>
            <pc:sldMk cId="2492727972" sldId="2147470460"/>
            <ac:spMk id="20" creationId="{4EAEFE4B-F2DA-87DB-86EC-9D51D9D4F6A9}"/>
          </ac:spMkLst>
        </pc:spChg>
        <pc:spChg chg="add mod">
          <ac:chgData name="Bruno Sebastian Miranda Quispe" userId="5df213b2-8b23-43f1-8137-24ac80ef972a" providerId="ADAL" clId="{E965C011-1063-4CD3-8CA5-A8D35C5C287B}" dt="2022-08-12T19:30:59.847" v="1197" actId="1076"/>
          <ac:spMkLst>
            <pc:docMk/>
            <pc:sldMk cId="2492727972" sldId="2147470460"/>
            <ac:spMk id="21" creationId="{3687EFA7-2C0A-6911-9B2B-F010E6424E62}"/>
          </ac:spMkLst>
        </pc:spChg>
        <pc:spChg chg="add mod">
          <ac:chgData name="Bruno Sebastian Miranda Quispe" userId="5df213b2-8b23-43f1-8137-24ac80ef972a" providerId="ADAL" clId="{E965C011-1063-4CD3-8CA5-A8D35C5C287B}" dt="2022-08-12T19:30:59.847" v="1197" actId="1076"/>
          <ac:spMkLst>
            <pc:docMk/>
            <pc:sldMk cId="2492727972" sldId="2147470460"/>
            <ac:spMk id="22" creationId="{A971CE9F-4A79-16B7-D7EA-9AE6E9024C1F}"/>
          </ac:spMkLst>
        </pc:spChg>
        <pc:spChg chg="add mod">
          <ac:chgData name="Bruno Sebastian Miranda Quispe" userId="5df213b2-8b23-43f1-8137-24ac80ef972a" providerId="ADAL" clId="{E965C011-1063-4CD3-8CA5-A8D35C5C287B}" dt="2022-08-12T19:30:59.847" v="1197" actId="1076"/>
          <ac:spMkLst>
            <pc:docMk/>
            <pc:sldMk cId="2492727972" sldId="2147470460"/>
            <ac:spMk id="23" creationId="{50C7248B-6AC4-F9D3-443F-20BE714520B3}"/>
          </ac:spMkLst>
        </pc:spChg>
        <pc:spChg chg="add mod">
          <ac:chgData name="Bruno Sebastian Miranda Quispe" userId="5df213b2-8b23-43f1-8137-24ac80ef972a" providerId="ADAL" clId="{E965C011-1063-4CD3-8CA5-A8D35C5C287B}" dt="2022-08-12T19:30:59.847" v="1197" actId="1076"/>
          <ac:spMkLst>
            <pc:docMk/>
            <pc:sldMk cId="2492727972" sldId="2147470460"/>
            <ac:spMk id="24" creationId="{5A424842-77B7-004A-C671-7DDD9377CD08}"/>
          </ac:spMkLst>
        </pc:spChg>
        <pc:spChg chg="add mod">
          <ac:chgData name="Bruno Sebastian Miranda Quispe" userId="5df213b2-8b23-43f1-8137-24ac80ef972a" providerId="ADAL" clId="{E965C011-1063-4CD3-8CA5-A8D35C5C287B}" dt="2022-08-12T19:31:18.592" v="1200" actId="108"/>
          <ac:spMkLst>
            <pc:docMk/>
            <pc:sldMk cId="2492727972" sldId="2147470460"/>
            <ac:spMk id="25" creationId="{BA305384-8FF9-4DB1-9860-1987EEC93109}"/>
          </ac:spMkLst>
        </pc:spChg>
        <pc:spChg chg="add mod">
          <ac:chgData name="Bruno Sebastian Miranda Quispe" userId="5df213b2-8b23-43f1-8137-24ac80ef972a" providerId="ADAL" clId="{E965C011-1063-4CD3-8CA5-A8D35C5C287B}" dt="2022-08-12T19:31:32.962" v="1218" actId="20577"/>
          <ac:spMkLst>
            <pc:docMk/>
            <pc:sldMk cId="2492727972" sldId="2147470460"/>
            <ac:spMk id="26" creationId="{476B5902-576A-1E58-7629-99540EAF5288}"/>
          </ac:spMkLst>
        </pc:spChg>
        <pc:picChg chg="mod">
          <ac:chgData name="Bruno Sebastian Miranda Quispe" userId="5df213b2-8b23-43f1-8137-24ac80ef972a" providerId="ADAL" clId="{E965C011-1063-4CD3-8CA5-A8D35C5C287B}" dt="2022-08-12T19:28:58.992" v="1128" actId="1076"/>
          <ac:picMkLst>
            <pc:docMk/>
            <pc:sldMk cId="2492727972" sldId="2147470460"/>
            <ac:picMk id="5" creationId="{48BC534E-FBB8-8A01-D3F0-4A03383F3288}"/>
          </ac:picMkLst>
        </pc:picChg>
      </pc:sldChg>
      <pc:sldChg chg="modSp mod">
        <pc:chgData name="Bruno Sebastian Miranda Quispe" userId="5df213b2-8b23-43f1-8137-24ac80ef972a" providerId="ADAL" clId="{E965C011-1063-4CD3-8CA5-A8D35C5C287B}" dt="2022-08-12T19:38:51.568" v="1220" actId="1076"/>
        <pc:sldMkLst>
          <pc:docMk/>
          <pc:sldMk cId="3642172923" sldId="2147470462"/>
        </pc:sldMkLst>
        <pc:spChg chg="mod">
          <ac:chgData name="Bruno Sebastian Miranda Quispe" userId="5df213b2-8b23-43f1-8137-24ac80ef972a" providerId="ADAL" clId="{E965C011-1063-4CD3-8CA5-A8D35C5C287B}" dt="2022-08-12T19:38:51.568" v="1220" actId="1076"/>
          <ac:spMkLst>
            <pc:docMk/>
            <pc:sldMk cId="3642172923" sldId="2147470462"/>
            <ac:spMk id="7" creationId="{B7EA9830-7CEA-493B-76AD-9A75F0E4ED4C}"/>
          </ac:spMkLst>
        </pc:spChg>
      </pc:sldChg>
      <pc:sldChg chg="addSp delSp modSp mod ord modClrScheme chgLayout">
        <pc:chgData name="Bruno Sebastian Miranda Quispe" userId="5df213b2-8b23-43f1-8137-24ac80ef972a" providerId="ADAL" clId="{E965C011-1063-4CD3-8CA5-A8D35C5C287B}" dt="2022-08-12T21:18:58.514" v="1407" actId="14734"/>
        <pc:sldMkLst>
          <pc:docMk/>
          <pc:sldMk cId="3855514415" sldId="2147470467"/>
        </pc:sldMkLst>
        <pc:spChg chg="mod">
          <ac:chgData name="Bruno Sebastian Miranda Quispe" userId="5df213b2-8b23-43f1-8137-24ac80ef972a" providerId="ADAL" clId="{E965C011-1063-4CD3-8CA5-A8D35C5C287B}" dt="2022-08-12T19:52:23.627" v="1226" actId="26606"/>
          <ac:spMkLst>
            <pc:docMk/>
            <pc:sldMk cId="3855514415" sldId="2147470467"/>
            <ac:spMk id="2" creationId="{66530D6E-D2B2-A707-62BC-1C465D36A9BF}"/>
          </ac:spMkLst>
        </pc:spChg>
        <pc:spChg chg="mod">
          <ac:chgData name="Bruno Sebastian Miranda Quispe" userId="5df213b2-8b23-43f1-8137-24ac80ef972a" providerId="ADAL" clId="{E965C011-1063-4CD3-8CA5-A8D35C5C287B}" dt="2022-08-12T19:52:47.903" v="1234" actId="20577"/>
          <ac:spMkLst>
            <pc:docMk/>
            <pc:sldMk cId="3855514415" sldId="2147470467"/>
            <ac:spMk id="3" creationId="{2C82129A-8A90-5556-E3C6-11BFFF37C6B9}"/>
          </ac:spMkLst>
        </pc:spChg>
        <pc:spChg chg="del">
          <ac:chgData name="Bruno Sebastian Miranda Quispe" userId="5df213b2-8b23-43f1-8137-24ac80ef972a" providerId="ADAL" clId="{E965C011-1063-4CD3-8CA5-A8D35C5C287B}" dt="2022-08-12T19:52:04.272" v="1221" actId="478"/>
          <ac:spMkLst>
            <pc:docMk/>
            <pc:sldMk cId="3855514415" sldId="2147470467"/>
            <ac:spMk id="4" creationId="{29085881-8F27-40D2-F184-EBEB808A7227}"/>
          </ac:spMkLst>
        </pc:spChg>
        <pc:graphicFrameChg chg="add mod modGraphic">
          <ac:chgData name="Bruno Sebastian Miranda Quispe" userId="5df213b2-8b23-43f1-8137-24ac80ef972a" providerId="ADAL" clId="{E965C011-1063-4CD3-8CA5-A8D35C5C287B}" dt="2022-08-12T21:18:14.610" v="1399"/>
          <ac:graphicFrameMkLst>
            <pc:docMk/>
            <pc:sldMk cId="3855514415" sldId="2147470467"/>
            <ac:graphicFrameMk id="5" creationId="{302FB9A5-D270-068D-804F-277F1FE8C3C4}"/>
          </ac:graphicFrameMkLst>
        </pc:graphicFrameChg>
        <pc:graphicFrameChg chg="add del modGraphic">
          <ac:chgData name="Bruno Sebastian Miranda Quispe" userId="5df213b2-8b23-43f1-8137-24ac80ef972a" providerId="ADAL" clId="{E965C011-1063-4CD3-8CA5-A8D35C5C287B}" dt="2022-08-12T21:18:23.753" v="1401" actId="478"/>
          <ac:graphicFrameMkLst>
            <pc:docMk/>
            <pc:sldMk cId="3855514415" sldId="2147470467"/>
            <ac:graphicFrameMk id="6" creationId="{343D54C4-E572-2AF5-B1B7-90A3B9694517}"/>
          </ac:graphicFrameMkLst>
        </pc:graphicFrameChg>
        <pc:graphicFrameChg chg="add mod modGraphic">
          <ac:chgData name="Bruno Sebastian Miranda Quispe" userId="5df213b2-8b23-43f1-8137-24ac80ef972a" providerId="ADAL" clId="{E965C011-1063-4CD3-8CA5-A8D35C5C287B}" dt="2022-08-12T21:18:58.514" v="1407" actId="14734"/>
          <ac:graphicFrameMkLst>
            <pc:docMk/>
            <pc:sldMk cId="3855514415" sldId="2147470467"/>
            <ac:graphicFrameMk id="7" creationId="{9A62450C-8F06-E2AE-BEB9-50DB88A0DC9A}"/>
          </ac:graphicFrameMkLst>
        </pc:graphicFrameChg>
      </pc:sldChg>
      <pc:sldChg chg="new del">
        <pc:chgData name="Bruno Sebastian Miranda Quispe" userId="5df213b2-8b23-43f1-8137-24ac80ef972a" providerId="ADAL" clId="{E965C011-1063-4CD3-8CA5-A8D35C5C287B}" dt="2022-08-12T17:35:54.513" v="398" actId="47"/>
        <pc:sldMkLst>
          <pc:docMk/>
          <pc:sldMk cId="1077470007" sldId="2147470468"/>
        </pc:sldMkLst>
      </pc:sldChg>
      <pc:sldChg chg="addSp delSp modSp add mod">
        <pc:chgData name="Bruno Sebastian Miranda Quispe" userId="5df213b2-8b23-43f1-8137-24ac80ef972a" providerId="ADAL" clId="{E965C011-1063-4CD3-8CA5-A8D35C5C287B}" dt="2022-08-12T19:11:27.849" v="1051" actId="20577"/>
        <pc:sldMkLst>
          <pc:docMk/>
          <pc:sldMk cId="343636191" sldId="2147470469"/>
        </pc:sldMkLst>
        <pc:spChg chg="mod">
          <ac:chgData name="Bruno Sebastian Miranda Quispe" userId="5df213b2-8b23-43f1-8137-24ac80ef972a" providerId="ADAL" clId="{E965C011-1063-4CD3-8CA5-A8D35C5C287B}" dt="2022-08-12T19:11:27.849" v="1051" actId="20577"/>
          <ac:spMkLst>
            <pc:docMk/>
            <pc:sldMk cId="343636191" sldId="2147470469"/>
            <ac:spMk id="5" creationId="{FE09F5BA-278A-94CD-2272-B8A426186E21}"/>
          </ac:spMkLst>
        </pc:spChg>
        <pc:spChg chg="add mod">
          <ac:chgData name="Bruno Sebastian Miranda Quispe" userId="5df213b2-8b23-43f1-8137-24ac80ef972a" providerId="ADAL" clId="{E965C011-1063-4CD3-8CA5-A8D35C5C287B}" dt="2022-08-12T17:45:27.573" v="959" actId="20577"/>
          <ac:spMkLst>
            <pc:docMk/>
            <pc:sldMk cId="343636191" sldId="2147470469"/>
            <ac:spMk id="6" creationId="{F4E47B99-DBE0-F9B3-7313-D3A0C22D91DA}"/>
          </ac:spMkLst>
        </pc:spChg>
        <pc:spChg chg="add mod">
          <ac:chgData name="Bruno Sebastian Miranda Quispe" userId="5df213b2-8b23-43f1-8137-24ac80ef972a" providerId="ADAL" clId="{E965C011-1063-4CD3-8CA5-A8D35C5C287B}" dt="2022-08-12T17:47:55.471" v="962" actId="14100"/>
          <ac:spMkLst>
            <pc:docMk/>
            <pc:sldMk cId="343636191" sldId="2147470469"/>
            <ac:spMk id="7" creationId="{54BB7A1F-E493-E0B5-CEB7-3BD753B8F86A}"/>
          </ac:spMkLst>
        </pc:spChg>
        <pc:spChg chg="mod">
          <ac:chgData name="Bruno Sebastian Miranda Quispe" userId="5df213b2-8b23-43f1-8137-24ac80ef972a" providerId="ADAL" clId="{E965C011-1063-4CD3-8CA5-A8D35C5C287B}" dt="2022-08-12T17:42:17.559" v="577" actId="1076"/>
          <ac:spMkLst>
            <pc:docMk/>
            <pc:sldMk cId="343636191" sldId="2147470469"/>
            <ac:spMk id="17" creationId="{E6E3C68F-A397-204B-0ECE-EB88F2205ACD}"/>
          </ac:spMkLst>
        </pc:spChg>
        <pc:spChg chg="mod">
          <ac:chgData name="Bruno Sebastian Miranda Quispe" userId="5df213b2-8b23-43f1-8137-24ac80ef972a" providerId="ADAL" clId="{E965C011-1063-4CD3-8CA5-A8D35C5C287B}" dt="2022-08-12T17:48:11.526" v="986" actId="1076"/>
          <ac:spMkLst>
            <pc:docMk/>
            <pc:sldMk cId="343636191" sldId="2147470469"/>
            <ac:spMk id="18" creationId="{889C0D9A-6B3C-BA1B-B887-D1C25A08A477}"/>
          </ac:spMkLst>
        </pc:spChg>
        <pc:spChg chg="del">
          <ac:chgData name="Bruno Sebastian Miranda Quispe" userId="5df213b2-8b23-43f1-8137-24ac80ef972a" providerId="ADAL" clId="{E965C011-1063-4CD3-8CA5-A8D35C5C287B}" dt="2022-08-12T17:36:18.193" v="410" actId="478"/>
          <ac:spMkLst>
            <pc:docMk/>
            <pc:sldMk cId="343636191" sldId="2147470469"/>
            <ac:spMk id="19" creationId="{B463160D-17A7-09D5-F4B7-F6049223FEE4}"/>
          </ac:spMkLst>
        </pc:spChg>
        <pc:spChg chg="mod">
          <ac:chgData name="Bruno Sebastian Miranda Quispe" userId="5df213b2-8b23-43f1-8137-24ac80ef972a" providerId="ADAL" clId="{E965C011-1063-4CD3-8CA5-A8D35C5C287B}" dt="2022-08-12T17:36:13.533" v="409" actId="20577"/>
          <ac:spMkLst>
            <pc:docMk/>
            <pc:sldMk cId="343636191" sldId="2147470469"/>
            <ac:spMk id="21" creationId="{30F02C2B-9B00-21F6-2F3C-F99911176DD6}"/>
          </ac:spMkLst>
        </pc:spChg>
        <pc:spChg chg="mod">
          <ac:chgData name="Bruno Sebastian Miranda Quispe" userId="5df213b2-8b23-43f1-8137-24ac80ef972a" providerId="ADAL" clId="{E965C011-1063-4CD3-8CA5-A8D35C5C287B}" dt="2022-08-12T17:37:43.894" v="488" actId="14100"/>
          <ac:spMkLst>
            <pc:docMk/>
            <pc:sldMk cId="343636191" sldId="2147470469"/>
            <ac:spMk id="23" creationId="{F46F56C1-C562-5955-0C0C-74F9F46E7B68}"/>
          </ac:spMkLst>
        </pc:spChg>
        <pc:spChg chg="del">
          <ac:chgData name="Bruno Sebastian Miranda Quispe" userId="5df213b2-8b23-43f1-8137-24ac80ef972a" providerId="ADAL" clId="{E965C011-1063-4CD3-8CA5-A8D35C5C287B}" dt="2022-08-12T17:41:05.753" v="505" actId="478"/>
          <ac:spMkLst>
            <pc:docMk/>
            <pc:sldMk cId="343636191" sldId="2147470469"/>
            <ac:spMk id="25" creationId="{6469420D-2CCD-C36E-CB13-AB15DD5536E9}"/>
          </ac:spMkLst>
        </pc:spChg>
        <pc:spChg chg="del">
          <ac:chgData name="Bruno Sebastian Miranda Quispe" userId="5df213b2-8b23-43f1-8137-24ac80ef972a" providerId="ADAL" clId="{E965C011-1063-4CD3-8CA5-A8D35C5C287B}" dt="2022-08-12T17:41:06.343" v="506" actId="478"/>
          <ac:spMkLst>
            <pc:docMk/>
            <pc:sldMk cId="343636191" sldId="2147470469"/>
            <ac:spMk id="27" creationId="{3F6A77E2-10A5-A2D7-86E2-F5D54C562811}"/>
          </ac:spMkLst>
        </pc:spChg>
        <pc:graphicFrameChg chg="add del mod modGraphic">
          <ac:chgData name="Bruno Sebastian Miranda Quispe" userId="5df213b2-8b23-43f1-8137-24ac80ef972a" providerId="ADAL" clId="{E965C011-1063-4CD3-8CA5-A8D35C5C287B}" dt="2022-08-12T17:40:31.153" v="495" actId="478"/>
          <ac:graphicFrameMkLst>
            <pc:docMk/>
            <pc:sldMk cId="343636191" sldId="2147470469"/>
            <ac:graphicFrameMk id="3" creationId="{450B7CA9-1025-AC2B-280A-F6D064CB8772}"/>
          </ac:graphicFrameMkLst>
        </pc:graphicFrameChg>
        <pc:graphicFrameChg chg="add mod modGraphic">
          <ac:chgData name="Bruno Sebastian Miranda Quispe" userId="5df213b2-8b23-43f1-8137-24ac80ef972a" providerId="ADAL" clId="{E965C011-1063-4CD3-8CA5-A8D35C5C287B}" dt="2022-08-12T17:40:53.750" v="503" actId="1076"/>
          <ac:graphicFrameMkLst>
            <pc:docMk/>
            <pc:sldMk cId="343636191" sldId="2147470469"/>
            <ac:graphicFrameMk id="4" creationId="{C3237911-024E-11F9-6F23-72379620AB8D}"/>
          </ac:graphicFrameMkLst>
        </pc:graphicFrameChg>
        <pc:graphicFrameChg chg="del">
          <ac:chgData name="Bruno Sebastian Miranda Quispe" userId="5df213b2-8b23-43f1-8137-24ac80ef972a" providerId="ADAL" clId="{E965C011-1063-4CD3-8CA5-A8D35C5C287B}" dt="2022-08-12T17:39:29.968" v="489" actId="478"/>
          <ac:graphicFrameMkLst>
            <pc:docMk/>
            <pc:sldMk cId="343636191" sldId="2147470469"/>
            <ac:graphicFrameMk id="8" creationId="{50DD2279-E390-306F-4AF9-03F7C4CF32F6}"/>
          </ac:graphicFrameMkLst>
        </pc:graphicFrameChg>
        <pc:picChg chg="del">
          <ac:chgData name="Bruno Sebastian Miranda Quispe" userId="5df213b2-8b23-43f1-8137-24ac80ef972a" providerId="ADAL" clId="{E965C011-1063-4CD3-8CA5-A8D35C5C287B}" dt="2022-08-12T17:41:03.972" v="504" actId="478"/>
          <ac:picMkLst>
            <pc:docMk/>
            <pc:sldMk cId="343636191" sldId="2147470469"/>
            <ac:picMk id="24" creationId="{2161324E-BF89-5D54-D654-BC844FB4016F}"/>
          </ac:picMkLst>
        </pc:picChg>
      </pc:sldChg>
      <pc:sldChg chg="modSp new mod">
        <pc:chgData name="Bruno Sebastian Miranda Quispe" userId="5df213b2-8b23-43f1-8137-24ac80ef972a" providerId="ADAL" clId="{E965C011-1063-4CD3-8CA5-A8D35C5C287B}" dt="2022-08-12T19:18:46.296" v="1077" actId="20577"/>
        <pc:sldMkLst>
          <pc:docMk/>
          <pc:sldMk cId="3955624174" sldId="2147470470"/>
        </pc:sldMkLst>
        <pc:spChg chg="mod">
          <ac:chgData name="Bruno Sebastian Miranda Quispe" userId="5df213b2-8b23-43f1-8137-24ac80ef972a" providerId="ADAL" clId="{E965C011-1063-4CD3-8CA5-A8D35C5C287B}" dt="2022-08-12T19:18:46.296" v="1077" actId="20577"/>
          <ac:spMkLst>
            <pc:docMk/>
            <pc:sldMk cId="3955624174" sldId="2147470470"/>
            <ac:spMk id="3" creationId="{18F4C117-1F15-49C9-ABC0-86482A157745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40894050696585"/>
          <c:y val="0.106030483764082"/>
          <c:w val="0.71821208885790699"/>
          <c:h val="0.78793903247183605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8B4-49BE-BBD8-21A721B4B42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8B4-49BE-BBD8-21A721B4B42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8B4-49BE-BBD8-21A721B4B42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8B4-49BE-BBD8-21A721B4B428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38B4-49BE-BBD8-21A721B4B428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38B4-49BE-BBD8-21A721B4B428}"/>
              </c:ext>
            </c:extLst>
          </c:dPt>
          <c:dPt>
            <c:idx val="6"/>
            <c:bubble3D val="0"/>
            <c:spPr>
              <a:solidFill>
                <a:srgbClr val="B7BF1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38B4-49BE-BBD8-21A721B4B428}"/>
              </c:ext>
            </c:extLst>
          </c:dPt>
          <c:dPt>
            <c:idx val="7"/>
            <c:bubble3D val="0"/>
            <c:spPr>
              <a:solidFill>
                <a:srgbClr val="BF947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38B4-49BE-BBD8-21A721B4B428}"/>
              </c:ext>
            </c:extLst>
          </c:dPt>
          <c:cat>
            <c:strRef>
              <c:f>Sheet1!$A$2:$A$9</c:f>
              <c:strCache>
                <c:ptCount val="8"/>
                <c:pt idx="0">
                  <c:v>Segment 1</c:v>
                </c:pt>
                <c:pt idx="1">
                  <c:v>Segment 2</c:v>
                </c:pt>
                <c:pt idx="2">
                  <c:v>Segment 3</c:v>
                </c:pt>
                <c:pt idx="3">
                  <c:v>Segment 4</c:v>
                </c:pt>
                <c:pt idx="4">
                  <c:v>Segment 5</c:v>
                </c:pt>
                <c:pt idx="5">
                  <c:v>Segment 6</c:v>
                </c:pt>
                <c:pt idx="6">
                  <c:v>Segment 7</c:v>
                </c:pt>
                <c:pt idx="7">
                  <c:v>Segment 8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30</c:v>
                </c:pt>
                <c:pt idx="1">
                  <c:v>22</c:v>
                </c:pt>
                <c:pt idx="2">
                  <c:v>13</c:v>
                </c:pt>
                <c:pt idx="3">
                  <c:v>13</c:v>
                </c:pt>
                <c:pt idx="4">
                  <c:v>8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38B4-49BE-BBD8-21A721B4B4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000000"/>
          </a:solidFill>
        </a:defRPr>
      </a:pPr>
      <a:endParaRPr lang="es-PE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2836049991895301E-2"/>
          <c:y val="0.106030483764082"/>
          <c:w val="0.90909099556867201"/>
          <c:h val="0.7216699801192839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ar 1</c:v>
                </c:pt>
              </c:strCache>
            </c:strRef>
          </c:tx>
          <c:spPr>
            <a:solidFill>
              <a:schemeClr val="accent2"/>
            </a:solidFill>
            <a:ln w="19050"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EDA-49A1-8D03-422C17A29A4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9EDA-49A1-8D03-422C17A29A40}"/>
              </c:ext>
            </c:extLst>
          </c:dPt>
          <c:cat>
            <c:strRef>
              <c:f>Sheet1!$A$2:$A$5</c:f>
              <c:strCache>
                <c:ptCount val="4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  <c:pt idx="3">
                  <c:v>Year 4</c:v>
                </c:pt>
              </c:strCache>
            </c:strRef>
          </c:cat>
          <c:val>
            <c:numRef>
              <c:f>Sheet1!$B$2:$B$5</c:f>
              <c:numCache>
                <c:formatCode>0.0</c:formatCode>
                <c:ptCount val="4"/>
                <c:pt idx="0">
                  <c:v>6.8</c:v>
                </c:pt>
                <c:pt idx="1">
                  <c:v>6.1</c:v>
                </c:pt>
                <c:pt idx="2">
                  <c:v>8.5</c:v>
                </c:pt>
                <c:pt idx="3">
                  <c:v>9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EDA-49A1-8D03-422C17A29A4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ar 2</c:v>
                </c:pt>
              </c:strCache>
            </c:strRef>
          </c:tx>
          <c:spPr>
            <a:solidFill>
              <a:schemeClr val="accent4"/>
            </a:solidFill>
            <a:ln w="19050"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  <c:pt idx="3">
                  <c:v>Year 4</c:v>
                </c:pt>
              </c:strCache>
            </c:strRef>
          </c:cat>
          <c:val>
            <c:numRef>
              <c:f>Sheet1!$C$2:$C$5</c:f>
              <c:numCache>
                <c:formatCode>0.0</c:formatCode>
                <c:ptCount val="4"/>
                <c:pt idx="0">
                  <c:v>7.3</c:v>
                </c:pt>
                <c:pt idx="1">
                  <c:v>6.4</c:v>
                </c:pt>
                <c:pt idx="2">
                  <c:v>8.9</c:v>
                </c:pt>
                <c:pt idx="3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EDA-49A1-8D03-422C17A29A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9"/>
        <c:overlap val="-17"/>
        <c:axId val="-20762016"/>
        <c:axId val="-146752512"/>
      </c:barChart>
      <c:catAx>
        <c:axId val="-207620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es-PE"/>
          </a:p>
        </c:txPr>
        <c:crossAx val="-146752512"/>
        <c:crosses val="autoZero"/>
        <c:auto val="1"/>
        <c:lblAlgn val="ctr"/>
        <c:lblOffset val="100"/>
        <c:noMultiLvlLbl val="0"/>
      </c:catAx>
      <c:valAx>
        <c:axId val="-146752512"/>
        <c:scaling>
          <c:orientation val="minMax"/>
        </c:scaling>
        <c:delete val="1"/>
        <c:axPos val="l"/>
        <c:numFmt formatCode="0.0" sourceLinked="1"/>
        <c:majorTickMark val="out"/>
        <c:minorTickMark val="none"/>
        <c:tickLblPos val="nextTo"/>
        <c:crossAx val="-20762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PE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5109B0B-379A-4836-9F36-17B04D1A56D0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PE"/>
        </a:p>
      </dgm:t>
    </dgm:pt>
    <dgm:pt modelId="{03D1B4F1-3ACD-4CBE-9BE5-54734C8C96F0}">
      <dgm:prSet phldrT="[Texto]"/>
      <dgm:spPr>
        <a:solidFill>
          <a:schemeClr val="accent3"/>
        </a:solidFill>
      </dgm:spPr>
      <dgm:t>
        <a:bodyPr/>
        <a:lstStyle/>
        <a:p>
          <a:r>
            <a:rPr lang="es-PE" dirty="0"/>
            <a:t>Contexto del caso de negocio</a:t>
          </a:r>
        </a:p>
      </dgm:t>
    </dgm:pt>
    <dgm:pt modelId="{D7DADC97-EF89-4C5B-84B9-4CD2880A1A5D}" type="parTrans" cxnId="{658C6343-B718-4153-8D2F-D11843D3E3F8}">
      <dgm:prSet/>
      <dgm:spPr/>
      <dgm:t>
        <a:bodyPr/>
        <a:lstStyle/>
        <a:p>
          <a:endParaRPr lang="es-PE"/>
        </a:p>
      </dgm:t>
    </dgm:pt>
    <dgm:pt modelId="{F753AB2B-8513-4045-98DC-2F46D75B160C}" type="sibTrans" cxnId="{658C6343-B718-4153-8D2F-D11843D3E3F8}">
      <dgm:prSet/>
      <dgm:spPr/>
      <dgm:t>
        <a:bodyPr/>
        <a:lstStyle/>
        <a:p>
          <a:endParaRPr lang="es-PE"/>
        </a:p>
      </dgm:t>
    </dgm:pt>
    <dgm:pt modelId="{97298B94-BB9E-45E2-B8B3-DF70A08FDE66}">
      <dgm:prSet phldrT="[Texto]" custT="1"/>
      <dgm:spPr>
        <a:solidFill>
          <a:srgbClr val="E04E39"/>
        </a:solidFill>
        <a:ln w="254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</a:ln>
        <a:effectLst/>
      </dgm:spPr>
      <dgm:t>
        <a:bodyPr spcFirstLastPara="0" vert="horz" wrap="square" lIns="860213" tIns="81280" rIns="81280" bIns="81280" numCol="1" spcCol="1270" anchor="ctr" anchorCtr="0"/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3200" kern="1200" dirty="0">
              <a:solidFill>
                <a:prstClr val="white"/>
              </a:solidFill>
              <a:latin typeface="Calibri"/>
              <a:ea typeface="+mn-ea"/>
              <a:cs typeface="+mn-cs"/>
            </a:rPr>
            <a:t>Desarrollo del proyecto</a:t>
          </a:r>
        </a:p>
      </dgm:t>
    </dgm:pt>
    <dgm:pt modelId="{13A23B2C-3CB7-49ED-9A22-E84F09C0D601}" type="parTrans" cxnId="{AEE1CFAF-074A-4607-8BD0-188218958EC3}">
      <dgm:prSet/>
      <dgm:spPr/>
      <dgm:t>
        <a:bodyPr/>
        <a:lstStyle/>
        <a:p>
          <a:endParaRPr lang="es-PE"/>
        </a:p>
      </dgm:t>
    </dgm:pt>
    <dgm:pt modelId="{C7FF303E-0131-4084-B5DD-5BAF9BE5E04E}" type="sibTrans" cxnId="{AEE1CFAF-074A-4607-8BD0-188218958EC3}">
      <dgm:prSet/>
      <dgm:spPr/>
      <dgm:t>
        <a:bodyPr/>
        <a:lstStyle/>
        <a:p>
          <a:endParaRPr lang="es-PE"/>
        </a:p>
      </dgm:t>
    </dgm:pt>
    <dgm:pt modelId="{D53EC5FC-813D-483A-A871-C15E6E30DF8C}">
      <dgm:prSet phldrT="[Texto]"/>
      <dgm:spPr>
        <a:solidFill>
          <a:schemeClr val="accent3"/>
        </a:solidFill>
        <a:ln w="254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</a:ln>
        <a:effectLst/>
      </dgm:spPr>
      <dgm:t>
        <a:bodyPr spcFirstLastPara="0" vert="horz" wrap="square" lIns="860213" tIns="81280" rIns="81280" bIns="81280" numCol="1" spcCol="1270" anchor="ctr" anchorCtr="0"/>
        <a:lstStyle/>
        <a:p>
          <a:pPr>
            <a:buNone/>
          </a:pPr>
          <a:r>
            <a:rPr lang="es-MX" dirty="0">
              <a:solidFill>
                <a:prstClr val="white"/>
              </a:solidFill>
              <a:latin typeface="Calibri"/>
              <a:ea typeface="+mn-ea"/>
              <a:cs typeface="+mn-cs"/>
            </a:rPr>
            <a:t>Presentación del prototipo funcional</a:t>
          </a:r>
          <a:endParaRPr lang="es-PE" dirty="0"/>
        </a:p>
      </dgm:t>
    </dgm:pt>
    <dgm:pt modelId="{9C21D92C-85E7-4701-8D4F-3870F7845817}" type="parTrans" cxnId="{980DF6BC-D170-4C55-8435-1678DC3557FF}">
      <dgm:prSet/>
      <dgm:spPr/>
      <dgm:t>
        <a:bodyPr/>
        <a:lstStyle/>
        <a:p>
          <a:endParaRPr lang="es-PE"/>
        </a:p>
      </dgm:t>
    </dgm:pt>
    <dgm:pt modelId="{FC2B6669-5AEA-4CB3-8EC3-31B6E2CED12B}" type="sibTrans" cxnId="{980DF6BC-D170-4C55-8435-1678DC3557FF}">
      <dgm:prSet/>
      <dgm:spPr/>
      <dgm:t>
        <a:bodyPr/>
        <a:lstStyle/>
        <a:p>
          <a:endParaRPr lang="es-PE"/>
        </a:p>
      </dgm:t>
    </dgm:pt>
    <dgm:pt modelId="{F4B6008D-EC5E-4AFB-8577-5AD7B0DE0681}" type="pres">
      <dgm:prSet presAssocID="{55109B0B-379A-4836-9F36-17B04D1A56D0}" presName="Name0" presStyleCnt="0">
        <dgm:presLayoutVars>
          <dgm:chMax val="7"/>
          <dgm:chPref val="7"/>
          <dgm:dir/>
        </dgm:presLayoutVars>
      </dgm:prSet>
      <dgm:spPr/>
    </dgm:pt>
    <dgm:pt modelId="{49648737-C181-406D-9714-CEBAB8E9996D}" type="pres">
      <dgm:prSet presAssocID="{55109B0B-379A-4836-9F36-17B04D1A56D0}" presName="Name1" presStyleCnt="0"/>
      <dgm:spPr/>
    </dgm:pt>
    <dgm:pt modelId="{86449E7C-5206-4A08-A218-814DFFD38CF1}" type="pres">
      <dgm:prSet presAssocID="{55109B0B-379A-4836-9F36-17B04D1A56D0}" presName="cycle" presStyleCnt="0"/>
      <dgm:spPr/>
    </dgm:pt>
    <dgm:pt modelId="{2985EA73-867C-4A28-B047-80C89BECE3A9}" type="pres">
      <dgm:prSet presAssocID="{55109B0B-379A-4836-9F36-17B04D1A56D0}" presName="srcNode" presStyleLbl="node1" presStyleIdx="0" presStyleCnt="3"/>
      <dgm:spPr/>
    </dgm:pt>
    <dgm:pt modelId="{4F1A98D1-AB12-4594-8B70-EFE627C9CDAE}" type="pres">
      <dgm:prSet presAssocID="{55109B0B-379A-4836-9F36-17B04D1A56D0}" presName="conn" presStyleLbl="parChTrans1D2" presStyleIdx="0" presStyleCnt="1"/>
      <dgm:spPr/>
    </dgm:pt>
    <dgm:pt modelId="{31EE9497-42DD-4870-895F-AFF81A74042E}" type="pres">
      <dgm:prSet presAssocID="{55109B0B-379A-4836-9F36-17B04D1A56D0}" presName="extraNode" presStyleLbl="node1" presStyleIdx="0" presStyleCnt="3"/>
      <dgm:spPr/>
    </dgm:pt>
    <dgm:pt modelId="{6FA3AB14-2D56-4AE2-AEF5-C921F55D7423}" type="pres">
      <dgm:prSet presAssocID="{55109B0B-379A-4836-9F36-17B04D1A56D0}" presName="dstNode" presStyleLbl="node1" presStyleIdx="0" presStyleCnt="3"/>
      <dgm:spPr/>
    </dgm:pt>
    <dgm:pt modelId="{0420211B-F7ED-4797-9761-47E7AF63911C}" type="pres">
      <dgm:prSet presAssocID="{03D1B4F1-3ACD-4CBE-9BE5-54734C8C96F0}" presName="text_1" presStyleLbl="node1" presStyleIdx="0" presStyleCnt="3">
        <dgm:presLayoutVars>
          <dgm:bulletEnabled val="1"/>
        </dgm:presLayoutVars>
      </dgm:prSet>
      <dgm:spPr>
        <a:prstGeom prst="flowChartAlternateProcess">
          <a:avLst/>
        </a:prstGeom>
      </dgm:spPr>
    </dgm:pt>
    <dgm:pt modelId="{322C84F2-2EB7-4D1F-B9EA-885DF82F1D64}" type="pres">
      <dgm:prSet presAssocID="{03D1B4F1-3ACD-4CBE-9BE5-54734C8C96F0}" presName="accent_1" presStyleCnt="0"/>
      <dgm:spPr/>
    </dgm:pt>
    <dgm:pt modelId="{25E18BCF-24FA-4E49-B125-373FF47E3DB6}" type="pres">
      <dgm:prSet presAssocID="{03D1B4F1-3ACD-4CBE-9BE5-54734C8C96F0}" presName="accentRepeatNode" presStyleLbl="solidFgAcc1" presStyleIdx="0" presStyleCnt="3"/>
      <dgm:spPr/>
    </dgm:pt>
    <dgm:pt modelId="{A7803686-5C83-44E3-8356-961F4AA61998}" type="pres">
      <dgm:prSet presAssocID="{97298B94-BB9E-45E2-B8B3-DF70A08FDE66}" presName="text_2" presStyleLbl="node1" presStyleIdx="1" presStyleCnt="3">
        <dgm:presLayoutVars>
          <dgm:bulletEnabled val="1"/>
        </dgm:presLayoutVars>
      </dgm:prSet>
      <dgm:spPr>
        <a:xfrm>
          <a:off x="1146048" y="2167466"/>
          <a:ext cx="6907174" cy="1083733"/>
        </a:xfrm>
        <a:prstGeom prst="roundRect">
          <a:avLst/>
        </a:prstGeom>
      </dgm:spPr>
    </dgm:pt>
    <dgm:pt modelId="{DA99BA59-E904-45EC-B69B-63675B17531E}" type="pres">
      <dgm:prSet presAssocID="{97298B94-BB9E-45E2-B8B3-DF70A08FDE66}" presName="accent_2" presStyleCnt="0"/>
      <dgm:spPr/>
    </dgm:pt>
    <dgm:pt modelId="{FE550782-92E8-45CD-AE80-937D7A666B64}" type="pres">
      <dgm:prSet presAssocID="{97298B94-BB9E-45E2-B8B3-DF70A08FDE66}" presName="accentRepeatNode" presStyleLbl="solidFgAcc1" presStyleIdx="1" presStyleCnt="3"/>
      <dgm:spPr/>
    </dgm:pt>
    <dgm:pt modelId="{2D554659-6C79-4403-9BC7-5EA56AD7B0F3}" type="pres">
      <dgm:prSet presAssocID="{D53EC5FC-813D-483A-A871-C15E6E30DF8C}" presName="text_3" presStyleLbl="node1" presStyleIdx="2" presStyleCnt="3">
        <dgm:presLayoutVars>
          <dgm:bulletEnabled val="1"/>
        </dgm:presLayoutVars>
      </dgm:prSet>
      <dgm:spPr>
        <a:prstGeom prst="roundRect">
          <a:avLst/>
        </a:prstGeom>
      </dgm:spPr>
    </dgm:pt>
    <dgm:pt modelId="{2B677EE5-62D4-4B12-97C3-5B7B6DAA82EB}" type="pres">
      <dgm:prSet presAssocID="{D53EC5FC-813D-483A-A871-C15E6E30DF8C}" presName="accent_3" presStyleCnt="0"/>
      <dgm:spPr/>
    </dgm:pt>
    <dgm:pt modelId="{168C38C6-BD13-492A-A977-0148D96EF3BD}" type="pres">
      <dgm:prSet presAssocID="{D53EC5FC-813D-483A-A871-C15E6E30DF8C}" presName="accentRepeatNode" presStyleLbl="solidFgAcc1" presStyleIdx="2" presStyleCnt="3"/>
      <dgm:spPr/>
    </dgm:pt>
  </dgm:ptLst>
  <dgm:cxnLst>
    <dgm:cxn modelId="{658C6343-B718-4153-8D2F-D11843D3E3F8}" srcId="{55109B0B-379A-4836-9F36-17B04D1A56D0}" destId="{03D1B4F1-3ACD-4CBE-9BE5-54734C8C96F0}" srcOrd="0" destOrd="0" parTransId="{D7DADC97-EF89-4C5B-84B9-4CD2880A1A5D}" sibTransId="{F753AB2B-8513-4045-98DC-2F46D75B160C}"/>
    <dgm:cxn modelId="{0F01FA48-DA3A-48F4-8812-8F616666410D}" type="presOf" srcId="{03D1B4F1-3ACD-4CBE-9BE5-54734C8C96F0}" destId="{0420211B-F7ED-4797-9761-47E7AF63911C}" srcOrd="0" destOrd="0" presId="urn:microsoft.com/office/officeart/2008/layout/VerticalCurvedList"/>
    <dgm:cxn modelId="{81791495-B815-4B89-9931-DE65EE419543}" type="presOf" srcId="{55109B0B-379A-4836-9F36-17B04D1A56D0}" destId="{F4B6008D-EC5E-4AFB-8577-5AD7B0DE0681}" srcOrd="0" destOrd="0" presId="urn:microsoft.com/office/officeart/2008/layout/VerticalCurvedList"/>
    <dgm:cxn modelId="{AEE1CFAF-074A-4607-8BD0-188218958EC3}" srcId="{55109B0B-379A-4836-9F36-17B04D1A56D0}" destId="{97298B94-BB9E-45E2-B8B3-DF70A08FDE66}" srcOrd="1" destOrd="0" parTransId="{13A23B2C-3CB7-49ED-9A22-E84F09C0D601}" sibTransId="{C7FF303E-0131-4084-B5DD-5BAF9BE5E04E}"/>
    <dgm:cxn modelId="{10306DB4-7860-420C-A5C1-A401900C81E2}" type="presOf" srcId="{F753AB2B-8513-4045-98DC-2F46D75B160C}" destId="{4F1A98D1-AB12-4594-8B70-EFE627C9CDAE}" srcOrd="0" destOrd="0" presId="urn:microsoft.com/office/officeart/2008/layout/VerticalCurvedList"/>
    <dgm:cxn modelId="{980DF6BC-D170-4C55-8435-1678DC3557FF}" srcId="{55109B0B-379A-4836-9F36-17B04D1A56D0}" destId="{D53EC5FC-813D-483A-A871-C15E6E30DF8C}" srcOrd="2" destOrd="0" parTransId="{9C21D92C-85E7-4701-8D4F-3870F7845817}" sibTransId="{FC2B6669-5AEA-4CB3-8EC3-31B6E2CED12B}"/>
    <dgm:cxn modelId="{B0BAD4C9-1F60-40A5-9BDB-DE41E740E826}" type="presOf" srcId="{D53EC5FC-813D-483A-A871-C15E6E30DF8C}" destId="{2D554659-6C79-4403-9BC7-5EA56AD7B0F3}" srcOrd="0" destOrd="0" presId="urn:microsoft.com/office/officeart/2008/layout/VerticalCurvedList"/>
    <dgm:cxn modelId="{CADB62DF-B521-4B97-8083-A9AEA1C581A3}" type="presOf" srcId="{97298B94-BB9E-45E2-B8B3-DF70A08FDE66}" destId="{A7803686-5C83-44E3-8356-961F4AA61998}" srcOrd="0" destOrd="0" presId="urn:microsoft.com/office/officeart/2008/layout/VerticalCurvedList"/>
    <dgm:cxn modelId="{E356BE91-B290-4E7F-A73E-1B3E5AEC08A8}" type="presParOf" srcId="{F4B6008D-EC5E-4AFB-8577-5AD7B0DE0681}" destId="{49648737-C181-406D-9714-CEBAB8E9996D}" srcOrd="0" destOrd="0" presId="urn:microsoft.com/office/officeart/2008/layout/VerticalCurvedList"/>
    <dgm:cxn modelId="{A77F351B-919E-4C0A-A209-8AF2EB148F77}" type="presParOf" srcId="{49648737-C181-406D-9714-CEBAB8E9996D}" destId="{86449E7C-5206-4A08-A218-814DFFD38CF1}" srcOrd="0" destOrd="0" presId="urn:microsoft.com/office/officeart/2008/layout/VerticalCurvedList"/>
    <dgm:cxn modelId="{C9F1942E-F598-4F7E-8C5D-B5FB0E41BDA4}" type="presParOf" srcId="{86449E7C-5206-4A08-A218-814DFFD38CF1}" destId="{2985EA73-867C-4A28-B047-80C89BECE3A9}" srcOrd="0" destOrd="0" presId="urn:microsoft.com/office/officeart/2008/layout/VerticalCurvedList"/>
    <dgm:cxn modelId="{F53EFED1-3F62-44E9-B115-80CA5FD73276}" type="presParOf" srcId="{86449E7C-5206-4A08-A218-814DFFD38CF1}" destId="{4F1A98D1-AB12-4594-8B70-EFE627C9CDAE}" srcOrd="1" destOrd="0" presId="urn:microsoft.com/office/officeart/2008/layout/VerticalCurvedList"/>
    <dgm:cxn modelId="{2F477BFC-A5DB-4932-BD7A-516B57339B53}" type="presParOf" srcId="{86449E7C-5206-4A08-A218-814DFFD38CF1}" destId="{31EE9497-42DD-4870-895F-AFF81A74042E}" srcOrd="2" destOrd="0" presId="urn:microsoft.com/office/officeart/2008/layout/VerticalCurvedList"/>
    <dgm:cxn modelId="{94A42CFB-024B-4496-89A2-D4A85870444A}" type="presParOf" srcId="{86449E7C-5206-4A08-A218-814DFFD38CF1}" destId="{6FA3AB14-2D56-4AE2-AEF5-C921F55D7423}" srcOrd="3" destOrd="0" presId="urn:microsoft.com/office/officeart/2008/layout/VerticalCurvedList"/>
    <dgm:cxn modelId="{1ABD561E-CD21-4FF9-A984-F7ADC558B960}" type="presParOf" srcId="{49648737-C181-406D-9714-CEBAB8E9996D}" destId="{0420211B-F7ED-4797-9761-47E7AF63911C}" srcOrd="1" destOrd="0" presId="urn:microsoft.com/office/officeart/2008/layout/VerticalCurvedList"/>
    <dgm:cxn modelId="{CBD050A3-23DA-49C0-8027-ADD504F21D77}" type="presParOf" srcId="{49648737-C181-406D-9714-CEBAB8E9996D}" destId="{322C84F2-2EB7-4D1F-B9EA-885DF82F1D64}" srcOrd="2" destOrd="0" presId="urn:microsoft.com/office/officeart/2008/layout/VerticalCurvedList"/>
    <dgm:cxn modelId="{760E0AF7-51E8-452F-A73B-6DE5EE5419FE}" type="presParOf" srcId="{322C84F2-2EB7-4D1F-B9EA-885DF82F1D64}" destId="{25E18BCF-24FA-4E49-B125-373FF47E3DB6}" srcOrd="0" destOrd="0" presId="urn:microsoft.com/office/officeart/2008/layout/VerticalCurvedList"/>
    <dgm:cxn modelId="{B2CABCF2-9DE6-4FA1-A20C-D8D53835EC7F}" type="presParOf" srcId="{49648737-C181-406D-9714-CEBAB8E9996D}" destId="{A7803686-5C83-44E3-8356-961F4AA61998}" srcOrd="3" destOrd="0" presId="urn:microsoft.com/office/officeart/2008/layout/VerticalCurvedList"/>
    <dgm:cxn modelId="{6A04553B-BC63-4473-B530-0F40B4568571}" type="presParOf" srcId="{49648737-C181-406D-9714-CEBAB8E9996D}" destId="{DA99BA59-E904-45EC-B69B-63675B17531E}" srcOrd="4" destOrd="0" presId="urn:microsoft.com/office/officeart/2008/layout/VerticalCurvedList"/>
    <dgm:cxn modelId="{6EFCA5DD-E0F4-4BA1-A6A8-609BE2F0A4D8}" type="presParOf" srcId="{DA99BA59-E904-45EC-B69B-63675B17531E}" destId="{FE550782-92E8-45CD-AE80-937D7A666B64}" srcOrd="0" destOrd="0" presId="urn:microsoft.com/office/officeart/2008/layout/VerticalCurvedList"/>
    <dgm:cxn modelId="{9DF2504E-52E3-4A3E-8031-280A96BBA960}" type="presParOf" srcId="{49648737-C181-406D-9714-CEBAB8E9996D}" destId="{2D554659-6C79-4403-9BC7-5EA56AD7B0F3}" srcOrd="5" destOrd="0" presId="urn:microsoft.com/office/officeart/2008/layout/VerticalCurvedList"/>
    <dgm:cxn modelId="{051E90BB-0C53-4B25-AB82-1A3D338E8505}" type="presParOf" srcId="{49648737-C181-406D-9714-CEBAB8E9996D}" destId="{2B677EE5-62D4-4B12-97C3-5B7B6DAA82EB}" srcOrd="6" destOrd="0" presId="urn:microsoft.com/office/officeart/2008/layout/VerticalCurvedList"/>
    <dgm:cxn modelId="{90000283-E9C2-4712-8B01-D7CD79B0C3C4}" type="presParOf" srcId="{2B677EE5-62D4-4B12-97C3-5B7B6DAA82EB}" destId="{168C38C6-BD13-492A-A977-0148D96EF3BD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1505F95-63E5-4F36-9AA6-D24C7AAA15A3}" type="doc">
      <dgm:prSet loTypeId="urn:microsoft.com/office/officeart/2005/8/layout/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PE"/>
        </a:p>
      </dgm:t>
    </dgm:pt>
    <dgm:pt modelId="{386B6AA9-4AA0-4B4E-9F03-1141DE234655}">
      <dgm:prSet phldrT="[Texto]"/>
      <dgm:spPr>
        <a:solidFill>
          <a:schemeClr val="accent2"/>
        </a:solidFill>
      </dgm:spPr>
      <dgm:t>
        <a:bodyPr/>
        <a:lstStyle/>
        <a:p>
          <a:pPr algn="ctr"/>
          <a:r>
            <a:rPr lang="es-PE" dirty="0"/>
            <a:t>Procesos operativos</a:t>
          </a:r>
        </a:p>
      </dgm:t>
    </dgm:pt>
    <dgm:pt modelId="{F19918A0-F6AE-4EAD-97BB-D570E1B49290}" type="parTrans" cxnId="{1B7A1470-8636-4536-AEC8-42C12E215B89}">
      <dgm:prSet/>
      <dgm:spPr/>
      <dgm:t>
        <a:bodyPr/>
        <a:lstStyle/>
        <a:p>
          <a:endParaRPr lang="es-PE"/>
        </a:p>
      </dgm:t>
    </dgm:pt>
    <dgm:pt modelId="{08330047-59AF-4ABA-8A1C-A033C8859B29}" type="sibTrans" cxnId="{1B7A1470-8636-4536-AEC8-42C12E215B89}">
      <dgm:prSet/>
      <dgm:spPr>
        <a:solidFill>
          <a:schemeClr val="accent4"/>
        </a:solidFill>
      </dgm:spPr>
      <dgm:t>
        <a:bodyPr/>
        <a:lstStyle/>
        <a:p>
          <a:endParaRPr lang="es-PE"/>
        </a:p>
      </dgm:t>
    </dgm:pt>
    <dgm:pt modelId="{F040C41B-7A2D-44F7-BE5B-B9DE023EA0F6}">
      <dgm:prSet phldrT="[Texto]"/>
      <dgm:spPr>
        <a:ln>
          <a:solidFill>
            <a:schemeClr val="accent2"/>
          </a:solidFill>
        </a:ln>
      </dgm:spPr>
      <dgm:t>
        <a:bodyPr/>
        <a:lstStyle/>
        <a:p>
          <a:r>
            <a:rPr lang="es-PE" dirty="0"/>
            <a:t>Almacén</a:t>
          </a:r>
        </a:p>
      </dgm:t>
    </dgm:pt>
    <dgm:pt modelId="{6DC4B3DB-D3C6-4079-ADDA-1A955CE653CF}" type="parTrans" cxnId="{5768D038-746E-4604-B50F-3946338F1283}">
      <dgm:prSet/>
      <dgm:spPr/>
      <dgm:t>
        <a:bodyPr/>
        <a:lstStyle/>
        <a:p>
          <a:endParaRPr lang="es-PE"/>
        </a:p>
      </dgm:t>
    </dgm:pt>
    <dgm:pt modelId="{1B304410-4A31-4888-AD8E-FEF06FBADE1D}" type="sibTrans" cxnId="{5768D038-746E-4604-B50F-3946338F1283}">
      <dgm:prSet/>
      <dgm:spPr/>
      <dgm:t>
        <a:bodyPr/>
        <a:lstStyle/>
        <a:p>
          <a:endParaRPr lang="es-PE"/>
        </a:p>
      </dgm:t>
    </dgm:pt>
    <dgm:pt modelId="{98EB9B07-5554-435A-B8BD-19C4BC2E1062}">
      <dgm:prSet phldrT="[Texto]"/>
      <dgm:spPr>
        <a:solidFill>
          <a:schemeClr val="accent2"/>
        </a:solidFill>
      </dgm:spPr>
      <dgm:t>
        <a:bodyPr/>
        <a:lstStyle/>
        <a:p>
          <a:pPr algn="ctr"/>
          <a:r>
            <a:rPr lang="es-PE" dirty="0"/>
            <a:t>Data maestra</a:t>
          </a:r>
        </a:p>
      </dgm:t>
    </dgm:pt>
    <dgm:pt modelId="{4A8B4980-BDCA-4E35-9A0E-83FB4F9EF190}" type="parTrans" cxnId="{3F86126D-1F08-4CAC-9001-687B4DD7D5B8}">
      <dgm:prSet/>
      <dgm:spPr/>
      <dgm:t>
        <a:bodyPr/>
        <a:lstStyle/>
        <a:p>
          <a:endParaRPr lang="es-PE"/>
        </a:p>
      </dgm:t>
    </dgm:pt>
    <dgm:pt modelId="{B5214311-36C5-45CC-9F81-2865C7990EEA}" type="sibTrans" cxnId="{3F86126D-1F08-4CAC-9001-687B4DD7D5B8}">
      <dgm:prSet/>
      <dgm:spPr>
        <a:solidFill>
          <a:schemeClr val="accent4"/>
        </a:solidFill>
      </dgm:spPr>
      <dgm:t>
        <a:bodyPr/>
        <a:lstStyle/>
        <a:p>
          <a:endParaRPr lang="es-PE"/>
        </a:p>
      </dgm:t>
    </dgm:pt>
    <dgm:pt modelId="{A8E0A100-25FC-4D87-8BE2-4E6218CDCC18}">
      <dgm:prSet phldrT="[Texto]"/>
      <dgm:spPr>
        <a:ln>
          <a:solidFill>
            <a:schemeClr val="accent2"/>
          </a:solidFill>
        </a:ln>
      </dgm:spPr>
      <dgm:t>
        <a:bodyPr/>
        <a:lstStyle/>
        <a:p>
          <a:r>
            <a:rPr lang="es-PE" dirty="0"/>
            <a:t>Georreferencias</a:t>
          </a:r>
        </a:p>
      </dgm:t>
    </dgm:pt>
    <dgm:pt modelId="{E4AC4559-52F8-49FB-B810-8618CC10E2EC}" type="parTrans" cxnId="{4C654801-7D9F-4922-A6FF-883B1BF42465}">
      <dgm:prSet/>
      <dgm:spPr/>
      <dgm:t>
        <a:bodyPr/>
        <a:lstStyle/>
        <a:p>
          <a:endParaRPr lang="es-PE"/>
        </a:p>
      </dgm:t>
    </dgm:pt>
    <dgm:pt modelId="{7E967FAB-BA26-4A3B-80C9-DFD20B5F4ACD}" type="sibTrans" cxnId="{4C654801-7D9F-4922-A6FF-883B1BF42465}">
      <dgm:prSet/>
      <dgm:spPr/>
      <dgm:t>
        <a:bodyPr/>
        <a:lstStyle/>
        <a:p>
          <a:endParaRPr lang="es-PE"/>
        </a:p>
      </dgm:t>
    </dgm:pt>
    <dgm:pt modelId="{29033F92-D28B-411D-868B-09A70994B3FA}">
      <dgm:prSet phldrT="[Texto]"/>
      <dgm:spPr>
        <a:solidFill>
          <a:schemeClr val="accent2"/>
        </a:solidFill>
      </dgm:spPr>
      <dgm:t>
        <a:bodyPr/>
        <a:lstStyle/>
        <a:p>
          <a:pPr algn="ctr"/>
          <a:r>
            <a:rPr lang="es-PE" dirty="0"/>
            <a:t>Ruteo de vehículos</a:t>
          </a:r>
        </a:p>
      </dgm:t>
    </dgm:pt>
    <dgm:pt modelId="{DF5A5075-7646-4868-86A9-69660658E8B8}" type="parTrans" cxnId="{37BA1ACF-5313-45F9-B16E-6D56084C8101}">
      <dgm:prSet/>
      <dgm:spPr/>
      <dgm:t>
        <a:bodyPr/>
        <a:lstStyle/>
        <a:p>
          <a:endParaRPr lang="es-PE"/>
        </a:p>
      </dgm:t>
    </dgm:pt>
    <dgm:pt modelId="{9A85B3E3-E0E5-4A7A-B3EC-2E01FF607CD6}" type="sibTrans" cxnId="{37BA1ACF-5313-45F9-B16E-6D56084C8101}">
      <dgm:prSet/>
      <dgm:spPr/>
      <dgm:t>
        <a:bodyPr/>
        <a:lstStyle/>
        <a:p>
          <a:endParaRPr lang="es-PE"/>
        </a:p>
      </dgm:t>
    </dgm:pt>
    <dgm:pt modelId="{B48EA02B-7214-4081-9D8F-D6707C2A5535}">
      <dgm:prSet phldrT="[Texto]"/>
      <dgm:spPr>
        <a:ln>
          <a:solidFill>
            <a:schemeClr val="accent2"/>
          </a:solidFill>
        </a:ln>
      </dgm:spPr>
      <dgm:t>
        <a:bodyPr/>
        <a:lstStyle/>
        <a:p>
          <a:r>
            <a:rPr lang="es-PE" dirty="0"/>
            <a:t>Comercial</a:t>
          </a:r>
        </a:p>
      </dgm:t>
    </dgm:pt>
    <dgm:pt modelId="{0839C460-0074-4E56-9751-C7870BF6C874}" type="parTrans" cxnId="{3E69D8A5-0C4A-45BD-B8B6-FD6815845ECD}">
      <dgm:prSet/>
      <dgm:spPr/>
      <dgm:t>
        <a:bodyPr/>
        <a:lstStyle/>
        <a:p>
          <a:endParaRPr lang="es-PE"/>
        </a:p>
      </dgm:t>
    </dgm:pt>
    <dgm:pt modelId="{8CE751D3-3830-407D-8C94-D89F01FEB3DC}" type="sibTrans" cxnId="{3E69D8A5-0C4A-45BD-B8B6-FD6815845ECD}">
      <dgm:prSet/>
      <dgm:spPr/>
      <dgm:t>
        <a:bodyPr/>
        <a:lstStyle/>
        <a:p>
          <a:endParaRPr lang="es-PE"/>
        </a:p>
      </dgm:t>
    </dgm:pt>
    <dgm:pt modelId="{967FEBE4-419F-48BF-B26F-9228194110D7}">
      <dgm:prSet phldrT="[Texto]"/>
      <dgm:spPr>
        <a:ln>
          <a:solidFill>
            <a:schemeClr val="accent2"/>
          </a:solidFill>
        </a:ln>
      </dgm:spPr>
      <dgm:t>
        <a:bodyPr/>
        <a:lstStyle/>
        <a:p>
          <a:r>
            <a:rPr lang="es-PE" dirty="0"/>
            <a:t>Distribución</a:t>
          </a:r>
        </a:p>
      </dgm:t>
    </dgm:pt>
    <dgm:pt modelId="{69FC9847-290D-472F-B966-E1C12E45457B}" type="parTrans" cxnId="{1E3FF6C0-1956-4E6C-82EE-D99411B81059}">
      <dgm:prSet/>
      <dgm:spPr/>
      <dgm:t>
        <a:bodyPr/>
        <a:lstStyle/>
        <a:p>
          <a:endParaRPr lang="es-PE"/>
        </a:p>
      </dgm:t>
    </dgm:pt>
    <dgm:pt modelId="{DB383D16-9F40-438D-8997-0E27E0705227}" type="sibTrans" cxnId="{1E3FF6C0-1956-4E6C-82EE-D99411B81059}">
      <dgm:prSet/>
      <dgm:spPr/>
      <dgm:t>
        <a:bodyPr/>
        <a:lstStyle/>
        <a:p>
          <a:endParaRPr lang="es-PE"/>
        </a:p>
      </dgm:t>
    </dgm:pt>
    <dgm:pt modelId="{AA49D49B-D606-4F55-BE83-3A9DC85B44F9}">
      <dgm:prSet phldrT="[Texto]"/>
      <dgm:spPr>
        <a:ln>
          <a:solidFill>
            <a:schemeClr val="accent2"/>
          </a:solidFill>
        </a:ln>
      </dgm:spPr>
      <dgm:t>
        <a:bodyPr/>
        <a:lstStyle/>
        <a:p>
          <a:r>
            <a:rPr lang="es-PE" dirty="0"/>
            <a:t>Administración: liquidación en rutas</a:t>
          </a:r>
        </a:p>
      </dgm:t>
    </dgm:pt>
    <dgm:pt modelId="{00B23BD2-5AD4-4366-B787-2DC837200612}" type="parTrans" cxnId="{8D0F3122-9C12-40FD-A314-7A7D2CAFA2F6}">
      <dgm:prSet/>
      <dgm:spPr/>
      <dgm:t>
        <a:bodyPr/>
        <a:lstStyle/>
        <a:p>
          <a:endParaRPr lang="es-PE"/>
        </a:p>
      </dgm:t>
    </dgm:pt>
    <dgm:pt modelId="{028AFF18-7DD6-4775-A89A-BB2383EF6AFE}" type="sibTrans" cxnId="{8D0F3122-9C12-40FD-A314-7A7D2CAFA2F6}">
      <dgm:prSet/>
      <dgm:spPr/>
      <dgm:t>
        <a:bodyPr/>
        <a:lstStyle/>
        <a:p>
          <a:endParaRPr lang="es-PE"/>
        </a:p>
      </dgm:t>
    </dgm:pt>
    <dgm:pt modelId="{771A9156-5C3B-45D0-85D3-66524897A91E}">
      <dgm:prSet phldrT="[Texto]"/>
      <dgm:spPr>
        <a:ln>
          <a:solidFill>
            <a:schemeClr val="accent2"/>
          </a:solidFill>
        </a:ln>
      </dgm:spPr>
      <dgm:t>
        <a:bodyPr/>
        <a:lstStyle/>
        <a:p>
          <a:r>
            <a:rPr lang="es-PE" dirty="0"/>
            <a:t>Coordenadas (lon,lat)</a:t>
          </a:r>
        </a:p>
      </dgm:t>
    </dgm:pt>
    <dgm:pt modelId="{C3577802-7F9C-4FDE-A0D0-203D9EFCCF11}" type="parTrans" cxnId="{89F5D0B8-49A9-4DA3-A2FB-FE761C8614AC}">
      <dgm:prSet/>
      <dgm:spPr/>
      <dgm:t>
        <a:bodyPr/>
        <a:lstStyle/>
        <a:p>
          <a:endParaRPr lang="es-PE"/>
        </a:p>
      </dgm:t>
    </dgm:pt>
    <dgm:pt modelId="{1E1F7255-BDC8-4BFC-95C0-F14EBBF0BBCB}" type="sibTrans" cxnId="{89F5D0B8-49A9-4DA3-A2FB-FE761C8614AC}">
      <dgm:prSet/>
      <dgm:spPr/>
      <dgm:t>
        <a:bodyPr/>
        <a:lstStyle/>
        <a:p>
          <a:endParaRPr lang="es-PE"/>
        </a:p>
      </dgm:t>
    </dgm:pt>
    <dgm:pt modelId="{39B301D0-9749-4329-955E-0452B8B611A5}">
      <dgm:prSet phldrT="[Texto]"/>
      <dgm:spPr>
        <a:ln>
          <a:solidFill>
            <a:schemeClr val="accent2"/>
          </a:solidFill>
        </a:ln>
      </dgm:spPr>
      <dgm:t>
        <a:bodyPr/>
        <a:lstStyle/>
        <a:p>
          <a:r>
            <a:rPr lang="es-PE" dirty="0"/>
            <a:t>Ventanas horarias</a:t>
          </a:r>
        </a:p>
      </dgm:t>
    </dgm:pt>
    <dgm:pt modelId="{71045585-209B-40AE-B42C-0D0E44A3B89B}" type="parTrans" cxnId="{F04CDC77-21C2-40D7-8C36-2432B451921E}">
      <dgm:prSet/>
      <dgm:spPr/>
      <dgm:t>
        <a:bodyPr/>
        <a:lstStyle/>
        <a:p>
          <a:endParaRPr lang="es-PE"/>
        </a:p>
      </dgm:t>
    </dgm:pt>
    <dgm:pt modelId="{BE31F1B4-B5A4-41D1-AE21-1727FF5B5517}" type="sibTrans" cxnId="{F04CDC77-21C2-40D7-8C36-2432B451921E}">
      <dgm:prSet/>
      <dgm:spPr/>
      <dgm:t>
        <a:bodyPr/>
        <a:lstStyle/>
        <a:p>
          <a:endParaRPr lang="es-PE"/>
        </a:p>
      </dgm:t>
    </dgm:pt>
    <dgm:pt modelId="{5D9435E9-7CC2-4AF7-A8BA-DDC29981992E}">
      <dgm:prSet phldrT="[Texto]"/>
      <dgm:spPr>
        <a:ln>
          <a:solidFill>
            <a:schemeClr val="accent2"/>
          </a:solidFill>
        </a:ln>
      </dgm:spPr>
      <dgm:t>
        <a:bodyPr/>
        <a:lstStyle/>
        <a:p>
          <a:r>
            <a:rPr lang="es-PE" dirty="0"/>
            <a:t>Camiones disponibles</a:t>
          </a:r>
        </a:p>
      </dgm:t>
    </dgm:pt>
    <dgm:pt modelId="{0567FFB8-76D6-4C75-B48A-2D2855073C43}" type="parTrans" cxnId="{E971ECE6-FBC2-44D1-AD4D-D94456A595E8}">
      <dgm:prSet/>
      <dgm:spPr/>
      <dgm:t>
        <a:bodyPr/>
        <a:lstStyle/>
        <a:p>
          <a:endParaRPr lang="es-PE"/>
        </a:p>
      </dgm:t>
    </dgm:pt>
    <dgm:pt modelId="{8589847E-9214-4878-905B-50233F4B37FF}" type="sibTrans" cxnId="{E971ECE6-FBC2-44D1-AD4D-D94456A595E8}">
      <dgm:prSet/>
      <dgm:spPr/>
      <dgm:t>
        <a:bodyPr/>
        <a:lstStyle/>
        <a:p>
          <a:endParaRPr lang="es-PE"/>
        </a:p>
      </dgm:t>
    </dgm:pt>
    <dgm:pt modelId="{E8A5658A-781C-46FF-85F0-058FBD69F60E}">
      <dgm:prSet phldrT="[Texto]"/>
      <dgm:spPr>
        <a:ln>
          <a:solidFill>
            <a:schemeClr val="accent2"/>
          </a:solidFill>
        </a:ln>
      </dgm:spPr>
      <dgm:t>
        <a:bodyPr/>
        <a:lstStyle/>
        <a:p>
          <a:r>
            <a:rPr lang="es-PE" dirty="0"/>
            <a:t>Capacidad por camión</a:t>
          </a:r>
        </a:p>
      </dgm:t>
    </dgm:pt>
    <dgm:pt modelId="{79BE79EB-F367-46C3-AE95-90690FB99F3A}" type="parTrans" cxnId="{4D2C1C9C-2A1A-4E4E-814C-5245D464A401}">
      <dgm:prSet/>
      <dgm:spPr/>
      <dgm:t>
        <a:bodyPr/>
        <a:lstStyle/>
        <a:p>
          <a:endParaRPr lang="es-PE"/>
        </a:p>
      </dgm:t>
    </dgm:pt>
    <dgm:pt modelId="{BC2F578F-1C0C-4E7F-8389-8881575E8173}" type="sibTrans" cxnId="{4D2C1C9C-2A1A-4E4E-814C-5245D464A401}">
      <dgm:prSet/>
      <dgm:spPr/>
      <dgm:t>
        <a:bodyPr/>
        <a:lstStyle/>
        <a:p>
          <a:endParaRPr lang="es-PE"/>
        </a:p>
      </dgm:t>
    </dgm:pt>
    <dgm:pt modelId="{D3C3FA57-293E-42F6-8F9B-56790BCAED47}">
      <dgm:prSet phldrT="[Texto]"/>
      <dgm:spPr>
        <a:ln>
          <a:solidFill>
            <a:schemeClr val="accent2"/>
          </a:solidFill>
        </a:ln>
      </dgm:spPr>
      <dgm:t>
        <a:bodyPr/>
        <a:lstStyle/>
        <a:p>
          <a:r>
            <a:rPr lang="es-PE" dirty="0"/>
            <a:t>Restricciones</a:t>
          </a:r>
        </a:p>
      </dgm:t>
    </dgm:pt>
    <dgm:pt modelId="{A88439B0-8A94-41F1-AEFD-1B010E2D1223}" type="parTrans" cxnId="{6B6DD713-51A7-432D-9122-ABCFDA8FEEC1}">
      <dgm:prSet/>
      <dgm:spPr/>
      <dgm:t>
        <a:bodyPr/>
        <a:lstStyle/>
        <a:p>
          <a:endParaRPr lang="es-PE"/>
        </a:p>
      </dgm:t>
    </dgm:pt>
    <dgm:pt modelId="{5C90387D-F8B0-40DD-A8A0-7FEEC66C8F45}" type="sibTrans" cxnId="{6B6DD713-51A7-432D-9122-ABCFDA8FEEC1}">
      <dgm:prSet/>
      <dgm:spPr/>
      <dgm:t>
        <a:bodyPr/>
        <a:lstStyle/>
        <a:p>
          <a:endParaRPr lang="es-PE"/>
        </a:p>
      </dgm:t>
    </dgm:pt>
    <dgm:pt modelId="{082BFEC8-AAD0-4A43-8E25-F3C2F7437993}">
      <dgm:prSet phldrT="[Texto]"/>
      <dgm:spPr>
        <a:ln>
          <a:solidFill>
            <a:schemeClr val="accent2"/>
          </a:solidFill>
        </a:ln>
      </dgm:spPr>
      <dgm:t>
        <a:bodyPr/>
        <a:lstStyle/>
        <a:p>
          <a:r>
            <a:rPr lang="es-PE" dirty="0"/>
            <a:t>Generación de nuevas rutas</a:t>
          </a:r>
        </a:p>
      </dgm:t>
    </dgm:pt>
    <dgm:pt modelId="{A514206E-D664-4780-B99F-F1777C2D8AC2}" type="parTrans" cxnId="{0EFE75EF-F451-4644-9879-6116C68955C4}">
      <dgm:prSet/>
      <dgm:spPr/>
      <dgm:t>
        <a:bodyPr/>
        <a:lstStyle/>
        <a:p>
          <a:endParaRPr lang="es-PE"/>
        </a:p>
      </dgm:t>
    </dgm:pt>
    <dgm:pt modelId="{5E73BD98-7ACA-41B0-A819-6973A15223B2}" type="sibTrans" cxnId="{0EFE75EF-F451-4644-9879-6116C68955C4}">
      <dgm:prSet/>
      <dgm:spPr/>
      <dgm:t>
        <a:bodyPr/>
        <a:lstStyle/>
        <a:p>
          <a:endParaRPr lang="es-PE"/>
        </a:p>
      </dgm:t>
    </dgm:pt>
    <dgm:pt modelId="{3FC7647D-F403-449D-A6AC-3E43720F5E47}" type="pres">
      <dgm:prSet presAssocID="{A1505F95-63E5-4F36-9AA6-D24C7AAA15A3}" presName="linearFlow" presStyleCnt="0">
        <dgm:presLayoutVars>
          <dgm:dir/>
          <dgm:animLvl val="lvl"/>
          <dgm:resizeHandles val="exact"/>
        </dgm:presLayoutVars>
      </dgm:prSet>
      <dgm:spPr/>
    </dgm:pt>
    <dgm:pt modelId="{4440F35D-C85A-4A70-A155-742D7A48871E}" type="pres">
      <dgm:prSet presAssocID="{386B6AA9-4AA0-4B4E-9F03-1141DE234655}" presName="composite" presStyleCnt="0"/>
      <dgm:spPr/>
    </dgm:pt>
    <dgm:pt modelId="{64D61DBF-2491-486B-AC2E-2164C5CD4A10}" type="pres">
      <dgm:prSet presAssocID="{386B6AA9-4AA0-4B4E-9F03-1141DE234655}" presName="parTx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D85BEFA5-6003-46EF-A4F2-EB3A7A24CA84}" type="pres">
      <dgm:prSet presAssocID="{386B6AA9-4AA0-4B4E-9F03-1141DE234655}" presName="parSh" presStyleLbl="node1" presStyleIdx="0" presStyleCnt="3"/>
      <dgm:spPr/>
    </dgm:pt>
    <dgm:pt modelId="{992CB8F2-0830-4B99-84CB-83CCF9790E38}" type="pres">
      <dgm:prSet presAssocID="{386B6AA9-4AA0-4B4E-9F03-1141DE234655}" presName="desTx" presStyleLbl="fgAcc1" presStyleIdx="0" presStyleCnt="3">
        <dgm:presLayoutVars>
          <dgm:bulletEnabled val="1"/>
        </dgm:presLayoutVars>
      </dgm:prSet>
      <dgm:spPr/>
    </dgm:pt>
    <dgm:pt modelId="{3F26ED8D-0166-4367-BD9D-CA20E5814535}" type="pres">
      <dgm:prSet presAssocID="{08330047-59AF-4ABA-8A1C-A033C8859B29}" presName="sibTrans" presStyleLbl="sibTrans2D1" presStyleIdx="0" presStyleCnt="2"/>
      <dgm:spPr/>
    </dgm:pt>
    <dgm:pt modelId="{915DD96B-D157-42E9-9BFB-E1F0EED15BE7}" type="pres">
      <dgm:prSet presAssocID="{08330047-59AF-4ABA-8A1C-A033C8859B29}" presName="connTx" presStyleLbl="sibTrans2D1" presStyleIdx="0" presStyleCnt="2"/>
      <dgm:spPr/>
    </dgm:pt>
    <dgm:pt modelId="{3FC7B680-6D31-4BEB-83B5-3B4438A0F9C4}" type="pres">
      <dgm:prSet presAssocID="{98EB9B07-5554-435A-B8BD-19C4BC2E1062}" presName="composite" presStyleCnt="0"/>
      <dgm:spPr/>
    </dgm:pt>
    <dgm:pt modelId="{7BB98AAA-67AD-456F-9007-4927EA52FCA3}" type="pres">
      <dgm:prSet presAssocID="{98EB9B07-5554-435A-B8BD-19C4BC2E1062}" presName="parTx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CF829913-837F-440F-8312-34474D203241}" type="pres">
      <dgm:prSet presAssocID="{98EB9B07-5554-435A-B8BD-19C4BC2E1062}" presName="parSh" presStyleLbl="node1" presStyleIdx="1" presStyleCnt="3"/>
      <dgm:spPr/>
    </dgm:pt>
    <dgm:pt modelId="{4D5D63AF-9553-4761-826D-7FA3A37E2BCB}" type="pres">
      <dgm:prSet presAssocID="{98EB9B07-5554-435A-B8BD-19C4BC2E1062}" presName="desTx" presStyleLbl="fgAcc1" presStyleIdx="1" presStyleCnt="3">
        <dgm:presLayoutVars>
          <dgm:bulletEnabled val="1"/>
        </dgm:presLayoutVars>
      </dgm:prSet>
      <dgm:spPr/>
    </dgm:pt>
    <dgm:pt modelId="{982161F8-9357-4CE7-B74D-9FDF7EB2A9C2}" type="pres">
      <dgm:prSet presAssocID="{B5214311-36C5-45CC-9F81-2865C7990EEA}" presName="sibTrans" presStyleLbl="sibTrans2D1" presStyleIdx="1" presStyleCnt="2"/>
      <dgm:spPr/>
    </dgm:pt>
    <dgm:pt modelId="{278B0937-B50C-4CBF-8AC3-480B0F948581}" type="pres">
      <dgm:prSet presAssocID="{B5214311-36C5-45CC-9F81-2865C7990EEA}" presName="connTx" presStyleLbl="sibTrans2D1" presStyleIdx="1" presStyleCnt="2"/>
      <dgm:spPr/>
    </dgm:pt>
    <dgm:pt modelId="{54976FFD-644D-4A0D-B54F-1D8A57194F3F}" type="pres">
      <dgm:prSet presAssocID="{29033F92-D28B-411D-868B-09A70994B3FA}" presName="composite" presStyleCnt="0"/>
      <dgm:spPr/>
    </dgm:pt>
    <dgm:pt modelId="{8A311FDD-B9DA-4BDB-BE19-90BC47B6F7AA}" type="pres">
      <dgm:prSet presAssocID="{29033F92-D28B-411D-868B-09A70994B3FA}" presName="parTx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D178BFB4-BFF1-40C3-976A-194788106184}" type="pres">
      <dgm:prSet presAssocID="{29033F92-D28B-411D-868B-09A70994B3FA}" presName="parSh" presStyleLbl="node1" presStyleIdx="2" presStyleCnt="3"/>
      <dgm:spPr/>
    </dgm:pt>
    <dgm:pt modelId="{CC186FDD-56A8-495B-AA18-5641C2B4EBC3}" type="pres">
      <dgm:prSet presAssocID="{29033F92-D28B-411D-868B-09A70994B3FA}" presName="desTx" presStyleLbl="fgAcc1" presStyleIdx="2" presStyleCnt="3">
        <dgm:presLayoutVars>
          <dgm:bulletEnabled val="1"/>
        </dgm:presLayoutVars>
      </dgm:prSet>
      <dgm:spPr/>
    </dgm:pt>
  </dgm:ptLst>
  <dgm:cxnLst>
    <dgm:cxn modelId="{4C654801-7D9F-4922-A6FF-883B1BF42465}" srcId="{98EB9B07-5554-435A-B8BD-19C4BC2E1062}" destId="{A8E0A100-25FC-4D87-8BE2-4E6218CDCC18}" srcOrd="0" destOrd="0" parTransId="{E4AC4559-52F8-49FB-B810-8618CC10E2EC}" sibTransId="{7E967FAB-BA26-4A3B-80C9-DFD20B5F4ACD}"/>
    <dgm:cxn modelId="{E651080C-9963-4EE4-8E05-A553FB26225E}" type="presOf" srcId="{D3C3FA57-293E-42F6-8F9B-56790BCAED47}" destId="{CC186FDD-56A8-495B-AA18-5641C2B4EBC3}" srcOrd="0" destOrd="0" presId="urn:microsoft.com/office/officeart/2005/8/layout/process3"/>
    <dgm:cxn modelId="{6B6DD713-51A7-432D-9122-ABCFDA8FEEC1}" srcId="{29033F92-D28B-411D-868B-09A70994B3FA}" destId="{D3C3FA57-293E-42F6-8F9B-56790BCAED47}" srcOrd="0" destOrd="0" parTransId="{A88439B0-8A94-41F1-AEFD-1B010E2D1223}" sibTransId="{5C90387D-F8B0-40DD-A8A0-7FEEC66C8F45}"/>
    <dgm:cxn modelId="{B9656718-426C-48DB-A164-AD183374E23E}" type="presOf" srcId="{E8A5658A-781C-46FF-85F0-058FBD69F60E}" destId="{4D5D63AF-9553-4761-826D-7FA3A37E2BCB}" srcOrd="0" destOrd="4" presId="urn:microsoft.com/office/officeart/2005/8/layout/process3"/>
    <dgm:cxn modelId="{35CBB91E-A021-4887-B5C3-DAD96CA2B0A7}" type="presOf" srcId="{082BFEC8-AAD0-4A43-8E25-F3C2F7437993}" destId="{CC186FDD-56A8-495B-AA18-5641C2B4EBC3}" srcOrd="0" destOrd="1" presId="urn:microsoft.com/office/officeart/2005/8/layout/process3"/>
    <dgm:cxn modelId="{8D0F3122-9C12-40FD-A314-7A7D2CAFA2F6}" srcId="{386B6AA9-4AA0-4B4E-9F03-1141DE234655}" destId="{AA49D49B-D606-4F55-BE83-3A9DC85B44F9}" srcOrd="3" destOrd="0" parTransId="{00B23BD2-5AD4-4366-B787-2DC837200612}" sibTransId="{028AFF18-7DD6-4775-A89A-BB2383EF6AFE}"/>
    <dgm:cxn modelId="{5768D038-746E-4604-B50F-3946338F1283}" srcId="{386B6AA9-4AA0-4B4E-9F03-1141DE234655}" destId="{F040C41B-7A2D-44F7-BE5B-B9DE023EA0F6}" srcOrd="0" destOrd="0" parTransId="{6DC4B3DB-D3C6-4079-ADDA-1A955CE653CF}" sibTransId="{1B304410-4A31-4888-AD8E-FEF06FBADE1D}"/>
    <dgm:cxn modelId="{3F86126D-1F08-4CAC-9001-687B4DD7D5B8}" srcId="{A1505F95-63E5-4F36-9AA6-D24C7AAA15A3}" destId="{98EB9B07-5554-435A-B8BD-19C4BC2E1062}" srcOrd="1" destOrd="0" parTransId="{4A8B4980-BDCA-4E35-9A0E-83FB4F9EF190}" sibTransId="{B5214311-36C5-45CC-9F81-2865C7990EEA}"/>
    <dgm:cxn modelId="{30500F6F-475E-45F9-980F-B56E8B717488}" type="presOf" srcId="{771A9156-5C3B-45D0-85D3-66524897A91E}" destId="{4D5D63AF-9553-4761-826D-7FA3A37E2BCB}" srcOrd="0" destOrd="1" presId="urn:microsoft.com/office/officeart/2005/8/layout/process3"/>
    <dgm:cxn modelId="{1B7A1470-8636-4536-AEC8-42C12E215B89}" srcId="{A1505F95-63E5-4F36-9AA6-D24C7AAA15A3}" destId="{386B6AA9-4AA0-4B4E-9F03-1141DE234655}" srcOrd="0" destOrd="0" parTransId="{F19918A0-F6AE-4EAD-97BB-D570E1B49290}" sibTransId="{08330047-59AF-4ABA-8A1C-A033C8859B29}"/>
    <dgm:cxn modelId="{10CEB372-03AC-4557-B70F-C5D9AE66B497}" type="presOf" srcId="{B5214311-36C5-45CC-9F81-2865C7990EEA}" destId="{278B0937-B50C-4CBF-8AC3-480B0F948581}" srcOrd="1" destOrd="0" presId="urn:microsoft.com/office/officeart/2005/8/layout/process3"/>
    <dgm:cxn modelId="{3D66EE73-C1DF-4FE5-ADFE-A708AB72F42C}" type="presOf" srcId="{A1505F95-63E5-4F36-9AA6-D24C7AAA15A3}" destId="{3FC7647D-F403-449D-A6AC-3E43720F5E47}" srcOrd="0" destOrd="0" presId="urn:microsoft.com/office/officeart/2005/8/layout/process3"/>
    <dgm:cxn modelId="{3C31B657-1BB9-44E6-B2DC-3EEB24BB5E38}" type="presOf" srcId="{B48EA02B-7214-4081-9D8F-D6707C2A5535}" destId="{992CB8F2-0830-4B99-84CB-83CCF9790E38}" srcOrd="0" destOrd="1" presId="urn:microsoft.com/office/officeart/2005/8/layout/process3"/>
    <dgm:cxn modelId="{F04CDC77-21C2-40D7-8C36-2432B451921E}" srcId="{98EB9B07-5554-435A-B8BD-19C4BC2E1062}" destId="{39B301D0-9749-4329-955E-0452B8B611A5}" srcOrd="2" destOrd="0" parTransId="{71045585-209B-40AE-B42C-0D0E44A3B89B}" sibTransId="{BE31F1B4-B5A4-41D1-AE21-1727FF5B5517}"/>
    <dgm:cxn modelId="{5BC99378-1AAE-428B-BE02-A0C0582FFE6B}" type="presOf" srcId="{08330047-59AF-4ABA-8A1C-A033C8859B29}" destId="{3F26ED8D-0166-4367-BD9D-CA20E5814535}" srcOrd="0" destOrd="0" presId="urn:microsoft.com/office/officeart/2005/8/layout/process3"/>
    <dgm:cxn modelId="{A0D7B97B-59C7-41DA-AA4C-D5A44C352818}" type="presOf" srcId="{98EB9B07-5554-435A-B8BD-19C4BC2E1062}" destId="{7BB98AAA-67AD-456F-9007-4927EA52FCA3}" srcOrd="0" destOrd="0" presId="urn:microsoft.com/office/officeart/2005/8/layout/process3"/>
    <dgm:cxn modelId="{FDB55F81-3CC9-4439-A8D5-1FF50C856D7F}" type="presOf" srcId="{A8E0A100-25FC-4D87-8BE2-4E6218CDCC18}" destId="{4D5D63AF-9553-4761-826D-7FA3A37E2BCB}" srcOrd="0" destOrd="0" presId="urn:microsoft.com/office/officeart/2005/8/layout/process3"/>
    <dgm:cxn modelId="{4AFF6285-B30C-4BD9-96CB-5BBA0BAC3773}" type="presOf" srcId="{29033F92-D28B-411D-868B-09A70994B3FA}" destId="{D178BFB4-BFF1-40C3-976A-194788106184}" srcOrd="1" destOrd="0" presId="urn:microsoft.com/office/officeart/2005/8/layout/process3"/>
    <dgm:cxn modelId="{988C8C8B-0A4D-488D-BA91-08C7BF696D18}" type="presOf" srcId="{B5214311-36C5-45CC-9F81-2865C7990EEA}" destId="{982161F8-9357-4CE7-B74D-9FDF7EB2A9C2}" srcOrd="0" destOrd="0" presId="urn:microsoft.com/office/officeart/2005/8/layout/process3"/>
    <dgm:cxn modelId="{E2D02E93-4D7A-458F-BE22-50432A7DA463}" type="presOf" srcId="{98EB9B07-5554-435A-B8BD-19C4BC2E1062}" destId="{CF829913-837F-440F-8312-34474D203241}" srcOrd="1" destOrd="0" presId="urn:microsoft.com/office/officeart/2005/8/layout/process3"/>
    <dgm:cxn modelId="{4D2C1C9C-2A1A-4E4E-814C-5245D464A401}" srcId="{98EB9B07-5554-435A-B8BD-19C4BC2E1062}" destId="{E8A5658A-781C-46FF-85F0-058FBD69F60E}" srcOrd="4" destOrd="0" parTransId="{79BE79EB-F367-46C3-AE95-90690FB99F3A}" sibTransId="{BC2F578F-1C0C-4E7F-8389-8881575E8173}"/>
    <dgm:cxn modelId="{3E69D8A5-0C4A-45BD-B8B6-FD6815845ECD}" srcId="{386B6AA9-4AA0-4B4E-9F03-1141DE234655}" destId="{B48EA02B-7214-4081-9D8F-D6707C2A5535}" srcOrd="1" destOrd="0" parTransId="{0839C460-0074-4E56-9751-C7870BF6C874}" sibTransId="{8CE751D3-3830-407D-8C94-D89F01FEB3DC}"/>
    <dgm:cxn modelId="{96E27AAD-6F2C-4C9E-949E-355703DF2731}" type="presOf" srcId="{F040C41B-7A2D-44F7-BE5B-B9DE023EA0F6}" destId="{992CB8F2-0830-4B99-84CB-83CCF9790E38}" srcOrd="0" destOrd="0" presId="urn:microsoft.com/office/officeart/2005/8/layout/process3"/>
    <dgm:cxn modelId="{FB9724B8-E900-4D97-B31B-64794E9C2D2A}" type="presOf" srcId="{386B6AA9-4AA0-4B4E-9F03-1141DE234655}" destId="{D85BEFA5-6003-46EF-A4F2-EB3A7A24CA84}" srcOrd="1" destOrd="0" presId="urn:microsoft.com/office/officeart/2005/8/layout/process3"/>
    <dgm:cxn modelId="{89F5D0B8-49A9-4DA3-A2FB-FE761C8614AC}" srcId="{98EB9B07-5554-435A-B8BD-19C4BC2E1062}" destId="{771A9156-5C3B-45D0-85D3-66524897A91E}" srcOrd="1" destOrd="0" parTransId="{C3577802-7F9C-4FDE-A0D0-203D9EFCCF11}" sibTransId="{1E1F7255-BDC8-4BFC-95C0-F14EBBF0BBCB}"/>
    <dgm:cxn modelId="{1E3FF6C0-1956-4E6C-82EE-D99411B81059}" srcId="{386B6AA9-4AA0-4B4E-9F03-1141DE234655}" destId="{967FEBE4-419F-48BF-B26F-9228194110D7}" srcOrd="2" destOrd="0" parTransId="{69FC9847-290D-472F-B966-E1C12E45457B}" sibTransId="{DB383D16-9F40-438D-8997-0E27E0705227}"/>
    <dgm:cxn modelId="{A280B0CB-A973-451A-AB88-B36283EAC72A}" type="presOf" srcId="{29033F92-D28B-411D-868B-09A70994B3FA}" destId="{8A311FDD-B9DA-4BDB-BE19-90BC47B6F7AA}" srcOrd="0" destOrd="0" presId="urn:microsoft.com/office/officeart/2005/8/layout/process3"/>
    <dgm:cxn modelId="{0BAF57CE-DFF1-4207-A35F-3231DF45CCB3}" type="presOf" srcId="{AA49D49B-D606-4F55-BE83-3A9DC85B44F9}" destId="{992CB8F2-0830-4B99-84CB-83CCF9790E38}" srcOrd="0" destOrd="3" presId="urn:microsoft.com/office/officeart/2005/8/layout/process3"/>
    <dgm:cxn modelId="{37BA1ACF-5313-45F9-B16E-6D56084C8101}" srcId="{A1505F95-63E5-4F36-9AA6-D24C7AAA15A3}" destId="{29033F92-D28B-411D-868B-09A70994B3FA}" srcOrd="2" destOrd="0" parTransId="{DF5A5075-7646-4868-86A9-69660658E8B8}" sibTransId="{9A85B3E3-E0E5-4A7A-B3EC-2E01FF607CD6}"/>
    <dgm:cxn modelId="{EF778BD5-C769-4E74-8CD0-BA8F3D88A9E3}" type="presOf" srcId="{967FEBE4-419F-48BF-B26F-9228194110D7}" destId="{992CB8F2-0830-4B99-84CB-83CCF9790E38}" srcOrd="0" destOrd="2" presId="urn:microsoft.com/office/officeart/2005/8/layout/process3"/>
    <dgm:cxn modelId="{6CADEAD7-B312-4427-8D8A-FE258E8266B5}" type="presOf" srcId="{39B301D0-9749-4329-955E-0452B8B611A5}" destId="{4D5D63AF-9553-4761-826D-7FA3A37E2BCB}" srcOrd="0" destOrd="2" presId="urn:microsoft.com/office/officeart/2005/8/layout/process3"/>
    <dgm:cxn modelId="{DD48E3DB-416A-465C-B85A-A52984E14FAE}" type="presOf" srcId="{08330047-59AF-4ABA-8A1C-A033C8859B29}" destId="{915DD96B-D157-42E9-9BFB-E1F0EED15BE7}" srcOrd="1" destOrd="0" presId="urn:microsoft.com/office/officeart/2005/8/layout/process3"/>
    <dgm:cxn modelId="{E971ECE6-FBC2-44D1-AD4D-D94456A595E8}" srcId="{98EB9B07-5554-435A-B8BD-19C4BC2E1062}" destId="{5D9435E9-7CC2-4AF7-A8BA-DDC29981992E}" srcOrd="3" destOrd="0" parTransId="{0567FFB8-76D6-4C75-B48A-2D2855073C43}" sibTransId="{8589847E-9214-4878-905B-50233F4B37FF}"/>
    <dgm:cxn modelId="{E65DF4EC-A111-45BA-830D-0A5D2EA698F9}" type="presOf" srcId="{386B6AA9-4AA0-4B4E-9F03-1141DE234655}" destId="{64D61DBF-2491-486B-AC2E-2164C5CD4A10}" srcOrd="0" destOrd="0" presId="urn:microsoft.com/office/officeart/2005/8/layout/process3"/>
    <dgm:cxn modelId="{0EFE75EF-F451-4644-9879-6116C68955C4}" srcId="{29033F92-D28B-411D-868B-09A70994B3FA}" destId="{082BFEC8-AAD0-4A43-8E25-F3C2F7437993}" srcOrd="1" destOrd="0" parTransId="{A514206E-D664-4780-B99F-F1777C2D8AC2}" sibTransId="{5E73BD98-7ACA-41B0-A819-6973A15223B2}"/>
    <dgm:cxn modelId="{D6C660FB-5084-4967-88A7-4699CE9FA2A2}" type="presOf" srcId="{5D9435E9-7CC2-4AF7-A8BA-DDC29981992E}" destId="{4D5D63AF-9553-4761-826D-7FA3A37E2BCB}" srcOrd="0" destOrd="3" presId="urn:microsoft.com/office/officeart/2005/8/layout/process3"/>
    <dgm:cxn modelId="{DC57E7C0-72D8-4389-8FFE-71DC52F87A92}" type="presParOf" srcId="{3FC7647D-F403-449D-A6AC-3E43720F5E47}" destId="{4440F35D-C85A-4A70-A155-742D7A48871E}" srcOrd="0" destOrd="0" presId="urn:microsoft.com/office/officeart/2005/8/layout/process3"/>
    <dgm:cxn modelId="{2ED82DD3-835E-4759-B0B4-A475C63441BB}" type="presParOf" srcId="{4440F35D-C85A-4A70-A155-742D7A48871E}" destId="{64D61DBF-2491-486B-AC2E-2164C5CD4A10}" srcOrd="0" destOrd="0" presId="urn:microsoft.com/office/officeart/2005/8/layout/process3"/>
    <dgm:cxn modelId="{263AA6E0-C26B-42D0-9363-2843122510FB}" type="presParOf" srcId="{4440F35D-C85A-4A70-A155-742D7A48871E}" destId="{D85BEFA5-6003-46EF-A4F2-EB3A7A24CA84}" srcOrd="1" destOrd="0" presId="urn:microsoft.com/office/officeart/2005/8/layout/process3"/>
    <dgm:cxn modelId="{671B0EF4-ADA3-49D6-A308-224B0ADD3D52}" type="presParOf" srcId="{4440F35D-C85A-4A70-A155-742D7A48871E}" destId="{992CB8F2-0830-4B99-84CB-83CCF9790E38}" srcOrd="2" destOrd="0" presId="urn:microsoft.com/office/officeart/2005/8/layout/process3"/>
    <dgm:cxn modelId="{52313E50-F700-4357-99AD-D19217C7B04A}" type="presParOf" srcId="{3FC7647D-F403-449D-A6AC-3E43720F5E47}" destId="{3F26ED8D-0166-4367-BD9D-CA20E5814535}" srcOrd="1" destOrd="0" presId="urn:microsoft.com/office/officeart/2005/8/layout/process3"/>
    <dgm:cxn modelId="{D9E886CF-BFB9-4E40-BD49-4C4961F3FAF4}" type="presParOf" srcId="{3F26ED8D-0166-4367-BD9D-CA20E5814535}" destId="{915DD96B-D157-42E9-9BFB-E1F0EED15BE7}" srcOrd="0" destOrd="0" presId="urn:microsoft.com/office/officeart/2005/8/layout/process3"/>
    <dgm:cxn modelId="{E3F09872-6278-42BD-AB4A-9D870FB6CAD0}" type="presParOf" srcId="{3FC7647D-F403-449D-A6AC-3E43720F5E47}" destId="{3FC7B680-6D31-4BEB-83B5-3B4438A0F9C4}" srcOrd="2" destOrd="0" presId="urn:microsoft.com/office/officeart/2005/8/layout/process3"/>
    <dgm:cxn modelId="{A0AB851A-27BC-401B-B0A6-AA6081ACA317}" type="presParOf" srcId="{3FC7B680-6D31-4BEB-83B5-3B4438A0F9C4}" destId="{7BB98AAA-67AD-456F-9007-4927EA52FCA3}" srcOrd="0" destOrd="0" presId="urn:microsoft.com/office/officeart/2005/8/layout/process3"/>
    <dgm:cxn modelId="{0FBC89FB-1871-4690-9509-AC18F0728388}" type="presParOf" srcId="{3FC7B680-6D31-4BEB-83B5-3B4438A0F9C4}" destId="{CF829913-837F-440F-8312-34474D203241}" srcOrd="1" destOrd="0" presId="urn:microsoft.com/office/officeart/2005/8/layout/process3"/>
    <dgm:cxn modelId="{44C6B7BC-4005-4407-ADF5-18341021AE11}" type="presParOf" srcId="{3FC7B680-6D31-4BEB-83B5-3B4438A0F9C4}" destId="{4D5D63AF-9553-4761-826D-7FA3A37E2BCB}" srcOrd="2" destOrd="0" presId="urn:microsoft.com/office/officeart/2005/8/layout/process3"/>
    <dgm:cxn modelId="{764E33B8-BD29-48AB-B68E-F0692B3D9DA0}" type="presParOf" srcId="{3FC7647D-F403-449D-A6AC-3E43720F5E47}" destId="{982161F8-9357-4CE7-B74D-9FDF7EB2A9C2}" srcOrd="3" destOrd="0" presId="urn:microsoft.com/office/officeart/2005/8/layout/process3"/>
    <dgm:cxn modelId="{84D1E7E8-4F69-4434-AD07-7756F2DE6864}" type="presParOf" srcId="{982161F8-9357-4CE7-B74D-9FDF7EB2A9C2}" destId="{278B0937-B50C-4CBF-8AC3-480B0F948581}" srcOrd="0" destOrd="0" presId="urn:microsoft.com/office/officeart/2005/8/layout/process3"/>
    <dgm:cxn modelId="{0342D406-D3CF-49CF-B004-C5DED66708B5}" type="presParOf" srcId="{3FC7647D-F403-449D-A6AC-3E43720F5E47}" destId="{54976FFD-644D-4A0D-B54F-1D8A57194F3F}" srcOrd="4" destOrd="0" presId="urn:microsoft.com/office/officeart/2005/8/layout/process3"/>
    <dgm:cxn modelId="{C5F2BF3E-3157-4AFD-AB08-C0D5CE95B46A}" type="presParOf" srcId="{54976FFD-644D-4A0D-B54F-1D8A57194F3F}" destId="{8A311FDD-B9DA-4BDB-BE19-90BC47B6F7AA}" srcOrd="0" destOrd="0" presId="urn:microsoft.com/office/officeart/2005/8/layout/process3"/>
    <dgm:cxn modelId="{F15CBC78-AD93-4179-9967-931D1CCB9051}" type="presParOf" srcId="{54976FFD-644D-4A0D-B54F-1D8A57194F3F}" destId="{D178BFB4-BFF1-40C3-976A-194788106184}" srcOrd="1" destOrd="0" presId="urn:microsoft.com/office/officeart/2005/8/layout/process3"/>
    <dgm:cxn modelId="{54833F21-368C-49D3-8B59-E2A7A6730A79}" type="presParOf" srcId="{54976FFD-644D-4A0D-B54F-1D8A57194F3F}" destId="{CC186FDD-56A8-495B-AA18-5641C2B4EBC3}" srcOrd="2" destOrd="0" presId="urn:microsoft.com/office/officeart/2005/8/layout/process3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F1A98D1-AB12-4594-8B70-EFE627C9CDAE}">
      <dsp:nvSpPr>
        <dsp:cNvPr id="0" name=""/>
        <dsp:cNvSpPr/>
      </dsp:nvSpPr>
      <dsp:spPr>
        <a:xfrm>
          <a:off x="-6125176" y="-937410"/>
          <a:ext cx="7293488" cy="7293488"/>
        </a:xfrm>
        <a:prstGeom prst="blockArc">
          <a:avLst>
            <a:gd name="adj1" fmla="val 18900000"/>
            <a:gd name="adj2" fmla="val 2700000"/>
            <a:gd name="adj3" fmla="val 296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420211B-F7ED-4797-9761-47E7AF63911C}">
      <dsp:nvSpPr>
        <dsp:cNvPr id="0" name=""/>
        <dsp:cNvSpPr/>
      </dsp:nvSpPr>
      <dsp:spPr>
        <a:xfrm>
          <a:off x="752110" y="541866"/>
          <a:ext cx="7301111" cy="1083733"/>
        </a:xfrm>
        <a:prstGeom prst="flowChartAlternateProcess">
          <a:avLst/>
        </a:prstGeom>
        <a:solidFill>
          <a:schemeClr val="accent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60213" tIns="83820" rIns="83820" bIns="83820" numCol="1" spcCol="1270" anchor="ctr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3300" kern="1200" dirty="0"/>
            <a:t>Contexto del caso de negocio</a:t>
          </a:r>
        </a:p>
      </dsp:txBody>
      <dsp:txXfrm>
        <a:off x="805012" y="594768"/>
        <a:ext cx="7195307" cy="977929"/>
      </dsp:txXfrm>
    </dsp:sp>
    <dsp:sp modelId="{25E18BCF-24FA-4E49-B125-373FF47E3DB6}">
      <dsp:nvSpPr>
        <dsp:cNvPr id="0" name=""/>
        <dsp:cNvSpPr/>
      </dsp:nvSpPr>
      <dsp:spPr>
        <a:xfrm>
          <a:off x="74777" y="406400"/>
          <a:ext cx="1354666" cy="135466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7803686-5C83-44E3-8356-961F4AA61998}">
      <dsp:nvSpPr>
        <dsp:cNvPr id="0" name=""/>
        <dsp:cNvSpPr/>
      </dsp:nvSpPr>
      <dsp:spPr>
        <a:xfrm>
          <a:off x="1146048" y="2167466"/>
          <a:ext cx="6907174" cy="1083733"/>
        </a:xfrm>
        <a:prstGeom prst="roundRect">
          <a:avLst/>
        </a:prstGeom>
        <a:solidFill>
          <a:srgbClr val="E04E39"/>
        </a:solidFill>
        <a:ln w="254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60213" tIns="81280" rIns="81280" bIns="8128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3200" kern="1200" dirty="0">
              <a:solidFill>
                <a:prstClr val="white"/>
              </a:solidFill>
              <a:latin typeface="Calibri"/>
              <a:ea typeface="+mn-ea"/>
              <a:cs typeface="+mn-cs"/>
            </a:rPr>
            <a:t>Desarrollo del proyecto</a:t>
          </a:r>
        </a:p>
      </dsp:txBody>
      <dsp:txXfrm>
        <a:off x="1198951" y="2220369"/>
        <a:ext cx="6801368" cy="977927"/>
      </dsp:txXfrm>
    </dsp:sp>
    <dsp:sp modelId="{FE550782-92E8-45CD-AE80-937D7A666B64}">
      <dsp:nvSpPr>
        <dsp:cNvPr id="0" name=""/>
        <dsp:cNvSpPr/>
      </dsp:nvSpPr>
      <dsp:spPr>
        <a:xfrm>
          <a:off x="468714" y="2032000"/>
          <a:ext cx="1354666" cy="135466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D554659-6C79-4403-9BC7-5EA56AD7B0F3}">
      <dsp:nvSpPr>
        <dsp:cNvPr id="0" name=""/>
        <dsp:cNvSpPr/>
      </dsp:nvSpPr>
      <dsp:spPr>
        <a:xfrm>
          <a:off x="752110" y="3793066"/>
          <a:ext cx="7301111" cy="1083733"/>
        </a:xfrm>
        <a:prstGeom prst="roundRect">
          <a:avLst/>
        </a:prstGeom>
        <a:solidFill>
          <a:schemeClr val="accent3"/>
        </a:solidFill>
        <a:ln w="254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60213" tIns="81280" rIns="81280" bIns="81280" numCol="1" spcCol="1270" anchor="ctr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3300" kern="1200" dirty="0">
              <a:solidFill>
                <a:prstClr val="white"/>
              </a:solidFill>
              <a:latin typeface="Calibri"/>
              <a:ea typeface="+mn-ea"/>
              <a:cs typeface="+mn-cs"/>
            </a:rPr>
            <a:t>Presentación del prototipo funcional</a:t>
          </a:r>
          <a:endParaRPr lang="es-PE" sz="3300" kern="1200" dirty="0"/>
        </a:p>
      </dsp:txBody>
      <dsp:txXfrm>
        <a:off x="805013" y="3845969"/>
        <a:ext cx="7195305" cy="977927"/>
      </dsp:txXfrm>
    </dsp:sp>
    <dsp:sp modelId="{168C38C6-BD13-492A-A977-0148D96EF3BD}">
      <dsp:nvSpPr>
        <dsp:cNvPr id="0" name=""/>
        <dsp:cNvSpPr/>
      </dsp:nvSpPr>
      <dsp:spPr>
        <a:xfrm>
          <a:off x="74777" y="3657600"/>
          <a:ext cx="1354666" cy="135466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85BEFA5-6003-46EF-A4F2-EB3A7A24CA84}">
      <dsp:nvSpPr>
        <dsp:cNvPr id="0" name=""/>
        <dsp:cNvSpPr/>
      </dsp:nvSpPr>
      <dsp:spPr>
        <a:xfrm>
          <a:off x="3836" y="601738"/>
          <a:ext cx="1744254" cy="884640"/>
        </a:xfrm>
        <a:prstGeom prst="roundRect">
          <a:avLst>
            <a:gd name="adj" fmla="val 10000"/>
          </a:avLst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57150" numCol="1" spcCol="1270" anchor="t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500" kern="1200" dirty="0"/>
            <a:t>Procesos operativos</a:t>
          </a:r>
        </a:p>
      </dsp:txBody>
      <dsp:txXfrm>
        <a:off x="3836" y="601738"/>
        <a:ext cx="1744254" cy="589760"/>
      </dsp:txXfrm>
    </dsp:sp>
    <dsp:sp modelId="{992CB8F2-0830-4B99-84CB-83CCF9790E38}">
      <dsp:nvSpPr>
        <dsp:cNvPr id="0" name=""/>
        <dsp:cNvSpPr/>
      </dsp:nvSpPr>
      <dsp:spPr>
        <a:xfrm>
          <a:off x="361093" y="1191499"/>
          <a:ext cx="1744254" cy="235406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1500" kern="1200" dirty="0"/>
            <a:t>Almacén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1500" kern="1200" dirty="0"/>
            <a:t>Comercial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1500" kern="1200" dirty="0"/>
            <a:t>Distribución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1500" kern="1200" dirty="0"/>
            <a:t>Administración: liquidación en rutas</a:t>
          </a:r>
        </a:p>
      </dsp:txBody>
      <dsp:txXfrm>
        <a:off x="412180" y="1242586"/>
        <a:ext cx="1642080" cy="2251888"/>
      </dsp:txXfrm>
    </dsp:sp>
    <dsp:sp modelId="{3F26ED8D-0166-4367-BD9D-CA20E5814535}">
      <dsp:nvSpPr>
        <dsp:cNvPr id="0" name=""/>
        <dsp:cNvSpPr/>
      </dsp:nvSpPr>
      <dsp:spPr>
        <a:xfrm>
          <a:off x="2012513" y="679484"/>
          <a:ext cx="560576" cy="434269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PE" sz="1200" kern="1200"/>
        </a:p>
      </dsp:txBody>
      <dsp:txXfrm>
        <a:off x="2012513" y="766338"/>
        <a:ext cx="430295" cy="260561"/>
      </dsp:txXfrm>
    </dsp:sp>
    <dsp:sp modelId="{CF829913-837F-440F-8312-34474D203241}">
      <dsp:nvSpPr>
        <dsp:cNvPr id="0" name=""/>
        <dsp:cNvSpPr/>
      </dsp:nvSpPr>
      <dsp:spPr>
        <a:xfrm>
          <a:off x="2805782" y="601738"/>
          <a:ext cx="1744254" cy="884640"/>
        </a:xfrm>
        <a:prstGeom prst="roundRect">
          <a:avLst>
            <a:gd name="adj" fmla="val 10000"/>
          </a:avLst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57150" numCol="1" spcCol="1270" anchor="t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500" kern="1200" dirty="0"/>
            <a:t>Data maestra</a:t>
          </a:r>
        </a:p>
      </dsp:txBody>
      <dsp:txXfrm>
        <a:off x="2805782" y="601738"/>
        <a:ext cx="1744254" cy="589760"/>
      </dsp:txXfrm>
    </dsp:sp>
    <dsp:sp modelId="{4D5D63AF-9553-4761-826D-7FA3A37E2BCB}">
      <dsp:nvSpPr>
        <dsp:cNvPr id="0" name=""/>
        <dsp:cNvSpPr/>
      </dsp:nvSpPr>
      <dsp:spPr>
        <a:xfrm>
          <a:off x="3163039" y="1191499"/>
          <a:ext cx="1744254" cy="235406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1500" kern="1200" dirty="0"/>
            <a:t>Georreferencias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1500" kern="1200" dirty="0"/>
            <a:t>Coordenadas (lon,lat)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1500" kern="1200" dirty="0"/>
            <a:t>Ventanas horarias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1500" kern="1200" dirty="0"/>
            <a:t>Camiones disponibles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1500" kern="1200" dirty="0"/>
            <a:t>Capacidad por camión</a:t>
          </a:r>
        </a:p>
      </dsp:txBody>
      <dsp:txXfrm>
        <a:off x="3214126" y="1242586"/>
        <a:ext cx="1642080" cy="2251888"/>
      </dsp:txXfrm>
    </dsp:sp>
    <dsp:sp modelId="{982161F8-9357-4CE7-B74D-9FDF7EB2A9C2}">
      <dsp:nvSpPr>
        <dsp:cNvPr id="0" name=""/>
        <dsp:cNvSpPr/>
      </dsp:nvSpPr>
      <dsp:spPr>
        <a:xfrm>
          <a:off x="4814459" y="679484"/>
          <a:ext cx="560576" cy="434269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PE" sz="1200" kern="1200"/>
        </a:p>
      </dsp:txBody>
      <dsp:txXfrm>
        <a:off x="4814459" y="766338"/>
        <a:ext cx="430295" cy="260561"/>
      </dsp:txXfrm>
    </dsp:sp>
    <dsp:sp modelId="{D178BFB4-BFF1-40C3-976A-194788106184}">
      <dsp:nvSpPr>
        <dsp:cNvPr id="0" name=""/>
        <dsp:cNvSpPr/>
      </dsp:nvSpPr>
      <dsp:spPr>
        <a:xfrm>
          <a:off x="5607727" y="601738"/>
          <a:ext cx="1744254" cy="884640"/>
        </a:xfrm>
        <a:prstGeom prst="roundRect">
          <a:avLst>
            <a:gd name="adj" fmla="val 10000"/>
          </a:avLst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57150" numCol="1" spcCol="1270" anchor="t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500" kern="1200" dirty="0"/>
            <a:t>Ruteo de vehículos</a:t>
          </a:r>
        </a:p>
      </dsp:txBody>
      <dsp:txXfrm>
        <a:off x="5607727" y="601738"/>
        <a:ext cx="1744254" cy="589760"/>
      </dsp:txXfrm>
    </dsp:sp>
    <dsp:sp modelId="{CC186FDD-56A8-495B-AA18-5641C2B4EBC3}">
      <dsp:nvSpPr>
        <dsp:cNvPr id="0" name=""/>
        <dsp:cNvSpPr/>
      </dsp:nvSpPr>
      <dsp:spPr>
        <a:xfrm>
          <a:off x="5964984" y="1191499"/>
          <a:ext cx="1744254" cy="235406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1500" kern="1200" dirty="0"/>
            <a:t>Restricciones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1500" kern="1200" dirty="0"/>
            <a:t>Generación de nuevas rutas</a:t>
          </a:r>
        </a:p>
      </dsp:txBody>
      <dsp:txXfrm>
        <a:off x="6016071" y="1242586"/>
        <a:ext cx="1642080" cy="225188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975ECE-65C8-D74B-9A6F-2350EF6E506F}" type="datetimeFigureOut">
              <a:rPr lang="en-US" smtClean="0"/>
              <a:t>9/25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84258-6087-1940-B688-0771171ADB0F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91056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E84258-6087-1940-B688-0771171ADB0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14057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png"/><Relationship Id="rId4" Type="http://schemas.openxmlformats.org/officeDocument/2006/relationships/image" Target="../media/image11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png"/><Relationship Id="rId4" Type="http://schemas.openxmlformats.org/officeDocument/2006/relationships/image" Target="../media/image13.jpe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png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4.png"/><Relationship Id="rId18" Type="http://schemas.openxmlformats.org/officeDocument/2006/relationships/image" Target="../media/image39.png"/><Relationship Id="rId26" Type="http://schemas.openxmlformats.org/officeDocument/2006/relationships/image" Target="../media/image47.png"/><Relationship Id="rId3" Type="http://schemas.openxmlformats.org/officeDocument/2006/relationships/image" Target="../media/image24.png"/><Relationship Id="rId21" Type="http://schemas.openxmlformats.org/officeDocument/2006/relationships/image" Target="../media/image42.png"/><Relationship Id="rId7" Type="http://schemas.openxmlformats.org/officeDocument/2006/relationships/image" Target="../media/image28.png"/><Relationship Id="rId12" Type="http://schemas.openxmlformats.org/officeDocument/2006/relationships/image" Target="../media/image33.png"/><Relationship Id="rId17" Type="http://schemas.openxmlformats.org/officeDocument/2006/relationships/image" Target="../media/image38.png"/><Relationship Id="rId25" Type="http://schemas.openxmlformats.org/officeDocument/2006/relationships/image" Target="../media/image46.png"/><Relationship Id="rId2" Type="http://schemas.openxmlformats.org/officeDocument/2006/relationships/image" Target="../media/image23.png"/><Relationship Id="rId16" Type="http://schemas.openxmlformats.org/officeDocument/2006/relationships/image" Target="../media/image37.png"/><Relationship Id="rId20" Type="http://schemas.openxmlformats.org/officeDocument/2006/relationships/image" Target="../media/image41.png"/><Relationship Id="rId29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7.png"/><Relationship Id="rId11" Type="http://schemas.openxmlformats.org/officeDocument/2006/relationships/image" Target="../media/image32.png"/><Relationship Id="rId24" Type="http://schemas.openxmlformats.org/officeDocument/2006/relationships/image" Target="../media/image45.png"/><Relationship Id="rId5" Type="http://schemas.openxmlformats.org/officeDocument/2006/relationships/image" Target="../media/image26.png"/><Relationship Id="rId15" Type="http://schemas.openxmlformats.org/officeDocument/2006/relationships/image" Target="../media/image36.png"/><Relationship Id="rId23" Type="http://schemas.openxmlformats.org/officeDocument/2006/relationships/image" Target="../media/image44.png"/><Relationship Id="rId28" Type="http://schemas.openxmlformats.org/officeDocument/2006/relationships/image" Target="../media/image49.png"/><Relationship Id="rId10" Type="http://schemas.openxmlformats.org/officeDocument/2006/relationships/image" Target="../media/image31.png"/><Relationship Id="rId19" Type="http://schemas.openxmlformats.org/officeDocument/2006/relationships/image" Target="../media/image40.png"/><Relationship Id="rId4" Type="http://schemas.openxmlformats.org/officeDocument/2006/relationships/image" Target="../media/image25.png"/><Relationship Id="rId9" Type="http://schemas.openxmlformats.org/officeDocument/2006/relationships/image" Target="../media/image30.png"/><Relationship Id="rId14" Type="http://schemas.openxmlformats.org/officeDocument/2006/relationships/image" Target="../media/image35.png"/><Relationship Id="rId22" Type="http://schemas.openxmlformats.org/officeDocument/2006/relationships/image" Target="../media/image43.png"/><Relationship Id="rId27" Type="http://schemas.openxmlformats.org/officeDocument/2006/relationships/image" Target="../media/image48.pn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685800" y="2566651"/>
            <a:ext cx="6172336" cy="1463042"/>
          </a:xfrm>
        </p:spPr>
        <p:txBody>
          <a:bodyPr anchor="t"/>
          <a:lstStyle>
            <a:lvl1pPr algn="l">
              <a:lnSpc>
                <a:spcPct val="95000"/>
              </a:lnSpc>
              <a:defRPr sz="480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4049488"/>
            <a:ext cx="6172337" cy="1752600"/>
          </a:xfrm>
        </p:spPr>
        <p:txBody>
          <a:bodyPr/>
          <a:lstStyle>
            <a:lvl1pPr marL="0" indent="0" algn="l">
              <a:lnSpc>
                <a:spcPct val="95000"/>
              </a:lnSpc>
              <a:buNone/>
              <a:defRPr sz="200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7" name="Picture Placeholder 6"/>
          <p:cNvSpPr>
            <a:spLocks noGrp="1"/>
          </p:cNvSpPr>
          <p:nvPr userDrawn="1">
            <p:ph type="pic" sz="quarter" idx="10"/>
          </p:nvPr>
        </p:nvSpPr>
        <p:spPr>
          <a:xfrm>
            <a:off x="6998369" y="903202"/>
            <a:ext cx="4797181" cy="4479908"/>
          </a:xfrm>
          <a:custGeom>
            <a:avLst/>
            <a:gdLst>
              <a:gd name="connsiteX0" fmla="*/ 0 w 4815281"/>
              <a:gd name="connsiteY0" fmla="*/ 4488110 h 4488110"/>
              <a:gd name="connsiteX1" fmla="*/ 1122028 w 4815281"/>
              <a:gd name="connsiteY1" fmla="*/ 0 h 4488110"/>
              <a:gd name="connsiteX2" fmla="*/ 3693254 w 4815281"/>
              <a:gd name="connsiteY2" fmla="*/ 0 h 4488110"/>
              <a:gd name="connsiteX3" fmla="*/ 4815281 w 4815281"/>
              <a:gd name="connsiteY3" fmla="*/ 4488110 h 4488110"/>
              <a:gd name="connsiteX4" fmla="*/ 0 w 4815281"/>
              <a:gd name="connsiteY4" fmla="*/ 4488110 h 4488110"/>
              <a:gd name="connsiteX0" fmla="*/ 0 w 4823670"/>
              <a:gd name="connsiteY0" fmla="*/ 3548543 h 4488110"/>
              <a:gd name="connsiteX1" fmla="*/ 1130417 w 4823670"/>
              <a:gd name="connsiteY1" fmla="*/ 0 h 4488110"/>
              <a:gd name="connsiteX2" fmla="*/ 3701643 w 4823670"/>
              <a:gd name="connsiteY2" fmla="*/ 0 h 4488110"/>
              <a:gd name="connsiteX3" fmla="*/ 4823670 w 4823670"/>
              <a:gd name="connsiteY3" fmla="*/ 4488110 h 4488110"/>
              <a:gd name="connsiteX4" fmla="*/ 0 w 4823670"/>
              <a:gd name="connsiteY4" fmla="*/ 3548543 h 4488110"/>
              <a:gd name="connsiteX0" fmla="*/ 0 w 4823670"/>
              <a:gd name="connsiteY0" fmla="*/ 3548543 h 4488110"/>
              <a:gd name="connsiteX1" fmla="*/ 1130417 w 4823670"/>
              <a:gd name="connsiteY1" fmla="*/ 0 h 4488110"/>
              <a:gd name="connsiteX2" fmla="*/ 3701643 w 4823670"/>
              <a:gd name="connsiteY2" fmla="*/ 0 h 4488110"/>
              <a:gd name="connsiteX3" fmla="*/ 4823670 w 4823670"/>
              <a:gd name="connsiteY3" fmla="*/ 4488110 h 4488110"/>
              <a:gd name="connsiteX4" fmla="*/ 0 w 4823670"/>
              <a:gd name="connsiteY4" fmla="*/ 3548543 h 4488110"/>
              <a:gd name="connsiteX0" fmla="*/ 0 w 4790114"/>
              <a:gd name="connsiteY0" fmla="*/ 3548543 h 4139734"/>
              <a:gd name="connsiteX1" fmla="*/ 1130417 w 4790114"/>
              <a:gd name="connsiteY1" fmla="*/ 0 h 4139734"/>
              <a:gd name="connsiteX2" fmla="*/ 3701643 w 4790114"/>
              <a:gd name="connsiteY2" fmla="*/ 0 h 4139734"/>
              <a:gd name="connsiteX3" fmla="*/ 4790114 w 4790114"/>
              <a:gd name="connsiteY3" fmla="*/ 3414319 h 4139734"/>
              <a:gd name="connsiteX4" fmla="*/ 0 w 4790114"/>
              <a:gd name="connsiteY4" fmla="*/ 3548543 h 4139734"/>
              <a:gd name="connsiteX0" fmla="*/ 0 w 4794095"/>
              <a:gd name="connsiteY0" fmla="*/ 3548543 h 4829438"/>
              <a:gd name="connsiteX1" fmla="*/ 1130417 w 4794095"/>
              <a:gd name="connsiteY1" fmla="*/ 0 h 4829438"/>
              <a:gd name="connsiteX2" fmla="*/ 3701643 w 4794095"/>
              <a:gd name="connsiteY2" fmla="*/ 0 h 4829438"/>
              <a:gd name="connsiteX3" fmla="*/ 4790114 w 4794095"/>
              <a:gd name="connsiteY3" fmla="*/ 3414319 h 4829438"/>
              <a:gd name="connsiteX4" fmla="*/ 0 w 4794095"/>
              <a:gd name="connsiteY4" fmla="*/ 3548543 h 4829438"/>
              <a:gd name="connsiteX0" fmla="*/ 0 w 4794023"/>
              <a:gd name="connsiteY0" fmla="*/ 3548543 h 4832475"/>
              <a:gd name="connsiteX1" fmla="*/ 1130417 w 4794023"/>
              <a:gd name="connsiteY1" fmla="*/ 0 h 4832475"/>
              <a:gd name="connsiteX2" fmla="*/ 3701643 w 4794023"/>
              <a:gd name="connsiteY2" fmla="*/ 0 h 4832475"/>
              <a:gd name="connsiteX3" fmla="*/ 4790114 w 4794023"/>
              <a:gd name="connsiteY3" fmla="*/ 3414319 h 4832475"/>
              <a:gd name="connsiteX4" fmla="*/ 0 w 4794023"/>
              <a:gd name="connsiteY4" fmla="*/ 3548543 h 4832475"/>
              <a:gd name="connsiteX0" fmla="*/ 0 w 4794023"/>
              <a:gd name="connsiteY0" fmla="*/ 3548543 h 4832475"/>
              <a:gd name="connsiteX1" fmla="*/ 1130417 w 4794023"/>
              <a:gd name="connsiteY1" fmla="*/ 0 h 4832475"/>
              <a:gd name="connsiteX2" fmla="*/ 2401350 w 4794023"/>
              <a:gd name="connsiteY2" fmla="*/ 0 h 4832475"/>
              <a:gd name="connsiteX3" fmla="*/ 4790114 w 4794023"/>
              <a:gd name="connsiteY3" fmla="*/ 3414319 h 4832475"/>
              <a:gd name="connsiteX4" fmla="*/ 0 w 4794023"/>
              <a:gd name="connsiteY4" fmla="*/ 3548543 h 4832475"/>
              <a:gd name="connsiteX0" fmla="*/ 0 w 4794023"/>
              <a:gd name="connsiteY0" fmla="*/ 3549180 h 4833112"/>
              <a:gd name="connsiteX1" fmla="*/ 1130417 w 4794023"/>
              <a:gd name="connsiteY1" fmla="*/ 637 h 4833112"/>
              <a:gd name="connsiteX2" fmla="*/ 2401350 w 4794023"/>
              <a:gd name="connsiteY2" fmla="*/ 637 h 4833112"/>
              <a:gd name="connsiteX3" fmla="*/ 4790114 w 4794023"/>
              <a:gd name="connsiteY3" fmla="*/ 3414956 h 4833112"/>
              <a:gd name="connsiteX4" fmla="*/ 0 w 4794023"/>
              <a:gd name="connsiteY4" fmla="*/ 3549180 h 4833112"/>
              <a:gd name="connsiteX0" fmla="*/ 0 w 4794023"/>
              <a:gd name="connsiteY0" fmla="*/ 3549029 h 4832961"/>
              <a:gd name="connsiteX1" fmla="*/ 1130417 w 4794023"/>
              <a:gd name="connsiteY1" fmla="*/ 486 h 4832961"/>
              <a:gd name="connsiteX2" fmla="*/ 2401350 w 4794023"/>
              <a:gd name="connsiteY2" fmla="*/ 486 h 4832961"/>
              <a:gd name="connsiteX3" fmla="*/ 4790114 w 4794023"/>
              <a:gd name="connsiteY3" fmla="*/ 3414805 h 4832961"/>
              <a:gd name="connsiteX4" fmla="*/ 0 w 4794023"/>
              <a:gd name="connsiteY4" fmla="*/ 3549029 h 4832961"/>
              <a:gd name="connsiteX0" fmla="*/ 0 w 4743728"/>
              <a:gd name="connsiteY0" fmla="*/ 3549062 h 4731571"/>
              <a:gd name="connsiteX1" fmla="*/ 1130417 w 4743728"/>
              <a:gd name="connsiteY1" fmla="*/ 519 h 4731571"/>
              <a:gd name="connsiteX2" fmla="*/ 2401350 w 4743728"/>
              <a:gd name="connsiteY2" fmla="*/ 519 h 4731571"/>
              <a:gd name="connsiteX3" fmla="*/ 4739780 w 4743728"/>
              <a:gd name="connsiteY3" fmla="*/ 3213503 h 4731571"/>
              <a:gd name="connsiteX4" fmla="*/ 0 w 4743728"/>
              <a:gd name="connsiteY4" fmla="*/ 3549062 h 4731571"/>
              <a:gd name="connsiteX0" fmla="*/ 0 w 4743728"/>
              <a:gd name="connsiteY0" fmla="*/ 3549008 h 4731517"/>
              <a:gd name="connsiteX1" fmla="*/ 1130417 w 4743728"/>
              <a:gd name="connsiteY1" fmla="*/ 465 h 4731517"/>
              <a:gd name="connsiteX2" fmla="*/ 2401350 w 4743728"/>
              <a:gd name="connsiteY2" fmla="*/ 465 h 4731517"/>
              <a:gd name="connsiteX3" fmla="*/ 4739780 w 4743728"/>
              <a:gd name="connsiteY3" fmla="*/ 3213449 h 4731517"/>
              <a:gd name="connsiteX4" fmla="*/ 0 w 4743728"/>
              <a:gd name="connsiteY4" fmla="*/ 3549008 h 4731517"/>
              <a:gd name="connsiteX0" fmla="*/ 0 w 4743728"/>
              <a:gd name="connsiteY0" fmla="*/ 3553739 h 4736248"/>
              <a:gd name="connsiteX1" fmla="*/ 1130417 w 4743728"/>
              <a:gd name="connsiteY1" fmla="*/ 5196 h 4736248"/>
              <a:gd name="connsiteX2" fmla="*/ 2401350 w 4743728"/>
              <a:gd name="connsiteY2" fmla="*/ 5196 h 4736248"/>
              <a:gd name="connsiteX3" fmla="*/ 4739780 w 4743728"/>
              <a:gd name="connsiteY3" fmla="*/ 3218180 h 4736248"/>
              <a:gd name="connsiteX4" fmla="*/ 0 w 4743728"/>
              <a:gd name="connsiteY4" fmla="*/ 3553739 h 4736248"/>
              <a:gd name="connsiteX0" fmla="*/ 0 w 4803322"/>
              <a:gd name="connsiteY0" fmla="*/ 3553739 h 4760950"/>
              <a:gd name="connsiteX1" fmla="*/ 1130417 w 4803322"/>
              <a:gd name="connsiteY1" fmla="*/ 5196 h 4760950"/>
              <a:gd name="connsiteX2" fmla="*/ 2401350 w 4803322"/>
              <a:gd name="connsiteY2" fmla="*/ 5196 h 4760950"/>
              <a:gd name="connsiteX3" fmla="*/ 4739780 w 4803322"/>
              <a:gd name="connsiteY3" fmla="*/ 3218180 h 4760950"/>
              <a:gd name="connsiteX4" fmla="*/ 0 w 4803322"/>
              <a:gd name="connsiteY4" fmla="*/ 3553739 h 4760950"/>
              <a:gd name="connsiteX0" fmla="*/ 0 w 4740100"/>
              <a:gd name="connsiteY0" fmla="*/ 3553739 h 4774568"/>
              <a:gd name="connsiteX1" fmla="*/ 1130417 w 4740100"/>
              <a:gd name="connsiteY1" fmla="*/ 5196 h 4774568"/>
              <a:gd name="connsiteX2" fmla="*/ 2401350 w 4740100"/>
              <a:gd name="connsiteY2" fmla="*/ 5196 h 4774568"/>
              <a:gd name="connsiteX3" fmla="*/ 4739780 w 4740100"/>
              <a:gd name="connsiteY3" fmla="*/ 3218180 h 4774568"/>
              <a:gd name="connsiteX4" fmla="*/ 2550254 w 4740100"/>
              <a:gd name="connsiteY4" fmla="*/ 4770144 h 4774568"/>
              <a:gd name="connsiteX5" fmla="*/ 0 w 4740100"/>
              <a:gd name="connsiteY5" fmla="*/ 3553739 h 4774568"/>
              <a:gd name="connsiteX0" fmla="*/ 0 w 4740103"/>
              <a:gd name="connsiteY0" fmla="*/ 3553739 h 4493895"/>
              <a:gd name="connsiteX1" fmla="*/ 1130417 w 4740103"/>
              <a:gd name="connsiteY1" fmla="*/ 5196 h 4493895"/>
              <a:gd name="connsiteX2" fmla="*/ 2401350 w 4740103"/>
              <a:gd name="connsiteY2" fmla="*/ 5196 h 4493895"/>
              <a:gd name="connsiteX3" fmla="*/ 4739780 w 4740103"/>
              <a:gd name="connsiteY3" fmla="*/ 3218180 h 4493895"/>
              <a:gd name="connsiteX4" fmla="*/ 2567032 w 4740103"/>
              <a:gd name="connsiteY4" fmla="*/ 4484918 h 4493895"/>
              <a:gd name="connsiteX5" fmla="*/ 0 w 4740103"/>
              <a:gd name="connsiteY5" fmla="*/ 3553739 h 4493895"/>
              <a:gd name="connsiteX0" fmla="*/ 0 w 4782039"/>
              <a:gd name="connsiteY0" fmla="*/ 3553063 h 4493219"/>
              <a:gd name="connsiteX1" fmla="*/ 1130417 w 4782039"/>
              <a:gd name="connsiteY1" fmla="*/ 4520 h 4493219"/>
              <a:gd name="connsiteX2" fmla="*/ 2401350 w 4782039"/>
              <a:gd name="connsiteY2" fmla="*/ 4520 h 4493219"/>
              <a:gd name="connsiteX3" fmla="*/ 4781725 w 4782039"/>
              <a:gd name="connsiteY3" fmla="*/ 3729232 h 4493219"/>
              <a:gd name="connsiteX4" fmla="*/ 2567032 w 4782039"/>
              <a:gd name="connsiteY4" fmla="*/ 4484242 h 4493219"/>
              <a:gd name="connsiteX5" fmla="*/ 0 w 4782039"/>
              <a:gd name="connsiteY5" fmla="*/ 3553063 h 4493219"/>
              <a:gd name="connsiteX0" fmla="*/ 0 w 4781725"/>
              <a:gd name="connsiteY0" fmla="*/ 3553063 h 4493219"/>
              <a:gd name="connsiteX1" fmla="*/ 1130417 w 4781725"/>
              <a:gd name="connsiteY1" fmla="*/ 4520 h 4493219"/>
              <a:gd name="connsiteX2" fmla="*/ 2401350 w 4781725"/>
              <a:gd name="connsiteY2" fmla="*/ 4520 h 4493219"/>
              <a:gd name="connsiteX3" fmla="*/ 4781725 w 4781725"/>
              <a:gd name="connsiteY3" fmla="*/ 3729232 h 4493219"/>
              <a:gd name="connsiteX4" fmla="*/ 2567032 w 4781725"/>
              <a:gd name="connsiteY4" fmla="*/ 4484242 h 4493219"/>
              <a:gd name="connsiteX5" fmla="*/ 0 w 4781725"/>
              <a:gd name="connsiteY5" fmla="*/ 3553063 h 4493219"/>
              <a:gd name="connsiteX0" fmla="*/ 0 w 4781725"/>
              <a:gd name="connsiteY0" fmla="*/ 3553063 h 4493219"/>
              <a:gd name="connsiteX1" fmla="*/ 1130417 w 4781725"/>
              <a:gd name="connsiteY1" fmla="*/ 4520 h 4493219"/>
              <a:gd name="connsiteX2" fmla="*/ 2401350 w 4781725"/>
              <a:gd name="connsiteY2" fmla="*/ 4520 h 4493219"/>
              <a:gd name="connsiteX3" fmla="*/ 4781725 w 4781725"/>
              <a:gd name="connsiteY3" fmla="*/ 3729232 h 4493219"/>
              <a:gd name="connsiteX4" fmla="*/ 2567032 w 4781725"/>
              <a:gd name="connsiteY4" fmla="*/ 4484242 h 4493219"/>
              <a:gd name="connsiteX5" fmla="*/ 0 w 4781725"/>
              <a:gd name="connsiteY5" fmla="*/ 3553063 h 4493219"/>
              <a:gd name="connsiteX0" fmla="*/ 0 w 4803030"/>
              <a:gd name="connsiteY0" fmla="*/ 3553929 h 4494085"/>
              <a:gd name="connsiteX1" fmla="*/ 1130417 w 4803030"/>
              <a:gd name="connsiteY1" fmla="*/ 5386 h 4494085"/>
              <a:gd name="connsiteX2" fmla="*/ 2401350 w 4803030"/>
              <a:gd name="connsiteY2" fmla="*/ 5386 h 4494085"/>
              <a:gd name="connsiteX3" fmla="*/ 4781725 w 4803030"/>
              <a:gd name="connsiteY3" fmla="*/ 3730098 h 4494085"/>
              <a:gd name="connsiteX4" fmla="*/ 2567032 w 4803030"/>
              <a:gd name="connsiteY4" fmla="*/ 4485108 h 4494085"/>
              <a:gd name="connsiteX5" fmla="*/ 0 w 4803030"/>
              <a:gd name="connsiteY5" fmla="*/ 3553929 h 4494085"/>
              <a:gd name="connsiteX0" fmla="*/ 0 w 4803030"/>
              <a:gd name="connsiteY0" fmla="*/ 3553929 h 4494085"/>
              <a:gd name="connsiteX1" fmla="*/ 1130417 w 4803030"/>
              <a:gd name="connsiteY1" fmla="*/ 5386 h 4494085"/>
              <a:gd name="connsiteX2" fmla="*/ 2401350 w 4803030"/>
              <a:gd name="connsiteY2" fmla="*/ 5386 h 4494085"/>
              <a:gd name="connsiteX3" fmla="*/ 4781725 w 4803030"/>
              <a:gd name="connsiteY3" fmla="*/ 3730098 h 4494085"/>
              <a:gd name="connsiteX4" fmla="*/ 2567032 w 4803030"/>
              <a:gd name="connsiteY4" fmla="*/ 4485108 h 4494085"/>
              <a:gd name="connsiteX5" fmla="*/ 0 w 4803030"/>
              <a:gd name="connsiteY5" fmla="*/ 3553929 h 4494085"/>
              <a:gd name="connsiteX0" fmla="*/ 0 w 4803030"/>
              <a:gd name="connsiteY0" fmla="*/ 3553929 h 4494085"/>
              <a:gd name="connsiteX1" fmla="*/ 1130417 w 4803030"/>
              <a:gd name="connsiteY1" fmla="*/ 5386 h 4494085"/>
              <a:gd name="connsiteX2" fmla="*/ 2401350 w 4803030"/>
              <a:gd name="connsiteY2" fmla="*/ 5386 h 4494085"/>
              <a:gd name="connsiteX3" fmla="*/ 4781725 w 4803030"/>
              <a:gd name="connsiteY3" fmla="*/ 3730098 h 4494085"/>
              <a:gd name="connsiteX4" fmla="*/ 2567032 w 4803030"/>
              <a:gd name="connsiteY4" fmla="*/ 4485108 h 4494085"/>
              <a:gd name="connsiteX5" fmla="*/ 0 w 4803030"/>
              <a:gd name="connsiteY5" fmla="*/ 3553929 h 4494085"/>
              <a:gd name="connsiteX0" fmla="*/ 0 w 4790949"/>
              <a:gd name="connsiteY0" fmla="*/ 3554083 h 4494239"/>
              <a:gd name="connsiteX1" fmla="*/ 1130417 w 4790949"/>
              <a:gd name="connsiteY1" fmla="*/ 5540 h 4494239"/>
              <a:gd name="connsiteX2" fmla="*/ 2401350 w 4790949"/>
              <a:gd name="connsiteY2" fmla="*/ 5540 h 4494239"/>
              <a:gd name="connsiteX3" fmla="*/ 4781725 w 4790949"/>
              <a:gd name="connsiteY3" fmla="*/ 3730252 h 4494239"/>
              <a:gd name="connsiteX4" fmla="*/ 2567032 w 4790949"/>
              <a:gd name="connsiteY4" fmla="*/ 4485262 h 4494239"/>
              <a:gd name="connsiteX5" fmla="*/ 0 w 4790949"/>
              <a:gd name="connsiteY5" fmla="*/ 3554083 h 4494239"/>
              <a:gd name="connsiteX0" fmla="*/ 0 w 4793035"/>
              <a:gd name="connsiteY0" fmla="*/ 3554070 h 4494226"/>
              <a:gd name="connsiteX1" fmla="*/ 1130417 w 4793035"/>
              <a:gd name="connsiteY1" fmla="*/ 5527 h 4494226"/>
              <a:gd name="connsiteX2" fmla="*/ 2401350 w 4793035"/>
              <a:gd name="connsiteY2" fmla="*/ 5527 h 4494226"/>
              <a:gd name="connsiteX3" fmla="*/ 4781725 w 4793035"/>
              <a:gd name="connsiteY3" fmla="*/ 3730239 h 4494226"/>
              <a:gd name="connsiteX4" fmla="*/ 2567032 w 4793035"/>
              <a:gd name="connsiteY4" fmla="*/ 4485249 h 4494226"/>
              <a:gd name="connsiteX5" fmla="*/ 0 w 4793035"/>
              <a:gd name="connsiteY5" fmla="*/ 3554070 h 4494226"/>
              <a:gd name="connsiteX0" fmla="*/ 0 w 4821204"/>
              <a:gd name="connsiteY0" fmla="*/ 3554310 h 4494466"/>
              <a:gd name="connsiteX1" fmla="*/ 1130417 w 4821204"/>
              <a:gd name="connsiteY1" fmla="*/ 5767 h 4494466"/>
              <a:gd name="connsiteX2" fmla="*/ 2401350 w 4821204"/>
              <a:gd name="connsiteY2" fmla="*/ 5767 h 4494466"/>
              <a:gd name="connsiteX3" fmla="*/ 4810078 w 4821204"/>
              <a:gd name="connsiteY3" fmla="*/ 3595800 h 4494466"/>
              <a:gd name="connsiteX4" fmla="*/ 2567032 w 4821204"/>
              <a:gd name="connsiteY4" fmla="*/ 4485489 h 4494466"/>
              <a:gd name="connsiteX5" fmla="*/ 0 w 4821204"/>
              <a:gd name="connsiteY5" fmla="*/ 3554310 h 4494466"/>
              <a:gd name="connsiteX0" fmla="*/ 0 w 4807027"/>
              <a:gd name="connsiteY0" fmla="*/ 3603929 h 4496242"/>
              <a:gd name="connsiteX1" fmla="*/ 1116240 w 4807027"/>
              <a:gd name="connsiteY1" fmla="*/ 5767 h 4496242"/>
              <a:gd name="connsiteX2" fmla="*/ 2387173 w 4807027"/>
              <a:gd name="connsiteY2" fmla="*/ 5767 h 4496242"/>
              <a:gd name="connsiteX3" fmla="*/ 4795901 w 4807027"/>
              <a:gd name="connsiteY3" fmla="*/ 3595800 h 4496242"/>
              <a:gd name="connsiteX4" fmla="*/ 2552855 w 4807027"/>
              <a:gd name="connsiteY4" fmla="*/ 4485489 h 4496242"/>
              <a:gd name="connsiteX5" fmla="*/ 0 w 4807027"/>
              <a:gd name="connsiteY5" fmla="*/ 3603929 h 4496242"/>
              <a:gd name="connsiteX0" fmla="*/ 0 w 4807027"/>
              <a:gd name="connsiteY0" fmla="*/ 3603929 h 4496242"/>
              <a:gd name="connsiteX1" fmla="*/ 1116240 w 4807027"/>
              <a:gd name="connsiteY1" fmla="*/ 5767 h 4496242"/>
              <a:gd name="connsiteX2" fmla="*/ 2387173 w 4807027"/>
              <a:gd name="connsiteY2" fmla="*/ 5767 h 4496242"/>
              <a:gd name="connsiteX3" fmla="*/ 4795901 w 4807027"/>
              <a:gd name="connsiteY3" fmla="*/ 3595800 h 4496242"/>
              <a:gd name="connsiteX4" fmla="*/ 2396911 w 4807027"/>
              <a:gd name="connsiteY4" fmla="*/ 4485489 h 4496242"/>
              <a:gd name="connsiteX5" fmla="*/ 0 w 4807027"/>
              <a:gd name="connsiteY5" fmla="*/ 3603929 h 4496242"/>
              <a:gd name="connsiteX0" fmla="*/ 0 w 4807027"/>
              <a:gd name="connsiteY0" fmla="*/ 3603929 h 4496242"/>
              <a:gd name="connsiteX1" fmla="*/ 1116240 w 4807027"/>
              <a:gd name="connsiteY1" fmla="*/ 5767 h 4496242"/>
              <a:gd name="connsiteX2" fmla="*/ 2387173 w 4807027"/>
              <a:gd name="connsiteY2" fmla="*/ 5767 h 4496242"/>
              <a:gd name="connsiteX3" fmla="*/ 4795901 w 4807027"/>
              <a:gd name="connsiteY3" fmla="*/ 3595800 h 4496242"/>
              <a:gd name="connsiteX4" fmla="*/ 2396911 w 4807027"/>
              <a:gd name="connsiteY4" fmla="*/ 4485489 h 4496242"/>
              <a:gd name="connsiteX5" fmla="*/ 0 w 4807027"/>
              <a:gd name="connsiteY5" fmla="*/ 3603929 h 4496242"/>
              <a:gd name="connsiteX0" fmla="*/ 0 w 4807027"/>
              <a:gd name="connsiteY0" fmla="*/ 3603929 h 4513950"/>
              <a:gd name="connsiteX1" fmla="*/ 1116240 w 4807027"/>
              <a:gd name="connsiteY1" fmla="*/ 5767 h 4513950"/>
              <a:gd name="connsiteX2" fmla="*/ 2387173 w 4807027"/>
              <a:gd name="connsiteY2" fmla="*/ 5767 h 4513950"/>
              <a:gd name="connsiteX3" fmla="*/ 4795901 w 4807027"/>
              <a:gd name="connsiteY3" fmla="*/ 3595800 h 4513950"/>
              <a:gd name="connsiteX4" fmla="*/ 2396911 w 4807027"/>
              <a:gd name="connsiteY4" fmla="*/ 4485489 h 4513950"/>
              <a:gd name="connsiteX5" fmla="*/ 0 w 4807027"/>
              <a:gd name="connsiteY5" fmla="*/ 3603929 h 4513950"/>
              <a:gd name="connsiteX0" fmla="*/ 0 w 4807027"/>
              <a:gd name="connsiteY0" fmla="*/ 3603929 h 4497146"/>
              <a:gd name="connsiteX1" fmla="*/ 1116240 w 4807027"/>
              <a:gd name="connsiteY1" fmla="*/ 5767 h 4497146"/>
              <a:gd name="connsiteX2" fmla="*/ 2387173 w 4807027"/>
              <a:gd name="connsiteY2" fmla="*/ 5767 h 4497146"/>
              <a:gd name="connsiteX3" fmla="*/ 4795901 w 4807027"/>
              <a:gd name="connsiteY3" fmla="*/ 3595800 h 4497146"/>
              <a:gd name="connsiteX4" fmla="*/ 2396911 w 4807027"/>
              <a:gd name="connsiteY4" fmla="*/ 4485489 h 4497146"/>
              <a:gd name="connsiteX5" fmla="*/ 0 w 4807027"/>
              <a:gd name="connsiteY5" fmla="*/ 3603929 h 4497146"/>
              <a:gd name="connsiteX0" fmla="*/ 0 w 4807027"/>
              <a:gd name="connsiteY0" fmla="*/ 3603929 h 4515916"/>
              <a:gd name="connsiteX1" fmla="*/ 1116240 w 4807027"/>
              <a:gd name="connsiteY1" fmla="*/ 5767 h 4515916"/>
              <a:gd name="connsiteX2" fmla="*/ 2387173 w 4807027"/>
              <a:gd name="connsiteY2" fmla="*/ 5767 h 4515916"/>
              <a:gd name="connsiteX3" fmla="*/ 4795901 w 4807027"/>
              <a:gd name="connsiteY3" fmla="*/ 3595800 h 4515916"/>
              <a:gd name="connsiteX4" fmla="*/ 2396911 w 4807027"/>
              <a:gd name="connsiteY4" fmla="*/ 4485489 h 4515916"/>
              <a:gd name="connsiteX5" fmla="*/ 0 w 4807027"/>
              <a:gd name="connsiteY5" fmla="*/ 3603929 h 4515916"/>
              <a:gd name="connsiteX0" fmla="*/ 0 w 4807027"/>
              <a:gd name="connsiteY0" fmla="*/ 3603929 h 4485489"/>
              <a:gd name="connsiteX1" fmla="*/ 1116240 w 4807027"/>
              <a:gd name="connsiteY1" fmla="*/ 5767 h 4485489"/>
              <a:gd name="connsiteX2" fmla="*/ 2387173 w 4807027"/>
              <a:gd name="connsiteY2" fmla="*/ 5767 h 4485489"/>
              <a:gd name="connsiteX3" fmla="*/ 4795901 w 4807027"/>
              <a:gd name="connsiteY3" fmla="*/ 3595800 h 4485489"/>
              <a:gd name="connsiteX4" fmla="*/ 2396911 w 4807027"/>
              <a:gd name="connsiteY4" fmla="*/ 4485489 h 4485489"/>
              <a:gd name="connsiteX5" fmla="*/ 0 w 4807027"/>
              <a:gd name="connsiteY5" fmla="*/ 3603929 h 4485489"/>
              <a:gd name="connsiteX0" fmla="*/ 0 w 4807027"/>
              <a:gd name="connsiteY0" fmla="*/ 3603929 h 4500292"/>
              <a:gd name="connsiteX1" fmla="*/ 1116240 w 4807027"/>
              <a:gd name="connsiteY1" fmla="*/ 5767 h 4500292"/>
              <a:gd name="connsiteX2" fmla="*/ 2387173 w 4807027"/>
              <a:gd name="connsiteY2" fmla="*/ 5767 h 4500292"/>
              <a:gd name="connsiteX3" fmla="*/ 4795901 w 4807027"/>
              <a:gd name="connsiteY3" fmla="*/ 3595800 h 4500292"/>
              <a:gd name="connsiteX4" fmla="*/ 2396911 w 4807027"/>
              <a:gd name="connsiteY4" fmla="*/ 4485489 h 4500292"/>
              <a:gd name="connsiteX5" fmla="*/ 0 w 4807027"/>
              <a:gd name="connsiteY5" fmla="*/ 3603929 h 4500292"/>
              <a:gd name="connsiteX0" fmla="*/ 0 w 4807027"/>
              <a:gd name="connsiteY0" fmla="*/ 3603929 h 4500292"/>
              <a:gd name="connsiteX1" fmla="*/ 1116240 w 4807027"/>
              <a:gd name="connsiteY1" fmla="*/ 5767 h 4500292"/>
              <a:gd name="connsiteX2" fmla="*/ 2387173 w 4807027"/>
              <a:gd name="connsiteY2" fmla="*/ 5767 h 4500292"/>
              <a:gd name="connsiteX3" fmla="*/ 4795901 w 4807027"/>
              <a:gd name="connsiteY3" fmla="*/ 3595800 h 4500292"/>
              <a:gd name="connsiteX4" fmla="*/ 2396911 w 4807027"/>
              <a:gd name="connsiteY4" fmla="*/ 4485489 h 4500292"/>
              <a:gd name="connsiteX5" fmla="*/ 0 w 4807027"/>
              <a:gd name="connsiteY5" fmla="*/ 3603929 h 4500292"/>
              <a:gd name="connsiteX0" fmla="*/ 0 w 4807027"/>
              <a:gd name="connsiteY0" fmla="*/ 3603929 h 4491161"/>
              <a:gd name="connsiteX1" fmla="*/ 1116240 w 4807027"/>
              <a:gd name="connsiteY1" fmla="*/ 5767 h 4491161"/>
              <a:gd name="connsiteX2" fmla="*/ 2387173 w 4807027"/>
              <a:gd name="connsiteY2" fmla="*/ 5767 h 4491161"/>
              <a:gd name="connsiteX3" fmla="*/ 4795901 w 4807027"/>
              <a:gd name="connsiteY3" fmla="*/ 3595800 h 4491161"/>
              <a:gd name="connsiteX4" fmla="*/ 2396911 w 4807027"/>
              <a:gd name="connsiteY4" fmla="*/ 4485489 h 4491161"/>
              <a:gd name="connsiteX5" fmla="*/ 0 w 4807027"/>
              <a:gd name="connsiteY5" fmla="*/ 3603929 h 4491161"/>
              <a:gd name="connsiteX0" fmla="*/ 0 w 4807027"/>
              <a:gd name="connsiteY0" fmla="*/ 3603929 h 4491161"/>
              <a:gd name="connsiteX1" fmla="*/ 1116240 w 4807027"/>
              <a:gd name="connsiteY1" fmla="*/ 5767 h 4491161"/>
              <a:gd name="connsiteX2" fmla="*/ 2387173 w 4807027"/>
              <a:gd name="connsiteY2" fmla="*/ 5767 h 4491161"/>
              <a:gd name="connsiteX3" fmla="*/ 4795901 w 4807027"/>
              <a:gd name="connsiteY3" fmla="*/ 3595800 h 4491161"/>
              <a:gd name="connsiteX4" fmla="*/ 2396911 w 4807027"/>
              <a:gd name="connsiteY4" fmla="*/ 4485489 h 4491161"/>
              <a:gd name="connsiteX5" fmla="*/ 0 w 4807027"/>
              <a:gd name="connsiteY5" fmla="*/ 3603929 h 4491161"/>
              <a:gd name="connsiteX0" fmla="*/ 0 w 4807027"/>
              <a:gd name="connsiteY0" fmla="*/ 3603929 h 4491996"/>
              <a:gd name="connsiteX1" fmla="*/ 1116240 w 4807027"/>
              <a:gd name="connsiteY1" fmla="*/ 5767 h 4491996"/>
              <a:gd name="connsiteX2" fmla="*/ 2387173 w 4807027"/>
              <a:gd name="connsiteY2" fmla="*/ 5767 h 4491996"/>
              <a:gd name="connsiteX3" fmla="*/ 4795901 w 4807027"/>
              <a:gd name="connsiteY3" fmla="*/ 3595800 h 4491996"/>
              <a:gd name="connsiteX4" fmla="*/ 2396911 w 4807027"/>
              <a:gd name="connsiteY4" fmla="*/ 4485489 h 4491996"/>
              <a:gd name="connsiteX5" fmla="*/ 0 w 4807027"/>
              <a:gd name="connsiteY5" fmla="*/ 3603929 h 4491996"/>
              <a:gd name="connsiteX0" fmla="*/ 0 w 4807027"/>
              <a:gd name="connsiteY0" fmla="*/ 3603929 h 4491996"/>
              <a:gd name="connsiteX1" fmla="*/ 1116240 w 4807027"/>
              <a:gd name="connsiteY1" fmla="*/ 5767 h 4491996"/>
              <a:gd name="connsiteX2" fmla="*/ 2387173 w 4807027"/>
              <a:gd name="connsiteY2" fmla="*/ 5767 h 4491996"/>
              <a:gd name="connsiteX3" fmla="*/ 4795901 w 4807027"/>
              <a:gd name="connsiteY3" fmla="*/ 3595800 h 4491996"/>
              <a:gd name="connsiteX4" fmla="*/ 2396911 w 4807027"/>
              <a:gd name="connsiteY4" fmla="*/ 4485489 h 4491996"/>
              <a:gd name="connsiteX5" fmla="*/ 0 w 4807027"/>
              <a:gd name="connsiteY5" fmla="*/ 3603929 h 4491996"/>
              <a:gd name="connsiteX0" fmla="*/ 0 w 4807027"/>
              <a:gd name="connsiteY0" fmla="*/ 3603929 h 4491996"/>
              <a:gd name="connsiteX1" fmla="*/ 1116240 w 4807027"/>
              <a:gd name="connsiteY1" fmla="*/ 5767 h 4491996"/>
              <a:gd name="connsiteX2" fmla="*/ 2387173 w 4807027"/>
              <a:gd name="connsiteY2" fmla="*/ 5767 h 4491996"/>
              <a:gd name="connsiteX3" fmla="*/ 4795901 w 4807027"/>
              <a:gd name="connsiteY3" fmla="*/ 3595800 h 4491996"/>
              <a:gd name="connsiteX4" fmla="*/ 2396911 w 4807027"/>
              <a:gd name="connsiteY4" fmla="*/ 4485489 h 4491996"/>
              <a:gd name="connsiteX5" fmla="*/ 0 w 4807027"/>
              <a:gd name="connsiteY5" fmla="*/ 3603929 h 4491996"/>
              <a:gd name="connsiteX0" fmla="*/ 0 w 4814070"/>
              <a:gd name="connsiteY0" fmla="*/ 3603726 h 4491793"/>
              <a:gd name="connsiteX1" fmla="*/ 1116240 w 4814070"/>
              <a:gd name="connsiteY1" fmla="*/ 5564 h 4491793"/>
              <a:gd name="connsiteX2" fmla="*/ 2387173 w 4814070"/>
              <a:gd name="connsiteY2" fmla="*/ 5564 h 4491793"/>
              <a:gd name="connsiteX3" fmla="*/ 4802989 w 4814070"/>
              <a:gd name="connsiteY3" fmla="*/ 3709011 h 4491793"/>
              <a:gd name="connsiteX4" fmla="*/ 2396911 w 4814070"/>
              <a:gd name="connsiteY4" fmla="*/ 4485286 h 4491793"/>
              <a:gd name="connsiteX5" fmla="*/ 0 w 4814070"/>
              <a:gd name="connsiteY5" fmla="*/ 3603726 h 4491793"/>
              <a:gd name="connsiteX0" fmla="*/ 0 w 4814070"/>
              <a:gd name="connsiteY0" fmla="*/ 3603726 h 4491793"/>
              <a:gd name="connsiteX1" fmla="*/ 1116240 w 4814070"/>
              <a:gd name="connsiteY1" fmla="*/ 5564 h 4491793"/>
              <a:gd name="connsiteX2" fmla="*/ 2387173 w 4814070"/>
              <a:gd name="connsiteY2" fmla="*/ 5564 h 4491793"/>
              <a:gd name="connsiteX3" fmla="*/ 4802989 w 4814070"/>
              <a:gd name="connsiteY3" fmla="*/ 3709011 h 4491793"/>
              <a:gd name="connsiteX4" fmla="*/ 2396911 w 4814070"/>
              <a:gd name="connsiteY4" fmla="*/ 4485286 h 4491793"/>
              <a:gd name="connsiteX5" fmla="*/ 0 w 4814070"/>
              <a:gd name="connsiteY5" fmla="*/ 3603726 h 4491793"/>
              <a:gd name="connsiteX0" fmla="*/ 0 w 4792941"/>
              <a:gd name="connsiteY0" fmla="*/ 3603689 h 4491756"/>
              <a:gd name="connsiteX1" fmla="*/ 1116240 w 4792941"/>
              <a:gd name="connsiteY1" fmla="*/ 5527 h 4491756"/>
              <a:gd name="connsiteX2" fmla="*/ 2387173 w 4792941"/>
              <a:gd name="connsiteY2" fmla="*/ 5527 h 4491756"/>
              <a:gd name="connsiteX3" fmla="*/ 4781724 w 4792941"/>
              <a:gd name="connsiteY3" fmla="*/ 3730239 h 4491756"/>
              <a:gd name="connsiteX4" fmla="*/ 2396911 w 4792941"/>
              <a:gd name="connsiteY4" fmla="*/ 4485249 h 4491756"/>
              <a:gd name="connsiteX5" fmla="*/ 0 w 4792941"/>
              <a:gd name="connsiteY5" fmla="*/ 3603689 h 4491756"/>
              <a:gd name="connsiteX0" fmla="*/ 0 w 4792941"/>
              <a:gd name="connsiteY0" fmla="*/ 3603689 h 4491756"/>
              <a:gd name="connsiteX1" fmla="*/ 1116240 w 4792941"/>
              <a:gd name="connsiteY1" fmla="*/ 5527 h 4491756"/>
              <a:gd name="connsiteX2" fmla="*/ 2387173 w 4792941"/>
              <a:gd name="connsiteY2" fmla="*/ 5527 h 4491756"/>
              <a:gd name="connsiteX3" fmla="*/ 4781724 w 4792941"/>
              <a:gd name="connsiteY3" fmla="*/ 3730239 h 4491756"/>
              <a:gd name="connsiteX4" fmla="*/ 2396911 w 4792941"/>
              <a:gd name="connsiteY4" fmla="*/ 4485249 h 4491756"/>
              <a:gd name="connsiteX5" fmla="*/ 0 w 4792941"/>
              <a:gd name="connsiteY5" fmla="*/ 3603689 h 4491756"/>
              <a:gd name="connsiteX0" fmla="*/ 0 w 4785900"/>
              <a:gd name="connsiteY0" fmla="*/ 3603700 h 4491767"/>
              <a:gd name="connsiteX1" fmla="*/ 1116240 w 4785900"/>
              <a:gd name="connsiteY1" fmla="*/ 5538 h 4491767"/>
              <a:gd name="connsiteX2" fmla="*/ 2387173 w 4785900"/>
              <a:gd name="connsiteY2" fmla="*/ 5538 h 4491767"/>
              <a:gd name="connsiteX3" fmla="*/ 4774636 w 4785900"/>
              <a:gd name="connsiteY3" fmla="*/ 3723162 h 4491767"/>
              <a:gd name="connsiteX4" fmla="*/ 2396911 w 4785900"/>
              <a:gd name="connsiteY4" fmla="*/ 4485260 h 4491767"/>
              <a:gd name="connsiteX5" fmla="*/ 0 w 4785900"/>
              <a:gd name="connsiteY5" fmla="*/ 3603700 h 4491767"/>
              <a:gd name="connsiteX0" fmla="*/ 0 w 4785900"/>
              <a:gd name="connsiteY0" fmla="*/ 3603700 h 4491767"/>
              <a:gd name="connsiteX1" fmla="*/ 1116240 w 4785900"/>
              <a:gd name="connsiteY1" fmla="*/ 5538 h 4491767"/>
              <a:gd name="connsiteX2" fmla="*/ 2387173 w 4785900"/>
              <a:gd name="connsiteY2" fmla="*/ 5538 h 4491767"/>
              <a:gd name="connsiteX3" fmla="*/ 4774636 w 4785900"/>
              <a:gd name="connsiteY3" fmla="*/ 3723162 h 4491767"/>
              <a:gd name="connsiteX4" fmla="*/ 2396911 w 4785900"/>
              <a:gd name="connsiteY4" fmla="*/ 4485260 h 4491767"/>
              <a:gd name="connsiteX5" fmla="*/ 0 w 4785900"/>
              <a:gd name="connsiteY5" fmla="*/ 3603700 h 4491767"/>
              <a:gd name="connsiteX0" fmla="*/ 0 w 4785900"/>
              <a:gd name="connsiteY0" fmla="*/ 3603700 h 4491767"/>
              <a:gd name="connsiteX1" fmla="*/ 1116240 w 4785900"/>
              <a:gd name="connsiteY1" fmla="*/ 5538 h 4491767"/>
              <a:gd name="connsiteX2" fmla="*/ 2387173 w 4785900"/>
              <a:gd name="connsiteY2" fmla="*/ 5538 h 4491767"/>
              <a:gd name="connsiteX3" fmla="*/ 4774636 w 4785900"/>
              <a:gd name="connsiteY3" fmla="*/ 3723162 h 4491767"/>
              <a:gd name="connsiteX4" fmla="*/ 2396911 w 4785900"/>
              <a:gd name="connsiteY4" fmla="*/ 4485260 h 4491767"/>
              <a:gd name="connsiteX5" fmla="*/ 0 w 4785900"/>
              <a:gd name="connsiteY5" fmla="*/ 3603700 h 4491767"/>
              <a:gd name="connsiteX0" fmla="*/ 0 w 4785900"/>
              <a:gd name="connsiteY0" fmla="*/ 3603700 h 4491767"/>
              <a:gd name="connsiteX1" fmla="*/ 1116240 w 4785900"/>
              <a:gd name="connsiteY1" fmla="*/ 5538 h 4491767"/>
              <a:gd name="connsiteX2" fmla="*/ 2387173 w 4785900"/>
              <a:gd name="connsiteY2" fmla="*/ 5538 h 4491767"/>
              <a:gd name="connsiteX3" fmla="*/ 4774636 w 4785900"/>
              <a:gd name="connsiteY3" fmla="*/ 3723162 h 4491767"/>
              <a:gd name="connsiteX4" fmla="*/ 2396911 w 4785900"/>
              <a:gd name="connsiteY4" fmla="*/ 4485260 h 4491767"/>
              <a:gd name="connsiteX5" fmla="*/ 0 w 4785900"/>
              <a:gd name="connsiteY5" fmla="*/ 3603700 h 4491767"/>
              <a:gd name="connsiteX0" fmla="*/ 0 w 4785900"/>
              <a:gd name="connsiteY0" fmla="*/ 3603700 h 4491767"/>
              <a:gd name="connsiteX1" fmla="*/ 1116240 w 4785900"/>
              <a:gd name="connsiteY1" fmla="*/ 5538 h 4491767"/>
              <a:gd name="connsiteX2" fmla="*/ 2387173 w 4785900"/>
              <a:gd name="connsiteY2" fmla="*/ 5538 h 4491767"/>
              <a:gd name="connsiteX3" fmla="*/ 4774636 w 4785900"/>
              <a:gd name="connsiteY3" fmla="*/ 3723162 h 4491767"/>
              <a:gd name="connsiteX4" fmla="*/ 2396911 w 4785900"/>
              <a:gd name="connsiteY4" fmla="*/ 4485260 h 4491767"/>
              <a:gd name="connsiteX5" fmla="*/ 0 w 4785900"/>
              <a:gd name="connsiteY5" fmla="*/ 3603700 h 4491767"/>
              <a:gd name="connsiteX0" fmla="*/ 0 w 4785900"/>
              <a:gd name="connsiteY0" fmla="*/ 3603700 h 4491767"/>
              <a:gd name="connsiteX1" fmla="*/ 1116240 w 4785900"/>
              <a:gd name="connsiteY1" fmla="*/ 5538 h 4491767"/>
              <a:gd name="connsiteX2" fmla="*/ 2387173 w 4785900"/>
              <a:gd name="connsiteY2" fmla="*/ 5538 h 4491767"/>
              <a:gd name="connsiteX3" fmla="*/ 4774636 w 4785900"/>
              <a:gd name="connsiteY3" fmla="*/ 3723162 h 4491767"/>
              <a:gd name="connsiteX4" fmla="*/ 2396911 w 4785900"/>
              <a:gd name="connsiteY4" fmla="*/ 4485260 h 4491767"/>
              <a:gd name="connsiteX5" fmla="*/ 0 w 4785900"/>
              <a:gd name="connsiteY5" fmla="*/ 3603700 h 4491767"/>
              <a:gd name="connsiteX0" fmla="*/ 0 w 4785900"/>
              <a:gd name="connsiteY0" fmla="*/ 3603700 h 4491767"/>
              <a:gd name="connsiteX1" fmla="*/ 1116240 w 4785900"/>
              <a:gd name="connsiteY1" fmla="*/ 5538 h 4491767"/>
              <a:gd name="connsiteX2" fmla="*/ 2387173 w 4785900"/>
              <a:gd name="connsiteY2" fmla="*/ 5538 h 4491767"/>
              <a:gd name="connsiteX3" fmla="*/ 4774636 w 4785900"/>
              <a:gd name="connsiteY3" fmla="*/ 3723162 h 4491767"/>
              <a:gd name="connsiteX4" fmla="*/ 2396911 w 4785900"/>
              <a:gd name="connsiteY4" fmla="*/ 4485260 h 4491767"/>
              <a:gd name="connsiteX5" fmla="*/ 0 w 4785900"/>
              <a:gd name="connsiteY5" fmla="*/ 3603700 h 4491767"/>
              <a:gd name="connsiteX0" fmla="*/ 0 w 4785900"/>
              <a:gd name="connsiteY0" fmla="*/ 3603700 h 4491767"/>
              <a:gd name="connsiteX1" fmla="*/ 1116240 w 4785900"/>
              <a:gd name="connsiteY1" fmla="*/ 5538 h 4491767"/>
              <a:gd name="connsiteX2" fmla="*/ 2387173 w 4785900"/>
              <a:gd name="connsiteY2" fmla="*/ 5538 h 4491767"/>
              <a:gd name="connsiteX3" fmla="*/ 4774636 w 4785900"/>
              <a:gd name="connsiteY3" fmla="*/ 3723162 h 4491767"/>
              <a:gd name="connsiteX4" fmla="*/ 2396911 w 4785900"/>
              <a:gd name="connsiteY4" fmla="*/ 4485260 h 4491767"/>
              <a:gd name="connsiteX5" fmla="*/ 0 w 4785900"/>
              <a:gd name="connsiteY5" fmla="*/ 3603700 h 4491767"/>
              <a:gd name="connsiteX0" fmla="*/ 0 w 4785900"/>
              <a:gd name="connsiteY0" fmla="*/ 3603700 h 4491767"/>
              <a:gd name="connsiteX1" fmla="*/ 1116240 w 4785900"/>
              <a:gd name="connsiteY1" fmla="*/ 5538 h 4491767"/>
              <a:gd name="connsiteX2" fmla="*/ 2387173 w 4785900"/>
              <a:gd name="connsiteY2" fmla="*/ 5538 h 4491767"/>
              <a:gd name="connsiteX3" fmla="*/ 4774636 w 4785900"/>
              <a:gd name="connsiteY3" fmla="*/ 3723162 h 4491767"/>
              <a:gd name="connsiteX4" fmla="*/ 2396911 w 4785900"/>
              <a:gd name="connsiteY4" fmla="*/ 4485260 h 4491767"/>
              <a:gd name="connsiteX5" fmla="*/ 0 w 4785900"/>
              <a:gd name="connsiteY5" fmla="*/ 3603700 h 4491767"/>
              <a:gd name="connsiteX0" fmla="*/ 0 w 4785900"/>
              <a:gd name="connsiteY0" fmla="*/ 3603700 h 4491767"/>
              <a:gd name="connsiteX1" fmla="*/ 1116240 w 4785900"/>
              <a:gd name="connsiteY1" fmla="*/ 5538 h 4491767"/>
              <a:gd name="connsiteX2" fmla="*/ 2387173 w 4785900"/>
              <a:gd name="connsiteY2" fmla="*/ 5538 h 4491767"/>
              <a:gd name="connsiteX3" fmla="*/ 4774636 w 4785900"/>
              <a:gd name="connsiteY3" fmla="*/ 3723162 h 4491767"/>
              <a:gd name="connsiteX4" fmla="*/ 2396911 w 4785900"/>
              <a:gd name="connsiteY4" fmla="*/ 4485260 h 4491767"/>
              <a:gd name="connsiteX5" fmla="*/ 0 w 4785900"/>
              <a:gd name="connsiteY5" fmla="*/ 3603700 h 4491767"/>
              <a:gd name="connsiteX0" fmla="*/ 0 w 4785900"/>
              <a:gd name="connsiteY0" fmla="*/ 3603700 h 4491767"/>
              <a:gd name="connsiteX1" fmla="*/ 1116240 w 4785900"/>
              <a:gd name="connsiteY1" fmla="*/ 5538 h 4491767"/>
              <a:gd name="connsiteX2" fmla="*/ 2387173 w 4785900"/>
              <a:gd name="connsiteY2" fmla="*/ 5538 h 4491767"/>
              <a:gd name="connsiteX3" fmla="*/ 4774636 w 4785900"/>
              <a:gd name="connsiteY3" fmla="*/ 3723162 h 4491767"/>
              <a:gd name="connsiteX4" fmla="*/ 2396911 w 4785900"/>
              <a:gd name="connsiteY4" fmla="*/ 4485260 h 4491767"/>
              <a:gd name="connsiteX5" fmla="*/ 0 w 4785900"/>
              <a:gd name="connsiteY5" fmla="*/ 3603700 h 4491767"/>
              <a:gd name="connsiteX0" fmla="*/ 0 w 4785900"/>
              <a:gd name="connsiteY0" fmla="*/ 3603700 h 4491767"/>
              <a:gd name="connsiteX1" fmla="*/ 1116240 w 4785900"/>
              <a:gd name="connsiteY1" fmla="*/ 5538 h 4491767"/>
              <a:gd name="connsiteX2" fmla="*/ 2387173 w 4785900"/>
              <a:gd name="connsiteY2" fmla="*/ 5538 h 4491767"/>
              <a:gd name="connsiteX3" fmla="*/ 4774636 w 4785900"/>
              <a:gd name="connsiteY3" fmla="*/ 3723162 h 4491767"/>
              <a:gd name="connsiteX4" fmla="*/ 2396911 w 4785900"/>
              <a:gd name="connsiteY4" fmla="*/ 4485260 h 4491767"/>
              <a:gd name="connsiteX5" fmla="*/ 0 w 4785900"/>
              <a:gd name="connsiteY5" fmla="*/ 3603700 h 4491767"/>
              <a:gd name="connsiteX0" fmla="*/ 0 w 4785900"/>
              <a:gd name="connsiteY0" fmla="*/ 3603700 h 4491767"/>
              <a:gd name="connsiteX1" fmla="*/ 1116240 w 4785900"/>
              <a:gd name="connsiteY1" fmla="*/ 5538 h 4491767"/>
              <a:gd name="connsiteX2" fmla="*/ 2387173 w 4785900"/>
              <a:gd name="connsiteY2" fmla="*/ 5538 h 4491767"/>
              <a:gd name="connsiteX3" fmla="*/ 4774636 w 4785900"/>
              <a:gd name="connsiteY3" fmla="*/ 3723162 h 4491767"/>
              <a:gd name="connsiteX4" fmla="*/ 2396911 w 4785900"/>
              <a:gd name="connsiteY4" fmla="*/ 4485260 h 4491767"/>
              <a:gd name="connsiteX5" fmla="*/ 0 w 4785900"/>
              <a:gd name="connsiteY5" fmla="*/ 3603700 h 4491767"/>
              <a:gd name="connsiteX0" fmla="*/ 0 w 4785900"/>
              <a:gd name="connsiteY0" fmla="*/ 3603700 h 4506731"/>
              <a:gd name="connsiteX1" fmla="*/ 1116240 w 4785900"/>
              <a:gd name="connsiteY1" fmla="*/ 5538 h 4506731"/>
              <a:gd name="connsiteX2" fmla="*/ 2387173 w 4785900"/>
              <a:gd name="connsiteY2" fmla="*/ 5538 h 4506731"/>
              <a:gd name="connsiteX3" fmla="*/ 4774636 w 4785900"/>
              <a:gd name="connsiteY3" fmla="*/ 3723162 h 4506731"/>
              <a:gd name="connsiteX4" fmla="*/ 2396911 w 4785900"/>
              <a:gd name="connsiteY4" fmla="*/ 4485260 h 4506731"/>
              <a:gd name="connsiteX5" fmla="*/ 0 w 4785900"/>
              <a:gd name="connsiteY5" fmla="*/ 3603700 h 4506731"/>
              <a:gd name="connsiteX0" fmla="*/ 0 w 4785900"/>
              <a:gd name="connsiteY0" fmla="*/ 3603700 h 4494993"/>
              <a:gd name="connsiteX1" fmla="*/ 1116240 w 4785900"/>
              <a:gd name="connsiteY1" fmla="*/ 5538 h 4494993"/>
              <a:gd name="connsiteX2" fmla="*/ 2387173 w 4785900"/>
              <a:gd name="connsiteY2" fmla="*/ 5538 h 4494993"/>
              <a:gd name="connsiteX3" fmla="*/ 4774636 w 4785900"/>
              <a:gd name="connsiteY3" fmla="*/ 3723162 h 4494993"/>
              <a:gd name="connsiteX4" fmla="*/ 2396911 w 4785900"/>
              <a:gd name="connsiteY4" fmla="*/ 4485260 h 4494993"/>
              <a:gd name="connsiteX5" fmla="*/ 0 w 4785900"/>
              <a:gd name="connsiteY5" fmla="*/ 3603700 h 4494993"/>
              <a:gd name="connsiteX0" fmla="*/ 0 w 4785900"/>
              <a:gd name="connsiteY0" fmla="*/ 3603700 h 4496124"/>
              <a:gd name="connsiteX1" fmla="*/ 1116240 w 4785900"/>
              <a:gd name="connsiteY1" fmla="*/ 5538 h 4496124"/>
              <a:gd name="connsiteX2" fmla="*/ 2387173 w 4785900"/>
              <a:gd name="connsiteY2" fmla="*/ 5538 h 4496124"/>
              <a:gd name="connsiteX3" fmla="*/ 4774636 w 4785900"/>
              <a:gd name="connsiteY3" fmla="*/ 3723162 h 4496124"/>
              <a:gd name="connsiteX4" fmla="*/ 2396911 w 4785900"/>
              <a:gd name="connsiteY4" fmla="*/ 4485260 h 4496124"/>
              <a:gd name="connsiteX5" fmla="*/ 0 w 4785900"/>
              <a:gd name="connsiteY5" fmla="*/ 3603700 h 4496124"/>
              <a:gd name="connsiteX0" fmla="*/ 0 w 4785900"/>
              <a:gd name="connsiteY0" fmla="*/ 3603700 h 4491767"/>
              <a:gd name="connsiteX1" fmla="*/ 1116240 w 4785900"/>
              <a:gd name="connsiteY1" fmla="*/ 5538 h 4491767"/>
              <a:gd name="connsiteX2" fmla="*/ 2387173 w 4785900"/>
              <a:gd name="connsiteY2" fmla="*/ 5538 h 4491767"/>
              <a:gd name="connsiteX3" fmla="*/ 4774636 w 4785900"/>
              <a:gd name="connsiteY3" fmla="*/ 3723162 h 4491767"/>
              <a:gd name="connsiteX4" fmla="*/ 2396911 w 4785900"/>
              <a:gd name="connsiteY4" fmla="*/ 4485260 h 4491767"/>
              <a:gd name="connsiteX5" fmla="*/ 0 w 4785900"/>
              <a:gd name="connsiteY5" fmla="*/ 3603700 h 4491767"/>
              <a:gd name="connsiteX0" fmla="*/ 0 w 4785900"/>
              <a:gd name="connsiteY0" fmla="*/ 3603700 h 4491767"/>
              <a:gd name="connsiteX1" fmla="*/ 1116240 w 4785900"/>
              <a:gd name="connsiteY1" fmla="*/ 5538 h 4491767"/>
              <a:gd name="connsiteX2" fmla="*/ 2387173 w 4785900"/>
              <a:gd name="connsiteY2" fmla="*/ 5538 h 4491767"/>
              <a:gd name="connsiteX3" fmla="*/ 4774636 w 4785900"/>
              <a:gd name="connsiteY3" fmla="*/ 3723162 h 4491767"/>
              <a:gd name="connsiteX4" fmla="*/ 2396911 w 4785900"/>
              <a:gd name="connsiteY4" fmla="*/ 4485260 h 4491767"/>
              <a:gd name="connsiteX5" fmla="*/ 0 w 4785900"/>
              <a:gd name="connsiteY5" fmla="*/ 3603700 h 4491767"/>
              <a:gd name="connsiteX0" fmla="*/ 0 w 4785900"/>
              <a:gd name="connsiteY0" fmla="*/ 3603700 h 4492559"/>
              <a:gd name="connsiteX1" fmla="*/ 1116240 w 4785900"/>
              <a:gd name="connsiteY1" fmla="*/ 5538 h 4492559"/>
              <a:gd name="connsiteX2" fmla="*/ 2387173 w 4785900"/>
              <a:gd name="connsiteY2" fmla="*/ 5538 h 4492559"/>
              <a:gd name="connsiteX3" fmla="*/ 4774636 w 4785900"/>
              <a:gd name="connsiteY3" fmla="*/ 3723162 h 4492559"/>
              <a:gd name="connsiteX4" fmla="*/ 2396911 w 4785900"/>
              <a:gd name="connsiteY4" fmla="*/ 4485260 h 4492559"/>
              <a:gd name="connsiteX5" fmla="*/ 0 w 4785900"/>
              <a:gd name="connsiteY5" fmla="*/ 3603700 h 4492559"/>
              <a:gd name="connsiteX0" fmla="*/ 0 w 4785900"/>
              <a:gd name="connsiteY0" fmla="*/ 3603700 h 4510917"/>
              <a:gd name="connsiteX1" fmla="*/ 1116240 w 4785900"/>
              <a:gd name="connsiteY1" fmla="*/ 5538 h 4510917"/>
              <a:gd name="connsiteX2" fmla="*/ 2387173 w 4785900"/>
              <a:gd name="connsiteY2" fmla="*/ 5538 h 4510917"/>
              <a:gd name="connsiteX3" fmla="*/ 4774636 w 4785900"/>
              <a:gd name="connsiteY3" fmla="*/ 3723162 h 4510917"/>
              <a:gd name="connsiteX4" fmla="*/ 2396911 w 4785900"/>
              <a:gd name="connsiteY4" fmla="*/ 4485260 h 4510917"/>
              <a:gd name="connsiteX5" fmla="*/ 0 w 4785900"/>
              <a:gd name="connsiteY5" fmla="*/ 3603700 h 4510917"/>
              <a:gd name="connsiteX0" fmla="*/ 0 w 4785900"/>
              <a:gd name="connsiteY0" fmla="*/ 3603700 h 4491767"/>
              <a:gd name="connsiteX1" fmla="*/ 1116240 w 4785900"/>
              <a:gd name="connsiteY1" fmla="*/ 5538 h 4491767"/>
              <a:gd name="connsiteX2" fmla="*/ 2387173 w 4785900"/>
              <a:gd name="connsiteY2" fmla="*/ 5538 h 4491767"/>
              <a:gd name="connsiteX3" fmla="*/ 4774636 w 4785900"/>
              <a:gd name="connsiteY3" fmla="*/ 3723162 h 4491767"/>
              <a:gd name="connsiteX4" fmla="*/ 2396911 w 4785900"/>
              <a:gd name="connsiteY4" fmla="*/ 4485260 h 4491767"/>
              <a:gd name="connsiteX5" fmla="*/ 0 w 4785900"/>
              <a:gd name="connsiteY5" fmla="*/ 3603700 h 4491767"/>
              <a:gd name="connsiteX0" fmla="*/ 0 w 4785900"/>
              <a:gd name="connsiteY0" fmla="*/ 3603700 h 4529463"/>
              <a:gd name="connsiteX1" fmla="*/ 1116240 w 4785900"/>
              <a:gd name="connsiteY1" fmla="*/ 5538 h 4529463"/>
              <a:gd name="connsiteX2" fmla="*/ 2387173 w 4785900"/>
              <a:gd name="connsiteY2" fmla="*/ 5538 h 4529463"/>
              <a:gd name="connsiteX3" fmla="*/ 4774636 w 4785900"/>
              <a:gd name="connsiteY3" fmla="*/ 3723162 h 4529463"/>
              <a:gd name="connsiteX4" fmla="*/ 2396911 w 4785900"/>
              <a:gd name="connsiteY4" fmla="*/ 4485260 h 4529463"/>
              <a:gd name="connsiteX5" fmla="*/ 0 w 4785900"/>
              <a:gd name="connsiteY5" fmla="*/ 3603700 h 4529463"/>
              <a:gd name="connsiteX0" fmla="*/ 0 w 4835631"/>
              <a:gd name="connsiteY0" fmla="*/ 3603700 h 4575108"/>
              <a:gd name="connsiteX1" fmla="*/ 1116240 w 4835631"/>
              <a:gd name="connsiteY1" fmla="*/ 5538 h 4575108"/>
              <a:gd name="connsiteX2" fmla="*/ 2387173 w 4835631"/>
              <a:gd name="connsiteY2" fmla="*/ 5538 h 4575108"/>
              <a:gd name="connsiteX3" fmla="*/ 4774636 w 4835631"/>
              <a:gd name="connsiteY3" fmla="*/ 3723162 h 4575108"/>
              <a:gd name="connsiteX4" fmla="*/ 3980283 w 4835631"/>
              <a:gd name="connsiteY4" fmla="*/ 4459638 h 4575108"/>
              <a:gd name="connsiteX5" fmla="*/ 2396911 w 4835631"/>
              <a:gd name="connsiteY5" fmla="*/ 4485260 h 4575108"/>
              <a:gd name="connsiteX6" fmla="*/ 0 w 4835631"/>
              <a:gd name="connsiteY6" fmla="*/ 3603700 h 4575108"/>
              <a:gd name="connsiteX0" fmla="*/ 0 w 4831573"/>
              <a:gd name="connsiteY0" fmla="*/ 3603700 h 4555690"/>
              <a:gd name="connsiteX1" fmla="*/ 1116240 w 4831573"/>
              <a:gd name="connsiteY1" fmla="*/ 5538 h 4555690"/>
              <a:gd name="connsiteX2" fmla="*/ 2387173 w 4831573"/>
              <a:gd name="connsiteY2" fmla="*/ 5538 h 4555690"/>
              <a:gd name="connsiteX3" fmla="*/ 4774636 w 4831573"/>
              <a:gd name="connsiteY3" fmla="*/ 3723162 h 4555690"/>
              <a:gd name="connsiteX4" fmla="*/ 3916488 w 4831573"/>
              <a:gd name="connsiteY4" fmla="*/ 4402931 h 4555690"/>
              <a:gd name="connsiteX5" fmla="*/ 2396911 w 4831573"/>
              <a:gd name="connsiteY5" fmla="*/ 4485260 h 4555690"/>
              <a:gd name="connsiteX6" fmla="*/ 0 w 4831573"/>
              <a:gd name="connsiteY6" fmla="*/ 3603700 h 4555690"/>
              <a:gd name="connsiteX0" fmla="*/ 0 w 4824192"/>
              <a:gd name="connsiteY0" fmla="*/ 3603700 h 4555690"/>
              <a:gd name="connsiteX1" fmla="*/ 1116240 w 4824192"/>
              <a:gd name="connsiteY1" fmla="*/ 5538 h 4555690"/>
              <a:gd name="connsiteX2" fmla="*/ 2387173 w 4824192"/>
              <a:gd name="connsiteY2" fmla="*/ 5538 h 4555690"/>
              <a:gd name="connsiteX3" fmla="*/ 4774636 w 4824192"/>
              <a:gd name="connsiteY3" fmla="*/ 3723162 h 4555690"/>
              <a:gd name="connsiteX4" fmla="*/ 3916488 w 4824192"/>
              <a:gd name="connsiteY4" fmla="*/ 4402931 h 4555690"/>
              <a:gd name="connsiteX5" fmla="*/ 2396911 w 4824192"/>
              <a:gd name="connsiteY5" fmla="*/ 4485260 h 4555690"/>
              <a:gd name="connsiteX6" fmla="*/ 0 w 4824192"/>
              <a:gd name="connsiteY6" fmla="*/ 3603700 h 4555690"/>
              <a:gd name="connsiteX0" fmla="*/ 0 w 4824192"/>
              <a:gd name="connsiteY0" fmla="*/ 3603677 h 4555667"/>
              <a:gd name="connsiteX1" fmla="*/ 1116240 w 4824192"/>
              <a:gd name="connsiteY1" fmla="*/ 5515 h 4555667"/>
              <a:gd name="connsiteX2" fmla="*/ 2387173 w 4824192"/>
              <a:gd name="connsiteY2" fmla="*/ 5515 h 4555667"/>
              <a:gd name="connsiteX3" fmla="*/ 4774636 w 4824192"/>
              <a:gd name="connsiteY3" fmla="*/ 3737316 h 4555667"/>
              <a:gd name="connsiteX4" fmla="*/ 3916488 w 4824192"/>
              <a:gd name="connsiteY4" fmla="*/ 4402908 h 4555667"/>
              <a:gd name="connsiteX5" fmla="*/ 2396911 w 4824192"/>
              <a:gd name="connsiteY5" fmla="*/ 4485237 h 4555667"/>
              <a:gd name="connsiteX6" fmla="*/ 0 w 4824192"/>
              <a:gd name="connsiteY6" fmla="*/ 3603677 h 4555667"/>
              <a:gd name="connsiteX0" fmla="*/ 0 w 4785900"/>
              <a:gd name="connsiteY0" fmla="*/ 3603677 h 4555667"/>
              <a:gd name="connsiteX1" fmla="*/ 1116240 w 4785900"/>
              <a:gd name="connsiteY1" fmla="*/ 5515 h 4555667"/>
              <a:gd name="connsiteX2" fmla="*/ 2387173 w 4785900"/>
              <a:gd name="connsiteY2" fmla="*/ 5515 h 4555667"/>
              <a:gd name="connsiteX3" fmla="*/ 4774636 w 4785900"/>
              <a:gd name="connsiteY3" fmla="*/ 3737316 h 4555667"/>
              <a:gd name="connsiteX4" fmla="*/ 3916488 w 4785900"/>
              <a:gd name="connsiteY4" fmla="*/ 4402908 h 4555667"/>
              <a:gd name="connsiteX5" fmla="*/ 2396911 w 4785900"/>
              <a:gd name="connsiteY5" fmla="*/ 4485237 h 4555667"/>
              <a:gd name="connsiteX6" fmla="*/ 0 w 4785900"/>
              <a:gd name="connsiteY6" fmla="*/ 3603677 h 4555667"/>
              <a:gd name="connsiteX0" fmla="*/ 0 w 4785900"/>
              <a:gd name="connsiteY0" fmla="*/ 3603677 h 4539916"/>
              <a:gd name="connsiteX1" fmla="*/ 1116240 w 4785900"/>
              <a:gd name="connsiteY1" fmla="*/ 5515 h 4539916"/>
              <a:gd name="connsiteX2" fmla="*/ 2387173 w 4785900"/>
              <a:gd name="connsiteY2" fmla="*/ 5515 h 4539916"/>
              <a:gd name="connsiteX3" fmla="*/ 4774636 w 4785900"/>
              <a:gd name="connsiteY3" fmla="*/ 3737316 h 4539916"/>
              <a:gd name="connsiteX4" fmla="*/ 3916488 w 4785900"/>
              <a:gd name="connsiteY4" fmla="*/ 4402908 h 4539916"/>
              <a:gd name="connsiteX5" fmla="*/ 2396911 w 4785900"/>
              <a:gd name="connsiteY5" fmla="*/ 4485237 h 4539916"/>
              <a:gd name="connsiteX6" fmla="*/ 0 w 4785900"/>
              <a:gd name="connsiteY6" fmla="*/ 3603677 h 4539916"/>
              <a:gd name="connsiteX0" fmla="*/ 0 w 4785900"/>
              <a:gd name="connsiteY0" fmla="*/ 3603677 h 4491744"/>
              <a:gd name="connsiteX1" fmla="*/ 1116240 w 4785900"/>
              <a:gd name="connsiteY1" fmla="*/ 5515 h 4491744"/>
              <a:gd name="connsiteX2" fmla="*/ 2387173 w 4785900"/>
              <a:gd name="connsiteY2" fmla="*/ 5515 h 4491744"/>
              <a:gd name="connsiteX3" fmla="*/ 4774636 w 4785900"/>
              <a:gd name="connsiteY3" fmla="*/ 3737316 h 4491744"/>
              <a:gd name="connsiteX4" fmla="*/ 3916488 w 4785900"/>
              <a:gd name="connsiteY4" fmla="*/ 4402908 h 4491744"/>
              <a:gd name="connsiteX5" fmla="*/ 2396911 w 4785900"/>
              <a:gd name="connsiteY5" fmla="*/ 4485237 h 4491744"/>
              <a:gd name="connsiteX6" fmla="*/ 0 w 4785900"/>
              <a:gd name="connsiteY6" fmla="*/ 3603677 h 4491744"/>
              <a:gd name="connsiteX0" fmla="*/ 0 w 4785900"/>
              <a:gd name="connsiteY0" fmla="*/ 3603677 h 4491744"/>
              <a:gd name="connsiteX1" fmla="*/ 1116240 w 4785900"/>
              <a:gd name="connsiteY1" fmla="*/ 5515 h 4491744"/>
              <a:gd name="connsiteX2" fmla="*/ 2387173 w 4785900"/>
              <a:gd name="connsiteY2" fmla="*/ 5515 h 4491744"/>
              <a:gd name="connsiteX3" fmla="*/ 4774636 w 4785900"/>
              <a:gd name="connsiteY3" fmla="*/ 3737316 h 4491744"/>
              <a:gd name="connsiteX4" fmla="*/ 3916488 w 4785900"/>
              <a:gd name="connsiteY4" fmla="*/ 4402908 h 4491744"/>
              <a:gd name="connsiteX5" fmla="*/ 2396911 w 4785900"/>
              <a:gd name="connsiteY5" fmla="*/ 4485237 h 4491744"/>
              <a:gd name="connsiteX6" fmla="*/ 0 w 4785900"/>
              <a:gd name="connsiteY6" fmla="*/ 3603677 h 4491744"/>
              <a:gd name="connsiteX0" fmla="*/ 0 w 4801302"/>
              <a:gd name="connsiteY0" fmla="*/ 3598162 h 4486229"/>
              <a:gd name="connsiteX1" fmla="*/ 1116240 w 4801302"/>
              <a:gd name="connsiteY1" fmla="*/ 0 h 4486229"/>
              <a:gd name="connsiteX2" fmla="*/ 2387173 w 4801302"/>
              <a:gd name="connsiteY2" fmla="*/ 0 h 4486229"/>
              <a:gd name="connsiteX3" fmla="*/ 4377231 w 4801302"/>
              <a:gd name="connsiteY3" fmla="*/ 2228350 h 4486229"/>
              <a:gd name="connsiteX4" fmla="*/ 4774636 w 4801302"/>
              <a:gd name="connsiteY4" fmla="*/ 3731801 h 4486229"/>
              <a:gd name="connsiteX5" fmla="*/ 3916488 w 4801302"/>
              <a:gd name="connsiteY5" fmla="*/ 4397393 h 4486229"/>
              <a:gd name="connsiteX6" fmla="*/ 2396911 w 4801302"/>
              <a:gd name="connsiteY6" fmla="*/ 4479722 h 4486229"/>
              <a:gd name="connsiteX7" fmla="*/ 0 w 4801302"/>
              <a:gd name="connsiteY7" fmla="*/ 3598162 h 4486229"/>
              <a:gd name="connsiteX0" fmla="*/ 0 w 4791830"/>
              <a:gd name="connsiteY0" fmla="*/ 3598162 h 4486229"/>
              <a:gd name="connsiteX1" fmla="*/ 1116240 w 4791830"/>
              <a:gd name="connsiteY1" fmla="*/ 0 h 4486229"/>
              <a:gd name="connsiteX2" fmla="*/ 2387173 w 4791830"/>
              <a:gd name="connsiteY2" fmla="*/ 0 h 4486229"/>
              <a:gd name="connsiteX3" fmla="*/ 4270906 w 4791830"/>
              <a:gd name="connsiteY3" fmla="*/ 2207085 h 4486229"/>
              <a:gd name="connsiteX4" fmla="*/ 4774636 w 4791830"/>
              <a:gd name="connsiteY4" fmla="*/ 3731801 h 4486229"/>
              <a:gd name="connsiteX5" fmla="*/ 3916488 w 4791830"/>
              <a:gd name="connsiteY5" fmla="*/ 4397393 h 4486229"/>
              <a:gd name="connsiteX6" fmla="*/ 2396911 w 4791830"/>
              <a:gd name="connsiteY6" fmla="*/ 4479722 h 4486229"/>
              <a:gd name="connsiteX7" fmla="*/ 0 w 4791830"/>
              <a:gd name="connsiteY7" fmla="*/ 3598162 h 4486229"/>
              <a:gd name="connsiteX0" fmla="*/ 0 w 4791432"/>
              <a:gd name="connsiteY0" fmla="*/ 3598162 h 4486229"/>
              <a:gd name="connsiteX1" fmla="*/ 1116240 w 4791432"/>
              <a:gd name="connsiteY1" fmla="*/ 0 h 4486229"/>
              <a:gd name="connsiteX2" fmla="*/ 2387173 w 4791432"/>
              <a:gd name="connsiteY2" fmla="*/ 0 h 4486229"/>
              <a:gd name="connsiteX3" fmla="*/ 4270906 w 4791432"/>
              <a:gd name="connsiteY3" fmla="*/ 2207085 h 4486229"/>
              <a:gd name="connsiteX4" fmla="*/ 4774636 w 4791432"/>
              <a:gd name="connsiteY4" fmla="*/ 3731801 h 4486229"/>
              <a:gd name="connsiteX5" fmla="*/ 3916488 w 4791432"/>
              <a:gd name="connsiteY5" fmla="*/ 4397393 h 4486229"/>
              <a:gd name="connsiteX6" fmla="*/ 2396911 w 4791432"/>
              <a:gd name="connsiteY6" fmla="*/ 4479722 h 4486229"/>
              <a:gd name="connsiteX7" fmla="*/ 0 w 4791432"/>
              <a:gd name="connsiteY7" fmla="*/ 3598162 h 4486229"/>
              <a:gd name="connsiteX0" fmla="*/ 0 w 4793736"/>
              <a:gd name="connsiteY0" fmla="*/ 3598162 h 4486229"/>
              <a:gd name="connsiteX1" fmla="*/ 1116240 w 4793736"/>
              <a:gd name="connsiteY1" fmla="*/ 0 h 4486229"/>
              <a:gd name="connsiteX2" fmla="*/ 2387173 w 4793736"/>
              <a:gd name="connsiteY2" fmla="*/ 0 h 4486229"/>
              <a:gd name="connsiteX3" fmla="*/ 4270906 w 4793736"/>
              <a:gd name="connsiteY3" fmla="*/ 2207085 h 4486229"/>
              <a:gd name="connsiteX4" fmla="*/ 4774636 w 4793736"/>
              <a:gd name="connsiteY4" fmla="*/ 3731801 h 4486229"/>
              <a:gd name="connsiteX5" fmla="*/ 3916488 w 4793736"/>
              <a:gd name="connsiteY5" fmla="*/ 4397393 h 4486229"/>
              <a:gd name="connsiteX6" fmla="*/ 2396911 w 4793736"/>
              <a:gd name="connsiteY6" fmla="*/ 4479722 h 4486229"/>
              <a:gd name="connsiteX7" fmla="*/ 0 w 4793736"/>
              <a:gd name="connsiteY7" fmla="*/ 3598162 h 4486229"/>
              <a:gd name="connsiteX0" fmla="*/ 0 w 4784927"/>
              <a:gd name="connsiteY0" fmla="*/ 3598162 h 4486229"/>
              <a:gd name="connsiteX1" fmla="*/ 1116240 w 4784927"/>
              <a:gd name="connsiteY1" fmla="*/ 0 h 4486229"/>
              <a:gd name="connsiteX2" fmla="*/ 2387173 w 4784927"/>
              <a:gd name="connsiteY2" fmla="*/ 0 h 4486229"/>
              <a:gd name="connsiteX3" fmla="*/ 4022812 w 4784927"/>
              <a:gd name="connsiteY3" fmla="*/ 1774695 h 4486229"/>
              <a:gd name="connsiteX4" fmla="*/ 4774636 w 4784927"/>
              <a:gd name="connsiteY4" fmla="*/ 3731801 h 4486229"/>
              <a:gd name="connsiteX5" fmla="*/ 3916488 w 4784927"/>
              <a:gd name="connsiteY5" fmla="*/ 4397393 h 4486229"/>
              <a:gd name="connsiteX6" fmla="*/ 2396911 w 4784927"/>
              <a:gd name="connsiteY6" fmla="*/ 4479722 h 4486229"/>
              <a:gd name="connsiteX7" fmla="*/ 0 w 4784927"/>
              <a:gd name="connsiteY7" fmla="*/ 3598162 h 4486229"/>
              <a:gd name="connsiteX0" fmla="*/ 0 w 4788027"/>
              <a:gd name="connsiteY0" fmla="*/ 3598162 h 4486229"/>
              <a:gd name="connsiteX1" fmla="*/ 1116240 w 4788027"/>
              <a:gd name="connsiteY1" fmla="*/ 0 h 4486229"/>
              <a:gd name="connsiteX2" fmla="*/ 2387173 w 4788027"/>
              <a:gd name="connsiteY2" fmla="*/ 0 h 4486229"/>
              <a:gd name="connsiteX3" fmla="*/ 4022812 w 4788027"/>
              <a:gd name="connsiteY3" fmla="*/ 1774695 h 4486229"/>
              <a:gd name="connsiteX4" fmla="*/ 4774636 w 4788027"/>
              <a:gd name="connsiteY4" fmla="*/ 3731801 h 4486229"/>
              <a:gd name="connsiteX5" fmla="*/ 3916488 w 4788027"/>
              <a:gd name="connsiteY5" fmla="*/ 4397393 h 4486229"/>
              <a:gd name="connsiteX6" fmla="*/ 2396911 w 4788027"/>
              <a:gd name="connsiteY6" fmla="*/ 4479722 h 4486229"/>
              <a:gd name="connsiteX7" fmla="*/ 0 w 4788027"/>
              <a:gd name="connsiteY7" fmla="*/ 3598162 h 4486229"/>
              <a:gd name="connsiteX0" fmla="*/ 0 w 4795825"/>
              <a:gd name="connsiteY0" fmla="*/ 3598162 h 4486229"/>
              <a:gd name="connsiteX1" fmla="*/ 1116240 w 4795825"/>
              <a:gd name="connsiteY1" fmla="*/ 0 h 4486229"/>
              <a:gd name="connsiteX2" fmla="*/ 2387173 w 4795825"/>
              <a:gd name="connsiteY2" fmla="*/ 0 h 4486229"/>
              <a:gd name="connsiteX3" fmla="*/ 4022812 w 4795825"/>
              <a:gd name="connsiteY3" fmla="*/ 1774695 h 4486229"/>
              <a:gd name="connsiteX4" fmla="*/ 4774636 w 4795825"/>
              <a:gd name="connsiteY4" fmla="*/ 3731801 h 4486229"/>
              <a:gd name="connsiteX5" fmla="*/ 3916488 w 4795825"/>
              <a:gd name="connsiteY5" fmla="*/ 4397393 h 4486229"/>
              <a:gd name="connsiteX6" fmla="*/ 2396911 w 4795825"/>
              <a:gd name="connsiteY6" fmla="*/ 4479722 h 4486229"/>
              <a:gd name="connsiteX7" fmla="*/ 0 w 4795825"/>
              <a:gd name="connsiteY7" fmla="*/ 3598162 h 4486229"/>
              <a:gd name="connsiteX0" fmla="*/ 0 w 4788585"/>
              <a:gd name="connsiteY0" fmla="*/ 3598162 h 4486229"/>
              <a:gd name="connsiteX1" fmla="*/ 1116240 w 4788585"/>
              <a:gd name="connsiteY1" fmla="*/ 0 h 4486229"/>
              <a:gd name="connsiteX2" fmla="*/ 2387173 w 4788585"/>
              <a:gd name="connsiteY2" fmla="*/ 0 h 4486229"/>
              <a:gd name="connsiteX3" fmla="*/ 4022812 w 4788585"/>
              <a:gd name="connsiteY3" fmla="*/ 1774695 h 4486229"/>
              <a:gd name="connsiteX4" fmla="*/ 4774636 w 4788585"/>
              <a:gd name="connsiteY4" fmla="*/ 3731801 h 4486229"/>
              <a:gd name="connsiteX5" fmla="*/ 3916488 w 4788585"/>
              <a:gd name="connsiteY5" fmla="*/ 4397393 h 4486229"/>
              <a:gd name="connsiteX6" fmla="*/ 2396911 w 4788585"/>
              <a:gd name="connsiteY6" fmla="*/ 4479722 h 4486229"/>
              <a:gd name="connsiteX7" fmla="*/ 0 w 4788585"/>
              <a:gd name="connsiteY7" fmla="*/ 3598162 h 4486229"/>
              <a:gd name="connsiteX0" fmla="*/ 0 w 4789166"/>
              <a:gd name="connsiteY0" fmla="*/ 3598162 h 4486229"/>
              <a:gd name="connsiteX1" fmla="*/ 1116240 w 4789166"/>
              <a:gd name="connsiteY1" fmla="*/ 0 h 4486229"/>
              <a:gd name="connsiteX2" fmla="*/ 2387173 w 4789166"/>
              <a:gd name="connsiteY2" fmla="*/ 0 h 4486229"/>
              <a:gd name="connsiteX3" fmla="*/ 4022812 w 4789166"/>
              <a:gd name="connsiteY3" fmla="*/ 1774695 h 4486229"/>
              <a:gd name="connsiteX4" fmla="*/ 4774636 w 4789166"/>
              <a:gd name="connsiteY4" fmla="*/ 3731801 h 4486229"/>
              <a:gd name="connsiteX5" fmla="*/ 3916488 w 4789166"/>
              <a:gd name="connsiteY5" fmla="*/ 4397393 h 4486229"/>
              <a:gd name="connsiteX6" fmla="*/ 2396911 w 4789166"/>
              <a:gd name="connsiteY6" fmla="*/ 4479722 h 4486229"/>
              <a:gd name="connsiteX7" fmla="*/ 0 w 4789166"/>
              <a:gd name="connsiteY7" fmla="*/ 3598162 h 4486229"/>
              <a:gd name="connsiteX0" fmla="*/ 0 w 4794089"/>
              <a:gd name="connsiteY0" fmla="*/ 3598162 h 4486229"/>
              <a:gd name="connsiteX1" fmla="*/ 1116240 w 4794089"/>
              <a:gd name="connsiteY1" fmla="*/ 0 h 4486229"/>
              <a:gd name="connsiteX2" fmla="*/ 2387173 w 4794089"/>
              <a:gd name="connsiteY2" fmla="*/ 0 h 4486229"/>
              <a:gd name="connsiteX3" fmla="*/ 4022812 w 4794089"/>
              <a:gd name="connsiteY3" fmla="*/ 1774695 h 4486229"/>
              <a:gd name="connsiteX4" fmla="*/ 4774636 w 4794089"/>
              <a:gd name="connsiteY4" fmla="*/ 3731801 h 4486229"/>
              <a:gd name="connsiteX5" fmla="*/ 3916488 w 4794089"/>
              <a:gd name="connsiteY5" fmla="*/ 4397393 h 4486229"/>
              <a:gd name="connsiteX6" fmla="*/ 2396911 w 4794089"/>
              <a:gd name="connsiteY6" fmla="*/ 4479722 h 4486229"/>
              <a:gd name="connsiteX7" fmla="*/ 0 w 4794089"/>
              <a:gd name="connsiteY7" fmla="*/ 3598162 h 4486229"/>
              <a:gd name="connsiteX0" fmla="*/ 0 w 4795830"/>
              <a:gd name="connsiteY0" fmla="*/ 3598162 h 4486229"/>
              <a:gd name="connsiteX1" fmla="*/ 1116240 w 4795830"/>
              <a:gd name="connsiteY1" fmla="*/ 0 h 4486229"/>
              <a:gd name="connsiteX2" fmla="*/ 2387173 w 4795830"/>
              <a:gd name="connsiteY2" fmla="*/ 0 h 4486229"/>
              <a:gd name="connsiteX3" fmla="*/ 4022812 w 4795830"/>
              <a:gd name="connsiteY3" fmla="*/ 1774695 h 4486229"/>
              <a:gd name="connsiteX4" fmla="*/ 4774636 w 4795830"/>
              <a:gd name="connsiteY4" fmla="*/ 3731801 h 4486229"/>
              <a:gd name="connsiteX5" fmla="*/ 3916488 w 4795830"/>
              <a:gd name="connsiteY5" fmla="*/ 4397393 h 4486229"/>
              <a:gd name="connsiteX6" fmla="*/ 2396911 w 4795830"/>
              <a:gd name="connsiteY6" fmla="*/ 4479722 h 4486229"/>
              <a:gd name="connsiteX7" fmla="*/ 0 w 4795830"/>
              <a:gd name="connsiteY7" fmla="*/ 3598162 h 4486229"/>
              <a:gd name="connsiteX0" fmla="*/ 0 w 4795830"/>
              <a:gd name="connsiteY0" fmla="*/ 3598162 h 4486229"/>
              <a:gd name="connsiteX1" fmla="*/ 1116240 w 4795830"/>
              <a:gd name="connsiteY1" fmla="*/ 0 h 4486229"/>
              <a:gd name="connsiteX2" fmla="*/ 2387173 w 4795830"/>
              <a:gd name="connsiteY2" fmla="*/ 0 h 4486229"/>
              <a:gd name="connsiteX3" fmla="*/ 4022812 w 4795830"/>
              <a:gd name="connsiteY3" fmla="*/ 1774695 h 4486229"/>
              <a:gd name="connsiteX4" fmla="*/ 4774636 w 4795830"/>
              <a:gd name="connsiteY4" fmla="*/ 3731801 h 4486229"/>
              <a:gd name="connsiteX5" fmla="*/ 3916488 w 4795830"/>
              <a:gd name="connsiteY5" fmla="*/ 4397393 h 4486229"/>
              <a:gd name="connsiteX6" fmla="*/ 2396911 w 4795830"/>
              <a:gd name="connsiteY6" fmla="*/ 4479722 h 4486229"/>
              <a:gd name="connsiteX7" fmla="*/ 0 w 4795830"/>
              <a:gd name="connsiteY7" fmla="*/ 3598162 h 4486229"/>
              <a:gd name="connsiteX0" fmla="*/ 0 w 4802783"/>
              <a:gd name="connsiteY0" fmla="*/ 3598162 h 4486229"/>
              <a:gd name="connsiteX1" fmla="*/ 1116240 w 4802783"/>
              <a:gd name="connsiteY1" fmla="*/ 0 h 4486229"/>
              <a:gd name="connsiteX2" fmla="*/ 2387173 w 4802783"/>
              <a:gd name="connsiteY2" fmla="*/ 0 h 4486229"/>
              <a:gd name="connsiteX3" fmla="*/ 4200021 w 4802783"/>
              <a:gd name="connsiteY3" fmla="*/ 2100760 h 4486229"/>
              <a:gd name="connsiteX4" fmla="*/ 4774636 w 4802783"/>
              <a:gd name="connsiteY4" fmla="*/ 3731801 h 4486229"/>
              <a:gd name="connsiteX5" fmla="*/ 3916488 w 4802783"/>
              <a:gd name="connsiteY5" fmla="*/ 4397393 h 4486229"/>
              <a:gd name="connsiteX6" fmla="*/ 2396911 w 4802783"/>
              <a:gd name="connsiteY6" fmla="*/ 4479722 h 4486229"/>
              <a:gd name="connsiteX7" fmla="*/ 0 w 4802783"/>
              <a:gd name="connsiteY7" fmla="*/ 3598162 h 4486229"/>
              <a:gd name="connsiteX0" fmla="*/ 0 w 4797833"/>
              <a:gd name="connsiteY0" fmla="*/ 3598162 h 4486229"/>
              <a:gd name="connsiteX1" fmla="*/ 1116240 w 4797833"/>
              <a:gd name="connsiteY1" fmla="*/ 0 h 4486229"/>
              <a:gd name="connsiteX2" fmla="*/ 2387173 w 4797833"/>
              <a:gd name="connsiteY2" fmla="*/ 0 h 4486229"/>
              <a:gd name="connsiteX3" fmla="*/ 4200021 w 4797833"/>
              <a:gd name="connsiteY3" fmla="*/ 2100760 h 4486229"/>
              <a:gd name="connsiteX4" fmla="*/ 4774636 w 4797833"/>
              <a:gd name="connsiteY4" fmla="*/ 3731801 h 4486229"/>
              <a:gd name="connsiteX5" fmla="*/ 3916488 w 4797833"/>
              <a:gd name="connsiteY5" fmla="*/ 4397393 h 4486229"/>
              <a:gd name="connsiteX6" fmla="*/ 2396911 w 4797833"/>
              <a:gd name="connsiteY6" fmla="*/ 4479722 h 4486229"/>
              <a:gd name="connsiteX7" fmla="*/ 0 w 4797833"/>
              <a:gd name="connsiteY7" fmla="*/ 3598162 h 4486229"/>
              <a:gd name="connsiteX0" fmla="*/ 0 w 4797592"/>
              <a:gd name="connsiteY0" fmla="*/ 3598162 h 4486229"/>
              <a:gd name="connsiteX1" fmla="*/ 1116240 w 4797592"/>
              <a:gd name="connsiteY1" fmla="*/ 0 h 4486229"/>
              <a:gd name="connsiteX2" fmla="*/ 2387173 w 4797592"/>
              <a:gd name="connsiteY2" fmla="*/ 0 h 4486229"/>
              <a:gd name="connsiteX3" fmla="*/ 4200021 w 4797592"/>
              <a:gd name="connsiteY3" fmla="*/ 2100760 h 4486229"/>
              <a:gd name="connsiteX4" fmla="*/ 4774636 w 4797592"/>
              <a:gd name="connsiteY4" fmla="*/ 3731801 h 4486229"/>
              <a:gd name="connsiteX5" fmla="*/ 3916488 w 4797592"/>
              <a:gd name="connsiteY5" fmla="*/ 4397393 h 4486229"/>
              <a:gd name="connsiteX6" fmla="*/ 2396911 w 4797592"/>
              <a:gd name="connsiteY6" fmla="*/ 4479722 h 4486229"/>
              <a:gd name="connsiteX7" fmla="*/ 0 w 4797592"/>
              <a:gd name="connsiteY7" fmla="*/ 3598162 h 4486229"/>
              <a:gd name="connsiteX0" fmla="*/ 0 w 4795619"/>
              <a:gd name="connsiteY0" fmla="*/ 3598162 h 4486229"/>
              <a:gd name="connsiteX1" fmla="*/ 1116240 w 4795619"/>
              <a:gd name="connsiteY1" fmla="*/ 0 h 4486229"/>
              <a:gd name="connsiteX2" fmla="*/ 2387173 w 4795619"/>
              <a:gd name="connsiteY2" fmla="*/ 0 h 4486229"/>
              <a:gd name="connsiteX3" fmla="*/ 4200021 w 4795619"/>
              <a:gd name="connsiteY3" fmla="*/ 2100760 h 4486229"/>
              <a:gd name="connsiteX4" fmla="*/ 4774636 w 4795619"/>
              <a:gd name="connsiteY4" fmla="*/ 3731801 h 4486229"/>
              <a:gd name="connsiteX5" fmla="*/ 3916488 w 4795619"/>
              <a:gd name="connsiteY5" fmla="*/ 4397393 h 4486229"/>
              <a:gd name="connsiteX6" fmla="*/ 2396911 w 4795619"/>
              <a:gd name="connsiteY6" fmla="*/ 4479722 h 4486229"/>
              <a:gd name="connsiteX7" fmla="*/ 0 w 4795619"/>
              <a:gd name="connsiteY7" fmla="*/ 3598162 h 4486229"/>
              <a:gd name="connsiteX0" fmla="*/ 0 w 4794842"/>
              <a:gd name="connsiteY0" fmla="*/ 3598162 h 4486229"/>
              <a:gd name="connsiteX1" fmla="*/ 1116240 w 4794842"/>
              <a:gd name="connsiteY1" fmla="*/ 0 h 4486229"/>
              <a:gd name="connsiteX2" fmla="*/ 2387173 w 4794842"/>
              <a:gd name="connsiteY2" fmla="*/ 0 h 4486229"/>
              <a:gd name="connsiteX3" fmla="*/ 4200021 w 4794842"/>
              <a:gd name="connsiteY3" fmla="*/ 2100760 h 4486229"/>
              <a:gd name="connsiteX4" fmla="*/ 4774636 w 4794842"/>
              <a:gd name="connsiteY4" fmla="*/ 3731801 h 4486229"/>
              <a:gd name="connsiteX5" fmla="*/ 3916488 w 4794842"/>
              <a:gd name="connsiteY5" fmla="*/ 4397393 h 4486229"/>
              <a:gd name="connsiteX6" fmla="*/ 2396911 w 4794842"/>
              <a:gd name="connsiteY6" fmla="*/ 4479722 h 4486229"/>
              <a:gd name="connsiteX7" fmla="*/ 0 w 4794842"/>
              <a:gd name="connsiteY7" fmla="*/ 3598162 h 4486229"/>
              <a:gd name="connsiteX0" fmla="*/ 0 w 4794294"/>
              <a:gd name="connsiteY0" fmla="*/ 3598162 h 4486229"/>
              <a:gd name="connsiteX1" fmla="*/ 1116240 w 4794294"/>
              <a:gd name="connsiteY1" fmla="*/ 0 h 4486229"/>
              <a:gd name="connsiteX2" fmla="*/ 2387173 w 4794294"/>
              <a:gd name="connsiteY2" fmla="*/ 0 h 4486229"/>
              <a:gd name="connsiteX3" fmla="*/ 4200021 w 4794294"/>
              <a:gd name="connsiteY3" fmla="*/ 2100760 h 4486229"/>
              <a:gd name="connsiteX4" fmla="*/ 4774636 w 4794294"/>
              <a:gd name="connsiteY4" fmla="*/ 3731801 h 4486229"/>
              <a:gd name="connsiteX5" fmla="*/ 3916488 w 4794294"/>
              <a:gd name="connsiteY5" fmla="*/ 4397393 h 4486229"/>
              <a:gd name="connsiteX6" fmla="*/ 2396911 w 4794294"/>
              <a:gd name="connsiteY6" fmla="*/ 4479722 h 4486229"/>
              <a:gd name="connsiteX7" fmla="*/ 0 w 4794294"/>
              <a:gd name="connsiteY7" fmla="*/ 3598162 h 4486229"/>
              <a:gd name="connsiteX0" fmla="*/ 0 w 4799753"/>
              <a:gd name="connsiteY0" fmla="*/ 3598162 h 4486229"/>
              <a:gd name="connsiteX1" fmla="*/ 1116240 w 4799753"/>
              <a:gd name="connsiteY1" fmla="*/ 0 h 4486229"/>
              <a:gd name="connsiteX2" fmla="*/ 2387173 w 4799753"/>
              <a:gd name="connsiteY2" fmla="*/ 0 h 4486229"/>
              <a:gd name="connsiteX3" fmla="*/ 4200021 w 4799753"/>
              <a:gd name="connsiteY3" fmla="*/ 2100760 h 4486229"/>
              <a:gd name="connsiteX4" fmla="*/ 4774636 w 4799753"/>
              <a:gd name="connsiteY4" fmla="*/ 3731801 h 4486229"/>
              <a:gd name="connsiteX5" fmla="*/ 3916488 w 4799753"/>
              <a:gd name="connsiteY5" fmla="*/ 4397393 h 4486229"/>
              <a:gd name="connsiteX6" fmla="*/ 2396911 w 4799753"/>
              <a:gd name="connsiteY6" fmla="*/ 4479722 h 4486229"/>
              <a:gd name="connsiteX7" fmla="*/ 0 w 4799753"/>
              <a:gd name="connsiteY7" fmla="*/ 3598162 h 4486229"/>
              <a:gd name="connsiteX0" fmla="*/ 0 w 4795092"/>
              <a:gd name="connsiteY0" fmla="*/ 3598162 h 4486229"/>
              <a:gd name="connsiteX1" fmla="*/ 1116240 w 4795092"/>
              <a:gd name="connsiteY1" fmla="*/ 0 h 4486229"/>
              <a:gd name="connsiteX2" fmla="*/ 2387173 w 4795092"/>
              <a:gd name="connsiteY2" fmla="*/ 0 h 4486229"/>
              <a:gd name="connsiteX3" fmla="*/ 4019046 w 4795092"/>
              <a:gd name="connsiteY3" fmla="*/ 1764210 h 4486229"/>
              <a:gd name="connsiteX4" fmla="*/ 4774636 w 4795092"/>
              <a:gd name="connsiteY4" fmla="*/ 3731801 h 4486229"/>
              <a:gd name="connsiteX5" fmla="*/ 3916488 w 4795092"/>
              <a:gd name="connsiteY5" fmla="*/ 4397393 h 4486229"/>
              <a:gd name="connsiteX6" fmla="*/ 2396911 w 4795092"/>
              <a:gd name="connsiteY6" fmla="*/ 4479722 h 4486229"/>
              <a:gd name="connsiteX7" fmla="*/ 0 w 4795092"/>
              <a:gd name="connsiteY7" fmla="*/ 3598162 h 4486229"/>
              <a:gd name="connsiteX0" fmla="*/ 0 w 4795157"/>
              <a:gd name="connsiteY0" fmla="*/ 3598162 h 4486229"/>
              <a:gd name="connsiteX1" fmla="*/ 1116240 w 4795157"/>
              <a:gd name="connsiteY1" fmla="*/ 0 h 4486229"/>
              <a:gd name="connsiteX2" fmla="*/ 2387173 w 4795157"/>
              <a:gd name="connsiteY2" fmla="*/ 0 h 4486229"/>
              <a:gd name="connsiteX3" fmla="*/ 4019046 w 4795157"/>
              <a:gd name="connsiteY3" fmla="*/ 1764210 h 4486229"/>
              <a:gd name="connsiteX4" fmla="*/ 4774636 w 4795157"/>
              <a:gd name="connsiteY4" fmla="*/ 3731801 h 4486229"/>
              <a:gd name="connsiteX5" fmla="*/ 3916488 w 4795157"/>
              <a:gd name="connsiteY5" fmla="*/ 4397393 h 4486229"/>
              <a:gd name="connsiteX6" fmla="*/ 2396911 w 4795157"/>
              <a:gd name="connsiteY6" fmla="*/ 4479722 h 4486229"/>
              <a:gd name="connsiteX7" fmla="*/ 0 w 4795157"/>
              <a:gd name="connsiteY7" fmla="*/ 3598162 h 4486229"/>
              <a:gd name="connsiteX0" fmla="*/ 0 w 4774636"/>
              <a:gd name="connsiteY0" fmla="*/ 3598162 h 4486229"/>
              <a:gd name="connsiteX1" fmla="*/ 1116240 w 4774636"/>
              <a:gd name="connsiteY1" fmla="*/ 0 h 4486229"/>
              <a:gd name="connsiteX2" fmla="*/ 2387173 w 4774636"/>
              <a:gd name="connsiteY2" fmla="*/ 0 h 4486229"/>
              <a:gd name="connsiteX3" fmla="*/ 4774636 w 4774636"/>
              <a:gd name="connsiteY3" fmla="*/ 3731801 h 4486229"/>
              <a:gd name="connsiteX4" fmla="*/ 3916488 w 4774636"/>
              <a:gd name="connsiteY4" fmla="*/ 4397393 h 4486229"/>
              <a:gd name="connsiteX5" fmla="*/ 2396911 w 4774636"/>
              <a:gd name="connsiteY5" fmla="*/ 4479722 h 4486229"/>
              <a:gd name="connsiteX6" fmla="*/ 0 w 4774636"/>
              <a:gd name="connsiteY6" fmla="*/ 3598162 h 4486229"/>
              <a:gd name="connsiteX0" fmla="*/ 0 w 4798862"/>
              <a:gd name="connsiteY0" fmla="*/ 3598162 h 4486229"/>
              <a:gd name="connsiteX1" fmla="*/ 1116240 w 4798862"/>
              <a:gd name="connsiteY1" fmla="*/ 0 h 4486229"/>
              <a:gd name="connsiteX2" fmla="*/ 2387173 w 4798862"/>
              <a:gd name="connsiteY2" fmla="*/ 0 h 4486229"/>
              <a:gd name="connsiteX3" fmla="*/ 4774636 w 4798862"/>
              <a:gd name="connsiteY3" fmla="*/ 3731801 h 4486229"/>
              <a:gd name="connsiteX4" fmla="*/ 3916488 w 4798862"/>
              <a:gd name="connsiteY4" fmla="*/ 4397393 h 4486229"/>
              <a:gd name="connsiteX5" fmla="*/ 2396911 w 4798862"/>
              <a:gd name="connsiteY5" fmla="*/ 4479722 h 4486229"/>
              <a:gd name="connsiteX6" fmla="*/ 0 w 4798862"/>
              <a:gd name="connsiteY6" fmla="*/ 3598162 h 4486229"/>
              <a:gd name="connsiteX0" fmla="*/ 0 w 4807335"/>
              <a:gd name="connsiteY0" fmla="*/ 3598162 h 4486229"/>
              <a:gd name="connsiteX1" fmla="*/ 1116240 w 4807335"/>
              <a:gd name="connsiteY1" fmla="*/ 0 h 4486229"/>
              <a:gd name="connsiteX2" fmla="*/ 2387173 w 4807335"/>
              <a:gd name="connsiteY2" fmla="*/ 0 h 4486229"/>
              <a:gd name="connsiteX3" fmla="*/ 4774636 w 4807335"/>
              <a:gd name="connsiteY3" fmla="*/ 3731801 h 4486229"/>
              <a:gd name="connsiteX4" fmla="*/ 3916488 w 4807335"/>
              <a:gd name="connsiteY4" fmla="*/ 4397393 h 4486229"/>
              <a:gd name="connsiteX5" fmla="*/ 2396911 w 4807335"/>
              <a:gd name="connsiteY5" fmla="*/ 4479722 h 4486229"/>
              <a:gd name="connsiteX6" fmla="*/ 0 w 4807335"/>
              <a:gd name="connsiteY6" fmla="*/ 3598162 h 4486229"/>
              <a:gd name="connsiteX0" fmla="*/ 0 w 4788519"/>
              <a:gd name="connsiteY0" fmla="*/ 3598162 h 4486229"/>
              <a:gd name="connsiteX1" fmla="*/ 1116240 w 4788519"/>
              <a:gd name="connsiteY1" fmla="*/ 0 h 4486229"/>
              <a:gd name="connsiteX2" fmla="*/ 2387173 w 4788519"/>
              <a:gd name="connsiteY2" fmla="*/ 0 h 4486229"/>
              <a:gd name="connsiteX3" fmla="*/ 4292171 w 4788519"/>
              <a:gd name="connsiteY3" fmla="*/ 1829703 h 4486229"/>
              <a:gd name="connsiteX4" fmla="*/ 4774636 w 4788519"/>
              <a:gd name="connsiteY4" fmla="*/ 3731801 h 4486229"/>
              <a:gd name="connsiteX5" fmla="*/ 3916488 w 4788519"/>
              <a:gd name="connsiteY5" fmla="*/ 4397393 h 4486229"/>
              <a:gd name="connsiteX6" fmla="*/ 2396911 w 4788519"/>
              <a:gd name="connsiteY6" fmla="*/ 4479722 h 4486229"/>
              <a:gd name="connsiteX7" fmla="*/ 0 w 4788519"/>
              <a:gd name="connsiteY7" fmla="*/ 3598162 h 4486229"/>
              <a:gd name="connsiteX0" fmla="*/ 0 w 4788519"/>
              <a:gd name="connsiteY0" fmla="*/ 3598162 h 4486229"/>
              <a:gd name="connsiteX1" fmla="*/ 1116240 w 4788519"/>
              <a:gd name="connsiteY1" fmla="*/ 0 h 4486229"/>
              <a:gd name="connsiteX2" fmla="*/ 2387173 w 4788519"/>
              <a:gd name="connsiteY2" fmla="*/ 0 h 4486229"/>
              <a:gd name="connsiteX3" fmla="*/ 4292171 w 4788519"/>
              <a:gd name="connsiteY3" fmla="*/ 1829703 h 4486229"/>
              <a:gd name="connsiteX4" fmla="*/ 4774636 w 4788519"/>
              <a:gd name="connsiteY4" fmla="*/ 3731801 h 4486229"/>
              <a:gd name="connsiteX5" fmla="*/ 3916488 w 4788519"/>
              <a:gd name="connsiteY5" fmla="*/ 4397393 h 4486229"/>
              <a:gd name="connsiteX6" fmla="*/ 2396911 w 4788519"/>
              <a:gd name="connsiteY6" fmla="*/ 4479722 h 4486229"/>
              <a:gd name="connsiteX7" fmla="*/ 0 w 4788519"/>
              <a:gd name="connsiteY7" fmla="*/ 3598162 h 4486229"/>
              <a:gd name="connsiteX0" fmla="*/ 0 w 4788519"/>
              <a:gd name="connsiteY0" fmla="*/ 3598162 h 4486229"/>
              <a:gd name="connsiteX1" fmla="*/ 1116240 w 4788519"/>
              <a:gd name="connsiteY1" fmla="*/ 0 h 4486229"/>
              <a:gd name="connsiteX2" fmla="*/ 2387173 w 4788519"/>
              <a:gd name="connsiteY2" fmla="*/ 0 h 4486229"/>
              <a:gd name="connsiteX3" fmla="*/ 4292171 w 4788519"/>
              <a:gd name="connsiteY3" fmla="*/ 1829703 h 4486229"/>
              <a:gd name="connsiteX4" fmla="*/ 4774636 w 4788519"/>
              <a:gd name="connsiteY4" fmla="*/ 3731801 h 4486229"/>
              <a:gd name="connsiteX5" fmla="*/ 3916488 w 4788519"/>
              <a:gd name="connsiteY5" fmla="*/ 4397393 h 4486229"/>
              <a:gd name="connsiteX6" fmla="*/ 2396911 w 4788519"/>
              <a:gd name="connsiteY6" fmla="*/ 4479722 h 4486229"/>
              <a:gd name="connsiteX7" fmla="*/ 0 w 4788519"/>
              <a:gd name="connsiteY7" fmla="*/ 3598162 h 4486229"/>
              <a:gd name="connsiteX0" fmla="*/ 0 w 4781405"/>
              <a:gd name="connsiteY0" fmla="*/ 3598162 h 4486229"/>
              <a:gd name="connsiteX1" fmla="*/ 1116240 w 4781405"/>
              <a:gd name="connsiteY1" fmla="*/ 0 h 4486229"/>
              <a:gd name="connsiteX2" fmla="*/ 2387173 w 4781405"/>
              <a:gd name="connsiteY2" fmla="*/ 0 h 4486229"/>
              <a:gd name="connsiteX3" fmla="*/ 4057221 w 4781405"/>
              <a:gd name="connsiteY3" fmla="*/ 1826528 h 4486229"/>
              <a:gd name="connsiteX4" fmla="*/ 4774636 w 4781405"/>
              <a:gd name="connsiteY4" fmla="*/ 3731801 h 4486229"/>
              <a:gd name="connsiteX5" fmla="*/ 3916488 w 4781405"/>
              <a:gd name="connsiteY5" fmla="*/ 4397393 h 4486229"/>
              <a:gd name="connsiteX6" fmla="*/ 2396911 w 4781405"/>
              <a:gd name="connsiteY6" fmla="*/ 4479722 h 4486229"/>
              <a:gd name="connsiteX7" fmla="*/ 0 w 4781405"/>
              <a:gd name="connsiteY7" fmla="*/ 3598162 h 4486229"/>
              <a:gd name="connsiteX0" fmla="*/ 0 w 4798396"/>
              <a:gd name="connsiteY0" fmla="*/ 3598162 h 4486229"/>
              <a:gd name="connsiteX1" fmla="*/ 1116240 w 4798396"/>
              <a:gd name="connsiteY1" fmla="*/ 0 h 4486229"/>
              <a:gd name="connsiteX2" fmla="*/ 2387173 w 4798396"/>
              <a:gd name="connsiteY2" fmla="*/ 0 h 4486229"/>
              <a:gd name="connsiteX3" fmla="*/ 4057221 w 4798396"/>
              <a:gd name="connsiteY3" fmla="*/ 1826528 h 4486229"/>
              <a:gd name="connsiteX4" fmla="*/ 4774636 w 4798396"/>
              <a:gd name="connsiteY4" fmla="*/ 3731801 h 4486229"/>
              <a:gd name="connsiteX5" fmla="*/ 3916488 w 4798396"/>
              <a:gd name="connsiteY5" fmla="*/ 4397393 h 4486229"/>
              <a:gd name="connsiteX6" fmla="*/ 2396911 w 4798396"/>
              <a:gd name="connsiteY6" fmla="*/ 4479722 h 4486229"/>
              <a:gd name="connsiteX7" fmla="*/ 0 w 4798396"/>
              <a:gd name="connsiteY7" fmla="*/ 3598162 h 4486229"/>
              <a:gd name="connsiteX0" fmla="*/ 0 w 4799552"/>
              <a:gd name="connsiteY0" fmla="*/ 3598162 h 4486229"/>
              <a:gd name="connsiteX1" fmla="*/ 1116240 w 4799552"/>
              <a:gd name="connsiteY1" fmla="*/ 0 h 4486229"/>
              <a:gd name="connsiteX2" fmla="*/ 2387173 w 4799552"/>
              <a:gd name="connsiteY2" fmla="*/ 0 h 4486229"/>
              <a:gd name="connsiteX3" fmla="*/ 4057221 w 4799552"/>
              <a:gd name="connsiteY3" fmla="*/ 1826528 h 4486229"/>
              <a:gd name="connsiteX4" fmla="*/ 4774636 w 4799552"/>
              <a:gd name="connsiteY4" fmla="*/ 3731801 h 4486229"/>
              <a:gd name="connsiteX5" fmla="*/ 3916488 w 4799552"/>
              <a:gd name="connsiteY5" fmla="*/ 4397393 h 4486229"/>
              <a:gd name="connsiteX6" fmla="*/ 2396911 w 4799552"/>
              <a:gd name="connsiteY6" fmla="*/ 4479722 h 4486229"/>
              <a:gd name="connsiteX7" fmla="*/ 0 w 4799552"/>
              <a:gd name="connsiteY7" fmla="*/ 3598162 h 4486229"/>
              <a:gd name="connsiteX0" fmla="*/ 0 w 4799552"/>
              <a:gd name="connsiteY0" fmla="*/ 3598195 h 4486262"/>
              <a:gd name="connsiteX1" fmla="*/ 1116240 w 4799552"/>
              <a:gd name="connsiteY1" fmla="*/ 33 h 4486262"/>
              <a:gd name="connsiteX2" fmla="*/ 2387173 w 4799552"/>
              <a:gd name="connsiteY2" fmla="*/ 33 h 4486262"/>
              <a:gd name="connsiteX3" fmla="*/ 4057221 w 4799552"/>
              <a:gd name="connsiteY3" fmla="*/ 1826561 h 4486262"/>
              <a:gd name="connsiteX4" fmla="*/ 4774636 w 4799552"/>
              <a:gd name="connsiteY4" fmla="*/ 3731834 h 4486262"/>
              <a:gd name="connsiteX5" fmla="*/ 3916488 w 4799552"/>
              <a:gd name="connsiteY5" fmla="*/ 4397426 h 4486262"/>
              <a:gd name="connsiteX6" fmla="*/ 2396911 w 4799552"/>
              <a:gd name="connsiteY6" fmla="*/ 4479755 h 4486262"/>
              <a:gd name="connsiteX7" fmla="*/ 0 w 4799552"/>
              <a:gd name="connsiteY7" fmla="*/ 3598195 h 4486262"/>
              <a:gd name="connsiteX0" fmla="*/ 0 w 4822130"/>
              <a:gd name="connsiteY0" fmla="*/ 3598183 h 4486250"/>
              <a:gd name="connsiteX1" fmla="*/ 1116240 w 4822130"/>
              <a:gd name="connsiteY1" fmla="*/ 21 h 4486250"/>
              <a:gd name="connsiteX2" fmla="*/ 2387173 w 4822130"/>
              <a:gd name="connsiteY2" fmla="*/ 21 h 4486250"/>
              <a:gd name="connsiteX3" fmla="*/ 4057221 w 4822130"/>
              <a:gd name="connsiteY3" fmla="*/ 1826549 h 4486250"/>
              <a:gd name="connsiteX4" fmla="*/ 4774636 w 4822130"/>
              <a:gd name="connsiteY4" fmla="*/ 3731822 h 4486250"/>
              <a:gd name="connsiteX5" fmla="*/ 3916488 w 4822130"/>
              <a:gd name="connsiteY5" fmla="*/ 4397414 h 4486250"/>
              <a:gd name="connsiteX6" fmla="*/ 2396911 w 4822130"/>
              <a:gd name="connsiteY6" fmla="*/ 4479743 h 4486250"/>
              <a:gd name="connsiteX7" fmla="*/ 0 w 4822130"/>
              <a:gd name="connsiteY7" fmla="*/ 3598183 h 4486250"/>
              <a:gd name="connsiteX0" fmla="*/ 0 w 4822130"/>
              <a:gd name="connsiteY0" fmla="*/ 3598162 h 4486229"/>
              <a:gd name="connsiteX1" fmla="*/ 1116240 w 4822130"/>
              <a:gd name="connsiteY1" fmla="*/ 0 h 4486229"/>
              <a:gd name="connsiteX2" fmla="*/ 2387173 w 4822130"/>
              <a:gd name="connsiteY2" fmla="*/ 0 h 4486229"/>
              <a:gd name="connsiteX3" fmla="*/ 4057221 w 4822130"/>
              <a:gd name="connsiteY3" fmla="*/ 1826528 h 4486229"/>
              <a:gd name="connsiteX4" fmla="*/ 4774636 w 4822130"/>
              <a:gd name="connsiteY4" fmla="*/ 3731801 h 4486229"/>
              <a:gd name="connsiteX5" fmla="*/ 3916488 w 4822130"/>
              <a:gd name="connsiteY5" fmla="*/ 4397393 h 4486229"/>
              <a:gd name="connsiteX6" fmla="*/ 2396911 w 4822130"/>
              <a:gd name="connsiteY6" fmla="*/ 4479722 h 4486229"/>
              <a:gd name="connsiteX7" fmla="*/ 0 w 4822130"/>
              <a:gd name="connsiteY7" fmla="*/ 3598162 h 4486229"/>
              <a:gd name="connsiteX0" fmla="*/ 0 w 4807880"/>
              <a:gd name="connsiteY0" fmla="*/ 3598162 h 4486229"/>
              <a:gd name="connsiteX1" fmla="*/ 1116240 w 4807880"/>
              <a:gd name="connsiteY1" fmla="*/ 0 h 4486229"/>
              <a:gd name="connsiteX2" fmla="*/ 2387173 w 4807880"/>
              <a:gd name="connsiteY2" fmla="*/ 0 h 4486229"/>
              <a:gd name="connsiteX3" fmla="*/ 4057221 w 4807880"/>
              <a:gd name="connsiteY3" fmla="*/ 1826528 h 4486229"/>
              <a:gd name="connsiteX4" fmla="*/ 4774636 w 4807880"/>
              <a:gd name="connsiteY4" fmla="*/ 3731801 h 4486229"/>
              <a:gd name="connsiteX5" fmla="*/ 3916488 w 4807880"/>
              <a:gd name="connsiteY5" fmla="*/ 4397393 h 4486229"/>
              <a:gd name="connsiteX6" fmla="*/ 2396911 w 4807880"/>
              <a:gd name="connsiteY6" fmla="*/ 4479722 h 4486229"/>
              <a:gd name="connsiteX7" fmla="*/ 0 w 4807880"/>
              <a:gd name="connsiteY7" fmla="*/ 3598162 h 4486229"/>
              <a:gd name="connsiteX0" fmla="*/ 0 w 4807880"/>
              <a:gd name="connsiteY0" fmla="*/ 3598323 h 4486390"/>
              <a:gd name="connsiteX1" fmla="*/ 1116240 w 4807880"/>
              <a:gd name="connsiteY1" fmla="*/ 161 h 4486390"/>
              <a:gd name="connsiteX2" fmla="*/ 2387173 w 4807880"/>
              <a:gd name="connsiteY2" fmla="*/ 161 h 4486390"/>
              <a:gd name="connsiteX3" fmla="*/ 4057221 w 4807880"/>
              <a:gd name="connsiteY3" fmla="*/ 1826689 h 4486390"/>
              <a:gd name="connsiteX4" fmla="*/ 4774636 w 4807880"/>
              <a:gd name="connsiteY4" fmla="*/ 3731962 h 4486390"/>
              <a:gd name="connsiteX5" fmla="*/ 3916488 w 4807880"/>
              <a:gd name="connsiteY5" fmla="*/ 4397554 h 4486390"/>
              <a:gd name="connsiteX6" fmla="*/ 2396911 w 4807880"/>
              <a:gd name="connsiteY6" fmla="*/ 4479883 h 4486390"/>
              <a:gd name="connsiteX7" fmla="*/ 0 w 4807880"/>
              <a:gd name="connsiteY7" fmla="*/ 3598323 h 4486390"/>
              <a:gd name="connsiteX0" fmla="*/ 0 w 4794686"/>
              <a:gd name="connsiteY0" fmla="*/ 3598343 h 4486410"/>
              <a:gd name="connsiteX1" fmla="*/ 1116240 w 4794686"/>
              <a:gd name="connsiteY1" fmla="*/ 181 h 4486410"/>
              <a:gd name="connsiteX2" fmla="*/ 2387173 w 4794686"/>
              <a:gd name="connsiteY2" fmla="*/ 181 h 4486410"/>
              <a:gd name="connsiteX3" fmla="*/ 3955621 w 4794686"/>
              <a:gd name="connsiteY3" fmla="*/ 1648909 h 4486410"/>
              <a:gd name="connsiteX4" fmla="*/ 4774636 w 4794686"/>
              <a:gd name="connsiteY4" fmla="*/ 3731982 h 4486410"/>
              <a:gd name="connsiteX5" fmla="*/ 3916488 w 4794686"/>
              <a:gd name="connsiteY5" fmla="*/ 4397574 h 4486410"/>
              <a:gd name="connsiteX6" fmla="*/ 2396911 w 4794686"/>
              <a:gd name="connsiteY6" fmla="*/ 4479903 h 4486410"/>
              <a:gd name="connsiteX7" fmla="*/ 0 w 4794686"/>
              <a:gd name="connsiteY7" fmla="*/ 3598343 h 4486410"/>
              <a:gd name="connsiteX0" fmla="*/ 0 w 4790281"/>
              <a:gd name="connsiteY0" fmla="*/ 3598348 h 4486415"/>
              <a:gd name="connsiteX1" fmla="*/ 1116240 w 4790281"/>
              <a:gd name="connsiteY1" fmla="*/ 186 h 4486415"/>
              <a:gd name="connsiteX2" fmla="*/ 2387173 w 4790281"/>
              <a:gd name="connsiteY2" fmla="*/ 186 h 4486415"/>
              <a:gd name="connsiteX3" fmla="*/ 3955621 w 4790281"/>
              <a:gd name="connsiteY3" fmla="*/ 1648914 h 4486415"/>
              <a:gd name="connsiteX4" fmla="*/ 4774636 w 4790281"/>
              <a:gd name="connsiteY4" fmla="*/ 3731987 h 4486415"/>
              <a:gd name="connsiteX5" fmla="*/ 3916488 w 4790281"/>
              <a:gd name="connsiteY5" fmla="*/ 4397579 h 4486415"/>
              <a:gd name="connsiteX6" fmla="*/ 2396911 w 4790281"/>
              <a:gd name="connsiteY6" fmla="*/ 4479908 h 4486415"/>
              <a:gd name="connsiteX7" fmla="*/ 0 w 4790281"/>
              <a:gd name="connsiteY7" fmla="*/ 3598348 h 4486415"/>
              <a:gd name="connsiteX0" fmla="*/ 0 w 4794171"/>
              <a:gd name="connsiteY0" fmla="*/ 3598348 h 4486415"/>
              <a:gd name="connsiteX1" fmla="*/ 1116240 w 4794171"/>
              <a:gd name="connsiteY1" fmla="*/ 186 h 4486415"/>
              <a:gd name="connsiteX2" fmla="*/ 2387173 w 4794171"/>
              <a:gd name="connsiteY2" fmla="*/ 186 h 4486415"/>
              <a:gd name="connsiteX3" fmla="*/ 3955621 w 4794171"/>
              <a:gd name="connsiteY3" fmla="*/ 1648914 h 4486415"/>
              <a:gd name="connsiteX4" fmla="*/ 4774636 w 4794171"/>
              <a:gd name="connsiteY4" fmla="*/ 3731987 h 4486415"/>
              <a:gd name="connsiteX5" fmla="*/ 3916488 w 4794171"/>
              <a:gd name="connsiteY5" fmla="*/ 4397579 h 4486415"/>
              <a:gd name="connsiteX6" fmla="*/ 2396911 w 4794171"/>
              <a:gd name="connsiteY6" fmla="*/ 4479908 h 4486415"/>
              <a:gd name="connsiteX7" fmla="*/ 0 w 4794171"/>
              <a:gd name="connsiteY7" fmla="*/ 3598348 h 4486415"/>
              <a:gd name="connsiteX0" fmla="*/ 0 w 4793147"/>
              <a:gd name="connsiteY0" fmla="*/ 3598348 h 4486415"/>
              <a:gd name="connsiteX1" fmla="*/ 1116240 w 4793147"/>
              <a:gd name="connsiteY1" fmla="*/ 186 h 4486415"/>
              <a:gd name="connsiteX2" fmla="*/ 2387173 w 4793147"/>
              <a:gd name="connsiteY2" fmla="*/ 186 h 4486415"/>
              <a:gd name="connsiteX3" fmla="*/ 3955621 w 4793147"/>
              <a:gd name="connsiteY3" fmla="*/ 1648914 h 4486415"/>
              <a:gd name="connsiteX4" fmla="*/ 4774636 w 4793147"/>
              <a:gd name="connsiteY4" fmla="*/ 3731987 h 4486415"/>
              <a:gd name="connsiteX5" fmla="*/ 3916488 w 4793147"/>
              <a:gd name="connsiteY5" fmla="*/ 4397579 h 4486415"/>
              <a:gd name="connsiteX6" fmla="*/ 2396911 w 4793147"/>
              <a:gd name="connsiteY6" fmla="*/ 4479908 h 4486415"/>
              <a:gd name="connsiteX7" fmla="*/ 0 w 4793147"/>
              <a:gd name="connsiteY7" fmla="*/ 3598348 h 4486415"/>
              <a:gd name="connsiteX0" fmla="*/ 0 w 4776428"/>
              <a:gd name="connsiteY0" fmla="*/ 3598322 h 4486389"/>
              <a:gd name="connsiteX1" fmla="*/ 1116240 w 4776428"/>
              <a:gd name="connsiteY1" fmla="*/ 160 h 4486389"/>
              <a:gd name="connsiteX2" fmla="*/ 2387173 w 4776428"/>
              <a:gd name="connsiteY2" fmla="*/ 160 h 4486389"/>
              <a:gd name="connsiteX3" fmla="*/ 3955621 w 4776428"/>
              <a:gd name="connsiteY3" fmla="*/ 1648888 h 4486389"/>
              <a:gd name="connsiteX4" fmla="*/ 4774636 w 4776428"/>
              <a:gd name="connsiteY4" fmla="*/ 3731961 h 4486389"/>
              <a:gd name="connsiteX5" fmla="*/ 3916488 w 4776428"/>
              <a:gd name="connsiteY5" fmla="*/ 4397553 h 4486389"/>
              <a:gd name="connsiteX6" fmla="*/ 2396911 w 4776428"/>
              <a:gd name="connsiteY6" fmla="*/ 4479882 h 4486389"/>
              <a:gd name="connsiteX7" fmla="*/ 0 w 4776428"/>
              <a:gd name="connsiteY7" fmla="*/ 3598322 h 4486389"/>
              <a:gd name="connsiteX0" fmla="*/ 0 w 4793322"/>
              <a:gd name="connsiteY0" fmla="*/ 3598322 h 4486389"/>
              <a:gd name="connsiteX1" fmla="*/ 1116240 w 4793322"/>
              <a:gd name="connsiteY1" fmla="*/ 160 h 4486389"/>
              <a:gd name="connsiteX2" fmla="*/ 2387173 w 4793322"/>
              <a:gd name="connsiteY2" fmla="*/ 160 h 4486389"/>
              <a:gd name="connsiteX3" fmla="*/ 3955621 w 4793322"/>
              <a:gd name="connsiteY3" fmla="*/ 1648888 h 4486389"/>
              <a:gd name="connsiteX4" fmla="*/ 4774636 w 4793322"/>
              <a:gd name="connsiteY4" fmla="*/ 3731961 h 4486389"/>
              <a:gd name="connsiteX5" fmla="*/ 3916488 w 4793322"/>
              <a:gd name="connsiteY5" fmla="*/ 4397553 h 4486389"/>
              <a:gd name="connsiteX6" fmla="*/ 2396911 w 4793322"/>
              <a:gd name="connsiteY6" fmla="*/ 4479882 h 4486389"/>
              <a:gd name="connsiteX7" fmla="*/ 0 w 4793322"/>
              <a:gd name="connsiteY7" fmla="*/ 3598322 h 4486389"/>
              <a:gd name="connsiteX0" fmla="*/ 0 w 4793322"/>
              <a:gd name="connsiteY0" fmla="*/ 3598162 h 4486229"/>
              <a:gd name="connsiteX1" fmla="*/ 1116240 w 4793322"/>
              <a:gd name="connsiteY1" fmla="*/ 0 h 4486229"/>
              <a:gd name="connsiteX2" fmla="*/ 2387173 w 4793322"/>
              <a:gd name="connsiteY2" fmla="*/ 0 h 4486229"/>
              <a:gd name="connsiteX3" fmla="*/ 3955621 w 4793322"/>
              <a:gd name="connsiteY3" fmla="*/ 1648728 h 4486229"/>
              <a:gd name="connsiteX4" fmla="*/ 4774636 w 4793322"/>
              <a:gd name="connsiteY4" fmla="*/ 3731801 h 4486229"/>
              <a:gd name="connsiteX5" fmla="*/ 3916488 w 4793322"/>
              <a:gd name="connsiteY5" fmla="*/ 4397393 h 4486229"/>
              <a:gd name="connsiteX6" fmla="*/ 2396911 w 4793322"/>
              <a:gd name="connsiteY6" fmla="*/ 4479722 h 4486229"/>
              <a:gd name="connsiteX7" fmla="*/ 0 w 4793322"/>
              <a:gd name="connsiteY7" fmla="*/ 3598162 h 4486229"/>
              <a:gd name="connsiteX0" fmla="*/ 0 w 4781208"/>
              <a:gd name="connsiteY0" fmla="*/ 3598162 h 4486229"/>
              <a:gd name="connsiteX1" fmla="*/ 1116240 w 4781208"/>
              <a:gd name="connsiteY1" fmla="*/ 0 h 4486229"/>
              <a:gd name="connsiteX2" fmla="*/ 2387173 w 4781208"/>
              <a:gd name="connsiteY2" fmla="*/ 0 h 4486229"/>
              <a:gd name="connsiteX3" fmla="*/ 3955621 w 4781208"/>
              <a:gd name="connsiteY3" fmla="*/ 1648728 h 4486229"/>
              <a:gd name="connsiteX4" fmla="*/ 4774636 w 4781208"/>
              <a:gd name="connsiteY4" fmla="*/ 3731801 h 4486229"/>
              <a:gd name="connsiteX5" fmla="*/ 3916488 w 4781208"/>
              <a:gd name="connsiteY5" fmla="*/ 4397393 h 4486229"/>
              <a:gd name="connsiteX6" fmla="*/ 2396911 w 4781208"/>
              <a:gd name="connsiteY6" fmla="*/ 4479722 h 4486229"/>
              <a:gd name="connsiteX7" fmla="*/ 0 w 4781208"/>
              <a:gd name="connsiteY7" fmla="*/ 3598162 h 4486229"/>
              <a:gd name="connsiteX0" fmla="*/ 0 w 4781208"/>
              <a:gd name="connsiteY0" fmla="*/ 3598164 h 4486231"/>
              <a:gd name="connsiteX1" fmla="*/ 1116240 w 4781208"/>
              <a:gd name="connsiteY1" fmla="*/ 2 h 4486231"/>
              <a:gd name="connsiteX2" fmla="*/ 2387173 w 4781208"/>
              <a:gd name="connsiteY2" fmla="*/ 2 h 4486231"/>
              <a:gd name="connsiteX3" fmla="*/ 3955621 w 4781208"/>
              <a:gd name="connsiteY3" fmla="*/ 1648730 h 4486231"/>
              <a:gd name="connsiteX4" fmla="*/ 4774636 w 4781208"/>
              <a:gd name="connsiteY4" fmla="*/ 3731803 h 4486231"/>
              <a:gd name="connsiteX5" fmla="*/ 3916488 w 4781208"/>
              <a:gd name="connsiteY5" fmla="*/ 4397395 h 4486231"/>
              <a:gd name="connsiteX6" fmla="*/ 2396911 w 4781208"/>
              <a:gd name="connsiteY6" fmla="*/ 4479724 h 4486231"/>
              <a:gd name="connsiteX7" fmla="*/ 0 w 4781208"/>
              <a:gd name="connsiteY7" fmla="*/ 3598164 h 4486231"/>
              <a:gd name="connsiteX0" fmla="*/ 0 w 4798466"/>
              <a:gd name="connsiteY0" fmla="*/ 3598164 h 4486231"/>
              <a:gd name="connsiteX1" fmla="*/ 1116240 w 4798466"/>
              <a:gd name="connsiteY1" fmla="*/ 2 h 4486231"/>
              <a:gd name="connsiteX2" fmla="*/ 2387173 w 4798466"/>
              <a:gd name="connsiteY2" fmla="*/ 2 h 4486231"/>
              <a:gd name="connsiteX3" fmla="*/ 3955621 w 4798466"/>
              <a:gd name="connsiteY3" fmla="*/ 1648730 h 4486231"/>
              <a:gd name="connsiteX4" fmla="*/ 4774636 w 4798466"/>
              <a:gd name="connsiteY4" fmla="*/ 3731803 h 4486231"/>
              <a:gd name="connsiteX5" fmla="*/ 3916488 w 4798466"/>
              <a:gd name="connsiteY5" fmla="*/ 4397395 h 4486231"/>
              <a:gd name="connsiteX6" fmla="*/ 2396911 w 4798466"/>
              <a:gd name="connsiteY6" fmla="*/ 4479724 h 4486231"/>
              <a:gd name="connsiteX7" fmla="*/ 0 w 4798466"/>
              <a:gd name="connsiteY7" fmla="*/ 3598164 h 4486231"/>
              <a:gd name="connsiteX0" fmla="*/ 0 w 4796680"/>
              <a:gd name="connsiteY0" fmla="*/ 3598164 h 4486231"/>
              <a:gd name="connsiteX1" fmla="*/ 1116240 w 4796680"/>
              <a:gd name="connsiteY1" fmla="*/ 2 h 4486231"/>
              <a:gd name="connsiteX2" fmla="*/ 2387173 w 4796680"/>
              <a:gd name="connsiteY2" fmla="*/ 2 h 4486231"/>
              <a:gd name="connsiteX3" fmla="*/ 3955621 w 4796680"/>
              <a:gd name="connsiteY3" fmla="*/ 1648730 h 4486231"/>
              <a:gd name="connsiteX4" fmla="*/ 4774636 w 4796680"/>
              <a:gd name="connsiteY4" fmla="*/ 3731803 h 4486231"/>
              <a:gd name="connsiteX5" fmla="*/ 3916488 w 4796680"/>
              <a:gd name="connsiteY5" fmla="*/ 4397395 h 4486231"/>
              <a:gd name="connsiteX6" fmla="*/ 2396911 w 4796680"/>
              <a:gd name="connsiteY6" fmla="*/ 4479724 h 4486231"/>
              <a:gd name="connsiteX7" fmla="*/ 0 w 4796680"/>
              <a:gd name="connsiteY7" fmla="*/ 3598164 h 4486231"/>
              <a:gd name="connsiteX0" fmla="*/ 0 w 4798466"/>
              <a:gd name="connsiteY0" fmla="*/ 3598164 h 4486231"/>
              <a:gd name="connsiteX1" fmla="*/ 1116240 w 4798466"/>
              <a:gd name="connsiteY1" fmla="*/ 2 h 4486231"/>
              <a:gd name="connsiteX2" fmla="*/ 2387173 w 4798466"/>
              <a:gd name="connsiteY2" fmla="*/ 2 h 4486231"/>
              <a:gd name="connsiteX3" fmla="*/ 3955621 w 4798466"/>
              <a:gd name="connsiteY3" fmla="*/ 1648730 h 4486231"/>
              <a:gd name="connsiteX4" fmla="*/ 4774636 w 4798466"/>
              <a:gd name="connsiteY4" fmla="*/ 3731803 h 4486231"/>
              <a:gd name="connsiteX5" fmla="*/ 3916488 w 4798466"/>
              <a:gd name="connsiteY5" fmla="*/ 4397395 h 4486231"/>
              <a:gd name="connsiteX6" fmla="*/ 2396911 w 4798466"/>
              <a:gd name="connsiteY6" fmla="*/ 4479724 h 4486231"/>
              <a:gd name="connsiteX7" fmla="*/ 0 w 4798466"/>
              <a:gd name="connsiteY7" fmla="*/ 3598164 h 4486231"/>
              <a:gd name="connsiteX0" fmla="*/ 0 w 4798466"/>
              <a:gd name="connsiteY0" fmla="*/ 3598162 h 4486229"/>
              <a:gd name="connsiteX1" fmla="*/ 1116240 w 4798466"/>
              <a:gd name="connsiteY1" fmla="*/ 0 h 4486229"/>
              <a:gd name="connsiteX2" fmla="*/ 2387173 w 4798466"/>
              <a:gd name="connsiteY2" fmla="*/ 0 h 4486229"/>
              <a:gd name="connsiteX3" fmla="*/ 3955621 w 4798466"/>
              <a:gd name="connsiteY3" fmla="*/ 1648728 h 4486229"/>
              <a:gd name="connsiteX4" fmla="*/ 4774636 w 4798466"/>
              <a:gd name="connsiteY4" fmla="*/ 3731801 h 4486229"/>
              <a:gd name="connsiteX5" fmla="*/ 3916488 w 4798466"/>
              <a:gd name="connsiteY5" fmla="*/ 4397393 h 4486229"/>
              <a:gd name="connsiteX6" fmla="*/ 2396911 w 4798466"/>
              <a:gd name="connsiteY6" fmla="*/ 4479722 h 4486229"/>
              <a:gd name="connsiteX7" fmla="*/ 0 w 4798466"/>
              <a:gd name="connsiteY7" fmla="*/ 3598162 h 4486229"/>
              <a:gd name="connsiteX0" fmla="*/ 0 w 4798466"/>
              <a:gd name="connsiteY0" fmla="*/ 3598162 h 4486229"/>
              <a:gd name="connsiteX1" fmla="*/ 1116240 w 4798466"/>
              <a:gd name="connsiteY1" fmla="*/ 0 h 4486229"/>
              <a:gd name="connsiteX2" fmla="*/ 2387173 w 4798466"/>
              <a:gd name="connsiteY2" fmla="*/ 0 h 4486229"/>
              <a:gd name="connsiteX3" fmla="*/ 3955621 w 4798466"/>
              <a:gd name="connsiteY3" fmla="*/ 1655078 h 4486229"/>
              <a:gd name="connsiteX4" fmla="*/ 4774636 w 4798466"/>
              <a:gd name="connsiteY4" fmla="*/ 3731801 h 4486229"/>
              <a:gd name="connsiteX5" fmla="*/ 3916488 w 4798466"/>
              <a:gd name="connsiteY5" fmla="*/ 4397393 h 4486229"/>
              <a:gd name="connsiteX6" fmla="*/ 2396911 w 4798466"/>
              <a:gd name="connsiteY6" fmla="*/ 4479722 h 4486229"/>
              <a:gd name="connsiteX7" fmla="*/ 0 w 4798466"/>
              <a:gd name="connsiteY7" fmla="*/ 3598162 h 4486229"/>
              <a:gd name="connsiteX0" fmla="*/ 0 w 4774636"/>
              <a:gd name="connsiteY0" fmla="*/ 3598162 h 4486229"/>
              <a:gd name="connsiteX1" fmla="*/ 1116240 w 4774636"/>
              <a:gd name="connsiteY1" fmla="*/ 0 h 4486229"/>
              <a:gd name="connsiteX2" fmla="*/ 2387173 w 4774636"/>
              <a:gd name="connsiteY2" fmla="*/ 0 h 4486229"/>
              <a:gd name="connsiteX3" fmla="*/ 4774636 w 4774636"/>
              <a:gd name="connsiteY3" fmla="*/ 3731801 h 4486229"/>
              <a:gd name="connsiteX4" fmla="*/ 3916488 w 4774636"/>
              <a:gd name="connsiteY4" fmla="*/ 4397393 h 4486229"/>
              <a:gd name="connsiteX5" fmla="*/ 2396911 w 4774636"/>
              <a:gd name="connsiteY5" fmla="*/ 4479722 h 4486229"/>
              <a:gd name="connsiteX6" fmla="*/ 0 w 4774636"/>
              <a:gd name="connsiteY6" fmla="*/ 3598162 h 4486229"/>
              <a:gd name="connsiteX0" fmla="*/ 0 w 4800948"/>
              <a:gd name="connsiteY0" fmla="*/ 3598162 h 4486229"/>
              <a:gd name="connsiteX1" fmla="*/ 1116240 w 4800948"/>
              <a:gd name="connsiteY1" fmla="*/ 0 h 4486229"/>
              <a:gd name="connsiteX2" fmla="*/ 2387173 w 4800948"/>
              <a:gd name="connsiteY2" fmla="*/ 0 h 4486229"/>
              <a:gd name="connsiteX3" fmla="*/ 4774636 w 4800948"/>
              <a:gd name="connsiteY3" fmla="*/ 3731801 h 4486229"/>
              <a:gd name="connsiteX4" fmla="*/ 3916488 w 4800948"/>
              <a:gd name="connsiteY4" fmla="*/ 4397393 h 4486229"/>
              <a:gd name="connsiteX5" fmla="*/ 2396911 w 4800948"/>
              <a:gd name="connsiteY5" fmla="*/ 4479722 h 4486229"/>
              <a:gd name="connsiteX6" fmla="*/ 0 w 4800948"/>
              <a:gd name="connsiteY6" fmla="*/ 3598162 h 4486229"/>
              <a:gd name="connsiteX0" fmla="*/ 0 w 4820153"/>
              <a:gd name="connsiteY0" fmla="*/ 3598162 h 4486229"/>
              <a:gd name="connsiteX1" fmla="*/ 1116240 w 4820153"/>
              <a:gd name="connsiteY1" fmla="*/ 0 h 4486229"/>
              <a:gd name="connsiteX2" fmla="*/ 2387173 w 4820153"/>
              <a:gd name="connsiteY2" fmla="*/ 0 h 4486229"/>
              <a:gd name="connsiteX3" fmla="*/ 4454096 w 4820153"/>
              <a:gd name="connsiteY3" fmla="*/ 2582179 h 4486229"/>
              <a:gd name="connsiteX4" fmla="*/ 4774636 w 4820153"/>
              <a:gd name="connsiteY4" fmla="*/ 3731801 h 4486229"/>
              <a:gd name="connsiteX5" fmla="*/ 3916488 w 4820153"/>
              <a:gd name="connsiteY5" fmla="*/ 4397393 h 4486229"/>
              <a:gd name="connsiteX6" fmla="*/ 2396911 w 4820153"/>
              <a:gd name="connsiteY6" fmla="*/ 4479722 h 4486229"/>
              <a:gd name="connsiteX7" fmla="*/ 0 w 4820153"/>
              <a:gd name="connsiteY7" fmla="*/ 3598162 h 4486229"/>
              <a:gd name="connsiteX0" fmla="*/ 0 w 4803044"/>
              <a:gd name="connsiteY0" fmla="*/ 3598162 h 4486229"/>
              <a:gd name="connsiteX1" fmla="*/ 1116240 w 4803044"/>
              <a:gd name="connsiteY1" fmla="*/ 0 h 4486229"/>
              <a:gd name="connsiteX2" fmla="*/ 2387173 w 4803044"/>
              <a:gd name="connsiteY2" fmla="*/ 0 h 4486229"/>
              <a:gd name="connsiteX3" fmla="*/ 4454096 w 4803044"/>
              <a:gd name="connsiteY3" fmla="*/ 2582179 h 4486229"/>
              <a:gd name="connsiteX4" fmla="*/ 4774636 w 4803044"/>
              <a:gd name="connsiteY4" fmla="*/ 3731801 h 4486229"/>
              <a:gd name="connsiteX5" fmla="*/ 3916488 w 4803044"/>
              <a:gd name="connsiteY5" fmla="*/ 4397393 h 4486229"/>
              <a:gd name="connsiteX6" fmla="*/ 2396911 w 4803044"/>
              <a:gd name="connsiteY6" fmla="*/ 4479722 h 4486229"/>
              <a:gd name="connsiteX7" fmla="*/ 0 w 4803044"/>
              <a:gd name="connsiteY7" fmla="*/ 3598162 h 4486229"/>
              <a:gd name="connsiteX0" fmla="*/ 0 w 4803044"/>
              <a:gd name="connsiteY0" fmla="*/ 3598162 h 4486229"/>
              <a:gd name="connsiteX1" fmla="*/ 1116240 w 4803044"/>
              <a:gd name="connsiteY1" fmla="*/ 0 h 4486229"/>
              <a:gd name="connsiteX2" fmla="*/ 2387173 w 4803044"/>
              <a:gd name="connsiteY2" fmla="*/ 0 h 4486229"/>
              <a:gd name="connsiteX3" fmla="*/ 2942796 w 4803044"/>
              <a:gd name="connsiteY3" fmla="*/ 559704 h 4486229"/>
              <a:gd name="connsiteX4" fmla="*/ 4454096 w 4803044"/>
              <a:gd name="connsiteY4" fmla="*/ 2582179 h 4486229"/>
              <a:gd name="connsiteX5" fmla="*/ 4774636 w 4803044"/>
              <a:gd name="connsiteY5" fmla="*/ 3731801 h 4486229"/>
              <a:gd name="connsiteX6" fmla="*/ 3916488 w 4803044"/>
              <a:gd name="connsiteY6" fmla="*/ 4397393 h 4486229"/>
              <a:gd name="connsiteX7" fmla="*/ 2396911 w 4803044"/>
              <a:gd name="connsiteY7" fmla="*/ 4479722 h 4486229"/>
              <a:gd name="connsiteX8" fmla="*/ 0 w 4803044"/>
              <a:gd name="connsiteY8" fmla="*/ 3598162 h 4486229"/>
              <a:gd name="connsiteX0" fmla="*/ 0 w 4803044"/>
              <a:gd name="connsiteY0" fmla="*/ 3598162 h 4486229"/>
              <a:gd name="connsiteX1" fmla="*/ 1116240 w 4803044"/>
              <a:gd name="connsiteY1" fmla="*/ 0 h 4486229"/>
              <a:gd name="connsiteX2" fmla="*/ 2387173 w 4803044"/>
              <a:gd name="connsiteY2" fmla="*/ 0 h 4486229"/>
              <a:gd name="connsiteX3" fmla="*/ 3184096 w 4803044"/>
              <a:gd name="connsiteY3" fmla="*/ 473979 h 4486229"/>
              <a:gd name="connsiteX4" fmla="*/ 4454096 w 4803044"/>
              <a:gd name="connsiteY4" fmla="*/ 2582179 h 4486229"/>
              <a:gd name="connsiteX5" fmla="*/ 4774636 w 4803044"/>
              <a:gd name="connsiteY5" fmla="*/ 3731801 h 4486229"/>
              <a:gd name="connsiteX6" fmla="*/ 3916488 w 4803044"/>
              <a:gd name="connsiteY6" fmla="*/ 4397393 h 4486229"/>
              <a:gd name="connsiteX7" fmla="*/ 2396911 w 4803044"/>
              <a:gd name="connsiteY7" fmla="*/ 4479722 h 4486229"/>
              <a:gd name="connsiteX8" fmla="*/ 0 w 4803044"/>
              <a:gd name="connsiteY8" fmla="*/ 3598162 h 4486229"/>
              <a:gd name="connsiteX0" fmla="*/ 0 w 4803044"/>
              <a:gd name="connsiteY0" fmla="*/ 3598162 h 4486229"/>
              <a:gd name="connsiteX1" fmla="*/ 1116240 w 4803044"/>
              <a:gd name="connsiteY1" fmla="*/ 0 h 4486229"/>
              <a:gd name="connsiteX2" fmla="*/ 2387173 w 4803044"/>
              <a:gd name="connsiteY2" fmla="*/ 0 h 4486229"/>
              <a:gd name="connsiteX3" fmla="*/ 3184096 w 4803044"/>
              <a:gd name="connsiteY3" fmla="*/ 473979 h 4486229"/>
              <a:gd name="connsiteX4" fmla="*/ 4454096 w 4803044"/>
              <a:gd name="connsiteY4" fmla="*/ 2582179 h 4486229"/>
              <a:gd name="connsiteX5" fmla="*/ 4774636 w 4803044"/>
              <a:gd name="connsiteY5" fmla="*/ 3731801 h 4486229"/>
              <a:gd name="connsiteX6" fmla="*/ 3916488 w 4803044"/>
              <a:gd name="connsiteY6" fmla="*/ 4397393 h 4486229"/>
              <a:gd name="connsiteX7" fmla="*/ 2396911 w 4803044"/>
              <a:gd name="connsiteY7" fmla="*/ 4479722 h 4486229"/>
              <a:gd name="connsiteX8" fmla="*/ 0 w 4803044"/>
              <a:gd name="connsiteY8" fmla="*/ 3598162 h 4486229"/>
              <a:gd name="connsiteX0" fmla="*/ 0 w 4803044"/>
              <a:gd name="connsiteY0" fmla="*/ 3598162 h 4486229"/>
              <a:gd name="connsiteX1" fmla="*/ 1116240 w 4803044"/>
              <a:gd name="connsiteY1" fmla="*/ 0 h 4486229"/>
              <a:gd name="connsiteX2" fmla="*/ 2387173 w 4803044"/>
              <a:gd name="connsiteY2" fmla="*/ 0 h 4486229"/>
              <a:gd name="connsiteX3" fmla="*/ 3184096 w 4803044"/>
              <a:gd name="connsiteY3" fmla="*/ 473979 h 4486229"/>
              <a:gd name="connsiteX4" fmla="*/ 4454096 w 4803044"/>
              <a:gd name="connsiteY4" fmla="*/ 2582179 h 4486229"/>
              <a:gd name="connsiteX5" fmla="*/ 4774636 w 4803044"/>
              <a:gd name="connsiteY5" fmla="*/ 3731801 h 4486229"/>
              <a:gd name="connsiteX6" fmla="*/ 3916488 w 4803044"/>
              <a:gd name="connsiteY6" fmla="*/ 4397393 h 4486229"/>
              <a:gd name="connsiteX7" fmla="*/ 2396911 w 4803044"/>
              <a:gd name="connsiteY7" fmla="*/ 4479722 h 4486229"/>
              <a:gd name="connsiteX8" fmla="*/ 0 w 4803044"/>
              <a:gd name="connsiteY8" fmla="*/ 3598162 h 4486229"/>
              <a:gd name="connsiteX0" fmla="*/ 0 w 4803044"/>
              <a:gd name="connsiteY0" fmla="*/ 3598162 h 4486229"/>
              <a:gd name="connsiteX1" fmla="*/ 1116240 w 4803044"/>
              <a:gd name="connsiteY1" fmla="*/ 0 h 4486229"/>
              <a:gd name="connsiteX2" fmla="*/ 2387173 w 4803044"/>
              <a:gd name="connsiteY2" fmla="*/ 0 h 4486229"/>
              <a:gd name="connsiteX3" fmla="*/ 3184096 w 4803044"/>
              <a:gd name="connsiteY3" fmla="*/ 473979 h 4486229"/>
              <a:gd name="connsiteX4" fmla="*/ 4454096 w 4803044"/>
              <a:gd name="connsiteY4" fmla="*/ 2582179 h 4486229"/>
              <a:gd name="connsiteX5" fmla="*/ 4774636 w 4803044"/>
              <a:gd name="connsiteY5" fmla="*/ 3731801 h 4486229"/>
              <a:gd name="connsiteX6" fmla="*/ 3916488 w 4803044"/>
              <a:gd name="connsiteY6" fmla="*/ 4397393 h 4486229"/>
              <a:gd name="connsiteX7" fmla="*/ 2396911 w 4803044"/>
              <a:gd name="connsiteY7" fmla="*/ 4479722 h 4486229"/>
              <a:gd name="connsiteX8" fmla="*/ 0 w 4803044"/>
              <a:gd name="connsiteY8" fmla="*/ 3598162 h 4486229"/>
              <a:gd name="connsiteX0" fmla="*/ 0 w 4803044"/>
              <a:gd name="connsiteY0" fmla="*/ 3598162 h 4486229"/>
              <a:gd name="connsiteX1" fmla="*/ 1116240 w 4803044"/>
              <a:gd name="connsiteY1" fmla="*/ 0 h 4486229"/>
              <a:gd name="connsiteX2" fmla="*/ 2387173 w 4803044"/>
              <a:gd name="connsiteY2" fmla="*/ 0 h 4486229"/>
              <a:gd name="connsiteX3" fmla="*/ 3184096 w 4803044"/>
              <a:gd name="connsiteY3" fmla="*/ 473979 h 4486229"/>
              <a:gd name="connsiteX4" fmla="*/ 4454096 w 4803044"/>
              <a:gd name="connsiteY4" fmla="*/ 2582179 h 4486229"/>
              <a:gd name="connsiteX5" fmla="*/ 4774636 w 4803044"/>
              <a:gd name="connsiteY5" fmla="*/ 3731801 h 4486229"/>
              <a:gd name="connsiteX6" fmla="*/ 3916488 w 4803044"/>
              <a:gd name="connsiteY6" fmla="*/ 4397393 h 4486229"/>
              <a:gd name="connsiteX7" fmla="*/ 2396911 w 4803044"/>
              <a:gd name="connsiteY7" fmla="*/ 4479722 h 4486229"/>
              <a:gd name="connsiteX8" fmla="*/ 0 w 4803044"/>
              <a:gd name="connsiteY8" fmla="*/ 3598162 h 4486229"/>
              <a:gd name="connsiteX0" fmla="*/ 0 w 4803044"/>
              <a:gd name="connsiteY0" fmla="*/ 3598162 h 4486229"/>
              <a:gd name="connsiteX1" fmla="*/ 1655990 w 4803044"/>
              <a:gd name="connsiteY1" fmla="*/ 422275 h 4486229"/>
              <a:gd name="connsiteX2" fmla="*/ 2387173 w 4803044"/>
              <a:gd name="connsiteY2" fmla="*/ 0 h 4486229"/>
              <a:gd name="connsiteX3" fmla="*/ 3184096 w 4803044"/>
              <a:gd name="connsiteY3" fmla="*/ 473979 h 4486229"/>
              <a:gd name="connsiteX4" fmla="*/ 4454096 w 4803044"/>
              <a:gd name="connsiteY4" fmla="*/ 2582179 h 4486229"/>
              <a:gd name="connsiteX5" fmla="*/ 4774636 w 4803044"/>
              <a:gd name="connsiteY5" fmla="*/ 3731801 h 4486229"/>
              <a:gd name="connsiteX6" fmla="*/ 3916488 w 4803044"/>
              <a:gd name="connsiteY6" fmla="*/ 4397393 h 4486229"/>
              <a:gd name="connsiteX7" fmla="*/ 2396911 w 4803044"/>
              <a:gd name="connsiteY7" fmla="*/ 4479722 h 4486229"/>
              <a:gd name="connsiteX8" fmla="*/ 0 w 4803044"/>
              <a:gd name="connsiteY8" fmla="*/ 3598162 h 4486229"/>
              <a:gd name="connsiteX0" fmla="*/ 0 w 4803044"/>
              <a:gd name="connsiteY0" fmla="*/ 3598162 h 4486229"/>
              <a:gd name="connsiteX1" fmla="*/ 1655990 w 4803044"/>
              <a:gd name="connsiteY1" fmla="*/ 422275 h 4486229"/>
              <a:gd name="connsiteX2" fmla="*/ 2387173 w 4803044"/>
              <a:gd name="connsiteY2" fmla="*/ 0 h 4486229"/>
              <a:gd name="connsiteX3" fmla="*/ 3184096 w 4803044"/>
              <a:gd name="connsiteY3" fmla="*/ 473979 h 4486229"/>
              <a:gd name="connsiteX4" fmla="*/ 4454096 w 4803044"/>
              <a:gd name="connsiteY4" fmla="*/ 2582179 h 4486229"/>
              <a:gd name="connsiteX5" fmla="*/ 4774636 w 4803044"/>
              <a:gd name="connsiteY5" fmla="*/ 3731801 h 4486229"/>
              <a:gd name="connsiteX6" fmla="*/ 3916488 w 4803044"/>
              <a:gd name="connsiteY6" fmla="*/ 4397393 h 4486229"/>
              <a:gd name="connsiteX7" fmla="*/ 2396911 w 4803044"/>
              <a:gd name="connsiteY7" fmla="*/ 4479722 h 4486229"/>
              <a:gd name="connsiteX8" fmla="*/ 0 w 4803044"/>
              <a:gd name="connsiteY8" fmla="*/ 3598162 h 4486229"/>
              <a:gd name="connsiteX0" fmla="*/ 0 w 4803044"/>
              <a:gd name="connsiteY0" fmla="*/ 3598162 h 4486229"/>
              <a:gd name="connsiteX1" fmla="*/ 1655990 w 4803044"/>
              <a:gd name="connsiteY1" fmla="*/ 422275 h 4486229"/>
              <a:gd name="connsiteX2" fmla="*/ 2387173 w 4803044"/>
              <a:gd name="connsiteY2" fmla="*/ 0 h 4486229"/>
              <a:gd name="connsiteX3" fmla="*/ 3184096 w 4803044"/>
              <a:gd name="connsiteY3" fmla="*/ 473979 h 4486229"/>
              <a:gd name="connsiteX4" fmla="*/ 4454096 w 4803044"/>
              <a:gd name="connsiteY4" fmla="*/ 2582179 h 4486229"/>
              <a:gd name="connsiteX5" fmla="*/ 4774636 w 4803044"/>
              <a:gd name="connsiteY5" fmla="*/ 3731801 h 4486229"/>
              <a:gd name="connsiteX6" fmla="*/ 3916488 w 4803044"/>
              <a:gd name="connsiteY6" fmla="*/ 4397393 h 4486229"/>
              <a:gd name="connsiteX7" fmla="*/ 2396911 w 4803044"/>
              <a:gd name="connsiteY7" fmla="*/ 4479722 h 4486229"/>
              <a:gd name="connsiteX8" fmla="*/ 0 w 4803044"/>
              <a:gd name="connsiteY8" fmla="*/ 3598162 h 4486229"/>
              <a:gd name="connsiteX0" fmla="*/ 0 w 4803044"/>
              <a:gd name="connsiteY0" fmla="*/ 3598162 h 4486229"/>
              <a:gd name="connsiteX1" fmla="*/ 1655990 w 4803044"/>
              <a:gd name="connsiteY1" fmla="*/ 422275 h 4486229"/>
              <a:gd name="connsiteX2" fmla="*/ 2387173 w 4803044"/>
              <a:gd name="connsiteY2" fmla="*/ 0 h 4486229"/>
              <a:gd name="connsiteX3" fmla="*/ 3184096 w 4803044"/>
              <a:gd name="connsiteY3" fmla="*/ 473979 h 4486229"/>
              <a:gd name="connsiteX4" fmla="*/ 4454096 w 4803044"/>
              <a:gd name="connsiteY4" fmla="*/ 2582179 h 4486229"/>
              <a:gd name="connsiteX5" fmla="*/ 4774636 w 4803044"/>
              <a:gd name="connsiteY5" fmla="*/ 3731801 h 4486229"/>
              <a:gd name="connsiteX6" fmla="*/ 3916488 w 4803044"/>
              <a:gd name="connsiteY6" fmla="*/ 4397393 h 4486229"/>
              <a:gd name="connsiteX7" fmla="*/ 2396911 w 4803044"/>
              <a:gd name="connsiteY7" fmla="*/ 4479722 h 4486229"/>
              <a:gd name="connsiteX8" fmla="*/ 0 w 4803044"/>
              <a:gd name="connsiteY8" fmla="*/ 3598162 h 4486229"/>
              <a:gd name="connsiteX0" fmla="*/ 0 w 4803044"/>
              <a:gd name="connsiteY0" fmla="*/ 3598162 h 4486229"/>
              <a:gd name="connsiteX1" fmla="*/ 1655990 w 4803044"/>
              <a:gd name="connsiteY1" fmla="*/ 422275 h 4486229"/>
              <a:gd name="connsiteX2" fmla="*/ 2374473 w 4803044"/>
              <a:gd name="connsiteY2" fmla="*/ 0 h 4486229"/>
              <a:gd name="connsiteX3" fmla="*/ 3184096 w 4803044"/>
              <a:gd name="connsiteY3" fmla="*/ 473979 h 4486229"/>
              <a:gd name="connsiteX4" fmla="*/ 4454096 w 4803044"/>
              <a:gd name="connsiteY4" fmla="*/ 2582179 h 4486229"/>
              <a:gd name="connsiteX5" fmla="*/ 4774636 w 4803044"/>
              <a:gd name="connsiteY5" fmla="*/ 3731801 h 4486229"/>
              <a:gd name="connsiteX6" fmla="*/ 3916488 w 4803044"/>
              <a:gd name="connsiteY6" fmla="*/ 4397393 h 4486229"/>
              <a:gd name="connsiteX7" fmla="*/ 2396911 w 4803044"/>
              <a:gd name="connsiteY7" fmla="*/ 4479722 h 4486229"/>
              <a:gd name="connsiteX8" fmla="*/ 0 w 4803044"/>
              <a:gd name="connsiteY8" fmla="*/ 3598162 h 4486229"/>
              <a:gd name="connsiteX0" fmla="*/ 0 w 4803044"/>
              <a:gd name="connsiteY0" fmla="*/ 3598162 h 4486229"/>
              <a:gd name="connsiteX1" fmla="*/ 1655990 w 4803044"/>
              <a:gd name="connsiteY1" fmla="*/ 422275 h 4486229"/>
              <a:gd name="connsiteX2" fmla="*/ 2374473 w 4803044"/>
              <a:gd name="connsiteY2" fmla="*/ 0 h 4486229"/>
              <a:gd name="connsiteX3" fmla="*/ 3184096 w 4803044"/>
              <a:gd name="connsiteY3" fmla="*/ 473979 h 4486229"/>
              <a:gd name="connsiteX4" fmla="*/ 4454096 w 4803044"/>
              <a:gd name="connsiteY4" fmla="*/ 2582179 h 4486229"/>
              <a:gd name="connsiteX5" fmla="*/ 4774636 w 4803044"/>
              <a:gd name="connsiteY5" fmla="*/ 3731801 h 4486229"/>
              <a:gd name="connsiteX6" fmla="*/ 3916488 w 4803044"/>
              <a:gd name="connsiteY6" fmla="*/ 4397393 h 4486229"/>
              <a:gd name="connsiteX7" fmla="*/ 2396911 w 4803044"/>
              <a:gd name="connsiteY7" fmla="*/ 4479722 h 4486229"/>
              <a:gd name="connsiteX8" fmla="*/ 0 w 4803044"/>
              <a:gd name="connsiteY8" fmla="*/ 3598162 h 4486229"/>
              <a:gd name="connsiteX0" fmla="*/ 0 w 4803044"/>
              <a:gd name="connsiteY0" fmla="*/ 3628806 h 4516873"/>
              <a:gd name="connsiteX1" fmla="*/ 1655990 w 4803044"/>
              <a:gd name="connsiteY1" fmla="*/ 452919 h 4516873"/>
              <a:gd name="connsiteX2" fmla="*/ 2374473 w 4803044"/>
              <a:gd name="connsiteY2" fmla="*/ 30644 h 4516873"/>
              <a:gd name="connsiteX3" fmla="*/ 3184096 w 4803044"/>
              <a:gd name="connsiteY3" fmla="*/ 504623 h 4516873"/>
              <a:gd name="connsiteX4" fmla="*/ 4454096 w 4803044"/>
              <a:gd name="connsiteY4" fmla="*/ 2612823 h 4516873"/>
              <a:gd name="connsiteX5" fmla="*/ 4774636 w 4803044"/>
              <a:gd name="connsiteY5" fmla="*/ 3762445 h 4516873"/>
              <a:gd name="connsiteX6" fmla="*/ 3916488 w 4803044"/>
              <a:gd name="connsiteY6" fmla="*/ 4428037 h 4516873"/>
              <a:gd name="connsiteX7" fmla="*/ 2396911 w 4803044"/>
              <a:gd name="connsiteY7" fmla="*/ 4510366 h 4516873"/>
              <a:gd name="connsiteX8" fmla="*/ 0 w 4803044"/>
              <a:gd name="connsiteY8" fmla="*/ 3628806 h 4516873"/>
              <a:gd name="connsiteX0" fmla="*/ 0 w 4803044"/>
              <a:gd name="connsiteY0" fmla="*/ 3623212 h 4511279"/>
              <a:gd name="connsiteX1" fmla="*/ 1655990 w 4803044"/>
              <a:gd name="connsiteY1" fmla="*/ 447325 h 4511279"/>
              <a:gd name="connsiteX2" fmla="*/ 2374473 w 4803044"/>
              <a:gd name="connsiteY2" fmla="*/ 25050 h 4511279"/>
              <a:gd name="connsiteX3" fmla="*/ 3184096 w 4803044"/>
              <a:gd name="connsiteY3" fmla="*/ 499029 h 4511279"/>
              <a:gd name="connsiteX4" fmla="*/ 4454096 w 4803044"/>
              <a:gd name="connsiteY4" fmla="*/ 2607229 h 4511279"/>
              <a:gd name="connsiteX5" fmla="*/ 4774636 w 4803044"/>
              <a:gd name="connsiteY5" fmla="*/ 3756851 h 4511279"/>
              <a:gd name="connsiteX6" fmla="*/ 3916488 w 4803044"/>
              <a:gd name="connsiteY6" fmla="*/ 4422443 h 4511279"/>
              <a:gd name="connsiteX7" fmla="*/ 2396911 w 4803044"/>
              <a:gd name="connsiteY7" fmla="*/ 4504772 h 4511279"/>
              <a:gd name="connsiteX8" fmla="*/ 0 w 4803044"/>
              <a:gd name="connsiteY8" fmla="*/ 3623212 h 4511279"/>
              <a:gd name="connsiteX0" fmla="*/ 0 w 4803044"/>
              <a:gd name="connsiteY0" fmla="*/ 3598170 h 4486237"/>
              <a:gd name="connsiteX1" fmla="*/ 1655990 w 4803044"/>
              <a:gd name="connsiteY1" fmla="*/ 422283 h 4486237"/>
              <a:gd name="connsiteX2" fmla="*/ 2374473 w 4803044"/>
              <a:gd name="connsiteY2" fmla="*/ 8 h 4486237"/>
              <a:gd name="connsiteX3" fmla="*/ 3184096 w 4803044"/>
              <a:gd name="connsiteY3" fmla="*/ 473987 h 4486237"/>
              <a:gd name="connsiteX4" fmla="*/ 4454096 w 4803044"/>
              <a:gd name="connsiteY4" fmla="*/ 2582187 h 4486237"/>
              <a:gd name="connsiteX5" fmla="*/ 4774636 w 4803044"/>
              <a:gd name="connsiteY5" fmla="*/ 3731809 h 4486237"/>
              <a:gd name="connsiteX6" fmla="*/ 3916488 w 4803044"/>
              <a:gd name="connsiteY6" fmla="*/ 4397401 h 4486237"/>
              <a:gd name="connsiteX7" fmla="*/ 2396911 w 4803044"/>
              <a:gd name="connsiteY7" fmla="*/ 4479730 h 4486237"/>
              <a:gd name="connsiteX8" fmla="*/ 0 w 4803044"/>
              <a:gd name="connsiteY8" fmla="*/ 3598170 h 4486237"/>
              <a:gd name="connsiteX0" fmla="*/ 0 w 4803044"/>
              <a:gd name="connsiteY0" fmla="*/ 3598254 h 4486321"/>
              <a:gd name="connsiteX1" fmla="*/ 1655990 w 4803044"/>
              <a:gd name="connsiteY1" fmla="*/ 422367 h 4486321"/>
              <a:gd name="connsiteX2" fmla="*/ 2374473 w 4803044"/>
              <a:gd name="connsiteY2" fmla="*/ 92 h 4486321"/>
              <a:gd name="connsiteX3" fmla="*/ 3184096 w 4803044"/>
              <a:gd name="connsiteY3" fmla="*/ 474071 h 4486321"/>
              <a:gd name="connsiteX4" fmla="*/ 4454096 w 4803044"/>
              <a:gd name="connsiteY4" fmla="*/ 2582271 h 4486321"/>
              <a:gd name="connsiteX5" fmla="*/ 4774636 w 4803044"/>
              <a:gd name="connsiteY5" fmla="*/ 3731893 h 4486321"/>
              <a:gd name="connsiteX6" fmla="*/ 3916488 w 4803044"/>
              <a:gd name="connsiteY6" fmla="*/ 4397485 h 4486321"/>
              <a:gd name="connsiteX7" fmla="*/ 2396911 w 4803044"/>
              <a:gd name="connsiteY7" fmla="*/ 4479814 h 4486321"/>
              <a:gd name="connsiteX8" fmla="*/ 0 w 4803044"/>
              <a:gd name="connsiteY8" fmla="*/ 3598254 h 4486321"/>
              <a:gd name="connsiteX0" fmla="*/ 0 w 4803044"/>
              <a:gd name="connsiteY0" fmla="*/ 3598348 h 4486415"/>
              <a:gd name="connsiteX1" fmla="*/ 1655990 w 4803044"/>
              <a:gd name="connsiteY1" fmla="*/ 422461 h 4486415"/>
              <a:gd name="connsiteX2" fmla="*/ 2374473 w 4803044"/>
              <a:gd name="connsiteY2" fmla="*/ 186 h 4486415"/>
              <a:gd name="connsiteX3" fmla="*/ 3184096 w 4803044"/>
              <a:gd name="connsiteY3" fmla="*/ 474165 h 4486415"/>
              <a:gd name="connsiteX4" fmla="*/ 4454096 w 4803044"/>
              <a:gd name="connsiteY4" fmla="*/ 2582365 h 4486415"/>
              <a:gd name="connsiteX5" fmla="*/ 4774636 w 4803044"/>
              <a:gd name="connsiteY5" fmla="*/ 3731987 h 4486415"/>
              <a:gd name="connsiteX6" fmla="*/ 3916488 w 4803044"/>
              <a:gd name="connsiteY6" fmla="*/ 4397579 h 4486415"/>
              <a:gd name="connsiteX7" fmla="*/ 2396911 w 4803044"/>
              <a:gd name="connsiteY7" fmla="*/ 4479908 h 4486415"/>
              <a:gd name="connsiteX8" fmla="*/ 0 w 4803044"/>
              <a:gd name="connsiteY8" fmla="*/ 3598348 h 4486415"/>
              <a:gd name="connsiteX0" fmla="*/ 0 w 4803044"/>
              <a:gd name="connsiteY0" fmla="*/ 3598348 h 4486415"/>
              <a:gd name="connsiteX1" fmla="*/ 532971 w 4803044"/>
              <a:gd name="connsiteY1" fmla="*/ 2569665 h 4486415"/>
              <a:gd name="connsiteX2" fmla="*/ 1655990 w 4803044"/>
              <a:gd name="connsiteY2" fmla="*/ 422461 h 4486415"/>
              <a:gd name="connsiteX3" fmla="*/ 2374473 w 4803044"/>
              <a:gd name="connsiteY3" fmla="*/ 186 h 4486415"/>
              <a:gd name="connsiteX4" fmla="*/ 3184096 w 4803044"/>
              <a:gd name="connsiteY4" fmla="*/ 474165 h 4486415"/>
              <a:gd name="connsiteX5" fmla="*/ 4454096 w 4803044"/>
              <a:gd name="connsiteY5" fmla="*/ 2582365 h 4486415"/>
              <a:gd name="connsiteX6" fmla="*/ 4774636 w 4803044"/>
              <a:gd name="connsiteY6" fmla="*/ 3731987 h 4486415"/>
              <a:gd name="connsiteX7" fmla="*/ 3916488 w 4803044"/>
              <a:gd name="connsiteY7" fmla="*/ 4397579 h 4486415"/>
              <a:gd name="connsiteX8" fmla="*/ 2396911 w 4803044"/>
              <a:gd name="connsiteY8" fmla="*/ 4479908 h 4486415"/>
              <a:gd name="connsiteX9" fmla="*/ 0 w 4803044"/>
              <a:gd name="connsiteY9" fmla="*/ 3598348 h 4486415"/>
              <a:gd name="connsiteX0" fmla="*/ 0 w 4803044"/>
              <a:gd name="connsiteY0" fmla="*/ 3598348 h 4486415"/>
              <a:gd name="connsiteX1" fmla="*/ 348821 w 4803044"/>
              <a:gd name="connsiteY1" fmla="*/ 2579190 h 4486415"/>
              <a:gd name="connsiteX2" fmla="*/ 1655990 w 4803044"/>
              <a:gd name="connsiteY2" fmla="*/ 422461 h 4486415"/>
              <a:gd name="connsiteX3" fmla="*/ 2374473 w 4803044"/>
              <a:gd name="connsiteY3" fmla="*/ 186 h 4486415"/>
              <a:gd name="connsiteX4" fmla="*/ 3184096 w 4803044"/>
              <a:gd name="connsiteY4" fmla="*/ 474165 h 4486415"/>
              <a:gd name="connsiteX5" fmla="*/ 4454096 w 4803044"/>
              <a:gd name="connsiteY5" fmla="*/ 2582365 h 4486415"/>
              <a:gd name="connsiteX6" fmla="*/ 4774636 w 4803044"/>
              <a:gd name="connsiteY6" fmla="*/ 3731987 h 4486415"/>
              <a:gd name="connsiteX7" fmla="*/ 3916488 w 4803044"/>
              <a:gd name="connsiteY7" fmla="*/ 4397579 h 4486415"/>
              <a:gd name="connsiteX8" fmla="*/ 2396911 w 4803044"/>
              <a:gd name="connsiteY8" fmla="*/ 4479908 h 4486415"/>
              <a:gd name="connsiteX9" fmla="*/ 0 w 4803044"/>
              <a:gd name="connsiteY9" fmla="*/ 3598348 h 4486415"/>
              <a:gd name="connsiteX0" fmla="*/ 0 w 4803044"/>
              <a:gd name="connsiteY0" fmla="*/ 3598348 h 4486415"/>
              <a:gd name="connsiteX1" fmla="*/ 348821 w 4803044"/>
              <a:gd name="connsiteY1" fmla="*/ 2579190 h 4486415"/>
              <a:gd name="connsiteX2" fmla="*/ 1655990 w 4803044"/>
              <a:gd name="connsiteY2" fmla="*/ 422461 h 4486415"/>
              <a:gd name="connsiteX3" fmla="*/ 2374473 w 4803044"/>
              <a:gd name="connsiteY3" fmla="*/ 186 h 4486415"/>
              <a:gd name="connsiteX4" fmla="*/ 3184096 w 4803044"/>
              <a:gd name="connsiteY4" fmla="*/ 474165 h 4486415"/>
              <a:gd name="connsiteX5" fmla="*/ 4454096 w 4803044"/>
              <a:gd name="connsiteY5" fmla="*/ 2582365 h 4486415"/>
              <a:gd name="connsiteX6" fmla="*/ 4774636 w 4803044"/>
              <a:gd name="connsiteY6" fmla="*/ 3731987 h 4486415"/>
              <a:gd name="connsiteX7" fmla="*/ 3916488 w 4803044"/>
              <a:gd name="connsiteY7" fmla="*/ 4397579 h 4486415"/>
              <a:gd name="connsiteX8" fmla="*/ 2396911 w 4803044"/>
              <a:gd name="connsiteY8" fmla="*/ 4479908 h 4486415"/>
              <a:gd name="connsiteX9" fmla="*/ 0 w 4803044"/>
              <a:gd name="connsiteY9" fmla="*/ 3598348 h 4486415"/>
              <a:gd name="connsiteX0" fmla="*/ 0 w 4803044"/>
              <a:gd name="connsiteY0" fmla="*/ 3598348 h 4486415"/>
              <a:gd name="connsiteX1" fmla="*/ 348821 w 4803044"/>
              <a:gd name="connsiteY1" fmla="*/ 2579190 h 4486415"/>
              <a:gd name="connsiteX2" fmla="*/ 1655990 w 4803044"/>
              <a:gd name="connsiteY2" fmla="*/ 422461 h 4486415"/>
              <a:gd name="connsiteX3" fmla="*/ 2374473 w 4803044"/>
              <a:gd name="connsiteY3" fmla="*/ 186 h 4486415"/>
              <a:gd name="connsiteX4" fmla="*/ 3184096 w 4803044"/>
              <a:gd name="connsiteY4" fmla="*/ 474165 h 4486415"/>
              <a:gd name="connsiteX5" fmla="*/ 4454096 w 4803044"/>
              <a:gd name="connsiteY5" fmla="*/ 2582365 h 4486415"/>
              <a:gd name="connsiteX6" fmla="*/ 4774636 w 4803044"/>
              <a:gd name="connsiteY6" fmla="*/ 3731987 h 4486415"/>
              <a:gd name="connsiteX7" fmla="*/ 3916488 w 4803044"/>
              <a:gd name="connsiteY7" fmla="*/ 4397579 h 4486415"/>
              <a:gd name="connsiteX8" fmla="*/ 2396911 w 4803044"/>
              <a:gd name="connsiteY8" fmla="*/ 4479908 h 4486415"/>
              <a:gd name="connsiteX9" fmla="*/ 0 w 4803044"/>
              <a:gd name="connsiteY9" fmla="*/ 3598348 h 4486415"/>
              <a:gd name="connsiteX0" fmla="*/ 0 w 4803044"/>
              <a:gd name="connsiteY0" fmla="*/ 3598348 h 4486415"/>
              <a:gd name="connsiteX1" fmla="*/ 348821 w 4803044"/>
              <a:gd name="connsiteY1" fmla="*/ 2579190 h 4486415"/>
              <a:gd name="connsiteX2" fmla="*/ 1655990 w 4803044"/>
              <a:gd name="connsiteY2" fmla="*/ 422461 h 4486415"/>
              <a:gd name="connsiteX3" fmla="*/ 2374473 w 4803044"/>
              <a:gd name="connsiteY3" fmla="*/ 186 h 4486415"/>
              <a:gd name="connsiteX4" fmla="*/ 3184096 w 4803044"/>
              <a:gd name="connsiteY4" fmla="*/ 474165 h 4486415"/>
              <a:gd name="connsiteX5" fmla="*/ 4454096 w 4803044"/>
              <a:gd name="connsiteY5" fmla="*/ 2582365 h 4486415"/>
              <a:gd name="connsiteX6" fmla="*/ 4774636 w 4803044"/>
              <a:gd name="connsiteY6" fmla="*/ 3731987 h 4486415"/>
              <a:gd name="connsiteX7" fmla="*/ 3916488 w 4803044"/>
              <a:gd name="connsiteY7" fmla="*/ 4397579 h 4486415"/>
              <a:gd name="connsiteX8" fmla="*/ 2396911 w 4803044"/>
              <a:gd name="connsiteY8" fmla="*/ 4479908 h 4486415"/>
              <a:gd name="connsiteX9" fmla="*/ 0 w 4803044"/>
              <a:gd name="connsiteY9" fmla="*/ 3598348 h 4486415"/>
              <a:gd name="connsiteX0" fmla="*/ 230 w 4803274"/>
              <a:gd name="connsiteY0" fmla="*/ 3598348 h 4486415"/>
              <a:gd name="connsiteX1" fmla="*/ 349051 w 4803274"/>
              <a:gd name="connsiteY1" fmla="*/ 2579190 h 4486415"/>
              <a:gd name="connsiteX2" fmla="*/ 1656220 w 4803274"/>
              <a:gd name="connsiteY2" fmla="*/ 422461 h 4486415"/>
              <a:gd name="connsiteX3" fmla="*/ 2374703 w 4803274"/>
              <a:gd name="connsiteY3" fmla="*/ 186 h 4486415"/>
              <a:gd name="connsiteX4" fmla="*/ 3184326 w 4803274"/>
              <a:gd name="connsiteY4" fmla="*/ 474165 h 4486415"/>
              <a:gd name="connsiteX5" fmla="*/ 4454326 w 4803274"/>
              <a:gd name="connsiteY5" fmla="*/ 2582365 h 4486415"/>
              <a:gd name="connsiteX6" fmla="*/ 4774866 w 4803274"/>
              <a:gd name="connsiteY6" fmla="*/ 3731987 h 4486415"/>
              <a:gd name="connsiteX7" fmla="*/ 3916718 w 4803274"/>
              <a:gd name="connsiteY7" fmla="*/ 4397579 h 4486415"/>
              <a:gd name="connsiteX8" fmla="*/ 2397141 w 4803274"/>
              <a:gd name="connsiteY8" fmla="*/ 4479908 h 4486415"/>
              <a:gd name="connsiteX9" fmla="*/ 230 w 4803274"/>
              <a:gd name="connsiteY9" fmla="*/ 3598348 h 4486415"/>
              <a:gd name="connsiteX0" fmla="*/ 230 w 4803274"/>
              <a:gd name="connsiteY0" fmla="*/ 3598348 h 4479908"/>
              <a:gd name="connsiteX1" fmla="*/ 349051 w 4803274"/>
              <a:gd name="connsiteY1" fmla="*/ 2579190 h 4479908"/>
              <a:gd name="connsiteX2" fmla="*/ 1656220 w 4803274"/>
              <a:gd name="connsiteY2" fmla="*/ 422461 h 4479908"/>
              <a:gd name="connsiteX3" fmla="*/ 2374703 w 4803274"/>
              <a:gd name="connsiteY3" fmla="*/ 186 h 4479908"/>
              <a:gd name="connsiteX4" fmla="*/ 3184326 w 4803274"/>
              <a:gd name="connsiteY4" fmla="*/ 474165 h 4479908"/>
              <a:gd name="connsiteX5" fmla="*/ 4454326 w 4803274"/>
              <a:gd name="connsiteY5" fmla="*/ 2582365 h 4479908"/>
              <a:gd name="connsiteX6" fmla="*/ 4774866 w 4803274"/>
              <a:gd name="connsiteY6" fmla="*/ 3731987 h 4479908"/>
              <a:gd name="connsiteX7" fmla="*/ 3916718 w 4803274"/>
              <a:gd name="connsiteY7" fmla="*/ 4397579 h 4479908"/>
              <a:gd name="connsiteX8" fmla="*/ 2397141 w 4803274"/>
              <a:gd name="connsiteY8" fmla="*/ 4479908 h 4479908"/>
              <a:gd name="connsiteX9" fmla="*/ 230 w 4803274"/>
              <a:gd name="connsiteY9" fmla="*/ 3598348 h 4479908"/>
              <a:gd name="connsiteX0" fmla="*/ 230 w 4803274"/>
              <a:gd name="connsiteY0" fmla="*/ 3598348 h 4479908"/>
              <a:gd name="connsiteX1" fmla="*/ 349051 w 4803274"/>
              <a:gd name="connsiteY1" fmla="*/ 2579190 h 4479908"/>
              <a:gd name="connsiteX2" fmla="*/ 1656220 w 4803274"/>
              <a:gd name="connsiteY2" fmla="*/ 422461 h 4479908"/>
              <a:gd name="connsiteX3" fmla="*/ 2374703 w 4803274"/>
              <a:gd name="connsiteY3" fmla="*/ 186 h 4479908"/>
              <a:gd name="connsiteX4" fmla="*/ 3184326 w 4803274"/>
              <a:gd name="connsiteY4" fmla="*/ 474165 h 4479908"/>
              <a:gd name="connsiteX5" fmla="*/ 4454326 w 4803274"/>
              <a:gd name="connsiteY5" fmla="*/ 2582365 h 4479908"/>
              <a:gd name="connsiteX6" fmla="*/ 4774866 w 4803274"/>
              <a:gd name="connsiteY6" fmla="*/ 3731987 h 4479908"/>
              <a:gd name="connsiteX7" fmla="*/ 3916718 w 4803274"/>
              <a:gd name="connsiteY7" fmla="*/ 4397579 h 4479908"/>
              <a:gd name="connsiteX8" fmla="*/ 2397141 w 4803274"/>
              <a:gd name="connsiteY8" fmla="*/ 4479908 h 4479908"/>
              <a:gd name="connsiteX9" fmla="*/ 793551 w 4803274"/>
              <a:gd name="connsiteY9" fmla="*/ 4287340 h 4479908"/>
              <a:gd name="connsiteX10" fmla="*/ 230 w 4803274"/>
              <a:gd name="connsiteY10" fmla="*/ 3598348 h 4479908"/>
              <a:gd name="connsiteX0" fmla="*/ 230 w 4803274"/>
              <a:gd name="connsiteY0" fmla="*/ 3598348 h 4479908"/>
              <a:gd name="connsiteX1" fmla="*/ 349051 w 4803274"/>
              <a:gd name="connsiteY1" fmla="*/ 2579190 h 4479908"/>
              <a:gd name="connsiteX2" fmla="*/ 1656220 w 4803274"/>
              <a:gd name="connsiteY2" fmla="*/ 422461 h 4479908"/>
              <a:gd name="connsiteX3" fmla="*/ 2374703 w 4803274"/>
              <a:gd name="connsiteY3" fmla="*/ 186 h 4479908"/>
              <a:gd name="connsiteX4" fmla="*/ 3184326 w 4803274"/>
              <a:gd name="connsiteY4" fmla="*/ 474165 h 4479908"/>
              <a:gd name="connsiteX5" fmla="*/ 4454326 w 4803274"/>
              <a:gd name="connsiteY5" fmla="*/ 2582365 h 4479908"/>
              <a:gd name="connsiteX6" fmla="*/ 4774866 w 4803274"/>
              <a:gd name="connsiteY6" fmla="*/ 3731987 h 4479908"/>
              <a:gd name="connsiteX7" fmla="*/ 3916718 w 4803274"/>
              <a:gd name="connsiteY7" fmla="*/ 4397579 h 4479908"/>
              <a:gd name="connsiteX8" fmla="*/ 2397141 w 4803274"/>
              <a:gd name="connsiteY8" fmla="*/ 4479908 h 4479908"/>
              <a:gd name="connsiteX9" fmla="*/ 698301 w 4803274"/>
              <a:gd name="connsiteY9" fmla="*/ 4369890 h 4479908"/>
              <a:gd name="connsiteX10" fmla="*/ 230 w 4803274"/>
              <a:gd name="connsiteY10" fmla="*/ 3598348 h 4479908"/>
              <a:gd name="connsiteX0" fmla="*/ 230 w 4803274"/>
              <a:gd name="connsiteY0" fmla="*/ 3598348 h 4479908"/>
              <a:gd name="connsiteX1" fmla="*/ 349051 w 4803274"/>
              <a:gd name="connsiteY1" fmla="*/ 2579190 h 4479908"/>
              <a:gd name="connsiteX2" fmla="*/ 1656220 w 4803274"/>
              <a:gd name="connsiteY2" fmla="*/ 422461 h 4479908"/>
              <a:gd name="connsiteX3" fmla="*/ 2374703 w 4803274"/>
              <a:gd name="connsiteY3" fmla="*/ 186 h 4479908"/>
              <a:gd name="connsiteX4" fmla="*/ 3184326 w 4803274"/>
              <a:gd name="connsiteY4" fmla="*/ 474165 h 4479908"/>
              <a:gd name="connsiteX5" fmla="*/ 4454326 w 4803274"/>
              <a:gd name="connsiteY5" fmla="*/ 2582365 h 4479908"/>
              <a:gd name="connsiteX6" fmla="*/ 4774866 w 4803274"/>
              <a:gd name="connsiteY6" fmla="*/ 3731987 h 4479908"/>
              <a:gd name="connsiteX7" fmla="*/ 3916718 w 4803274"/>
              <a:gd name="connsiteY7" fmla="*/ 4397579 h 4479908"/>
              <a:gd name="connsiteX8" fmla="*/ 2397141 w 4803274"/>
              <a:gd name="connsiteY8" fmla="*/ 4479908 h 4479908"/>
              <a:gd name="connsiteX9" fmla="*/ 698301 w 4803274"/>
              <a:gd name="connsiteY9" fmla="*/ 4369890 h 4479908"/>
              <a:gd name="connsiteX10" fmla="*/ 230 w 4803274"/>
              <a:gd name="connsiteY10" fmla="*/ 3598348 h 4479908"/>
              <a:gd name="connsiteX0" fmla="*/ 230 w 4803274"/>
              <a:gd name="connsiteY0" fmla="*/ 3598348 h 4479908"/>
              <a:gd name="connsiteX1" fmla="*/ 349051 w 4803274"/>
              <a:gd name="connsiteY1" fmla="*/ 2579190 h 4479908"/>
              <a:gd name="connsiteX2" fmla="*/ 1656220 w 4803274"/>
              <a:gd name="connsiteY2" fmla="*/ 422461 h 4479908"/>
              <a:gd name="connsiteX3" fmla="*/ 2374703 w 4803274"/>
              <a:gd name="connsiteY3" fmla="*/ 186 h 4479908"/>
              <a:gd name="connsiteX4" fmla="*/ 3184326 w 4803274"/>
              <a:gd name="connsiteY4" fmla="*/ 474165 h 4479908"/>
              <a:gd name="connsiteX5" fmla="*/ 4454326 w 4803274"/>
              <a:gd name="connsiteY5" fmla="*/ 2582365 h 4479908"/>
              <a:gd name="connsiteX6" fmla="*/ 4774866 w 4803274"/>
              <a:gd name="connsiteY6" fmla="*/ 3731987 h 4479908"/>
              <a:gd name="connsiteX7" fmla="*/ 3916718 w 4803274"/>
              <a:gd name="connsiteY7" fmla="*/ 4397579 h 4479908"/>
              <a:gd name="connsiteX8" fmla="*/ 2397141 w 4803274"/>
              <a:gd name="connsiteY8" fmla="*/ 4479908 h 4479908"/>
              <a:gd name="connsiteX9" fmla="*/ 698301 w 4803274"/>
              <a:gd name="connsiteY9" fmla="*/ 4369890 h 4479908"/>
              <a:gd name="connsiteX10" fmla="*/ 230 w 4803274"/>
              <a:gd name="connsiteY10" fmla="*/ 3598348 h 4479908"/>
              <a:gd name="connsiteX0" fmla="*/ 230 w 4803274"/>
              <a:gd name="connsiteY0" fmla="*/ 3598348 h 4479908"/>
              <a:gd name="connsiteX1" fmla="*/ 349051 w 4803274"/>
              <a:gd name="connsiteY1" fmla="*/ 2579190 h 4479908"/>
              <a:gd name="connsiteX2" fmla="*/ 1656220 w 4803274"/>
              <a:gd name="connsiteY2" fmla="*/ 422461 h 4479908"/>
              <a:gd name="connsiteX3" fmla="*/ 2374703 w 4803274"/>
              <a:gd name="connsiteY3" fmla="*/ 186 h 4479908"/>
              <a:gd name="connsiteX4" fmla="*/ 3184326 w 4803274"/>
              <a:gd name="connsiteY4" fmla="*/ 474165 h 4479908"/>
              <a:gd name="connsiteX5" fmla="*/ 4454326 w 4803274"/>
              <a:gd name="connsiteY5" fmla="*/ 2582365 h 4479908"/>
              <a:gd name="connsiteX6" fmla="*/ 4774866 w 4803274"/>
              <a:gd name="connsiteY6" fmla="*/ 3731987 h 4479908"/>
              <a:gd name="connsiteX7" fmla="*/ 3916718 w 4803274"/>
              <a:gd name="connsiteY7" fmla="*/ 4397579 h 4479908"/>
              <a:gd name="connsiteX8" fmla="*/ 2397141 w 4803274"/>
              <a:gd name="connsiteY8" fmla="*/ 4479908 h 4479908"/>
              <a:gd name="connsiteX9" fmla="*/ 698301 w 4803274"/>
              <a:gd name="connsiteY9" fmla="*/ 4369890 h 4479908"/>
              <a:gd name="connsiteX10" fmla="*/ 230 w 4803274"/>
              <a:gd name="connsiteY10" fmla="*/ 3598348 h 4479908"/>
              <a:gd name="connsiteX0" fmla="*/ 230 w 4803274"/>
              <a:gd name="connsiteY0" fmla="*/ 3598348 h 4479908"/>
              <a:gd name="connsiteX1" fmla="*/ 349051 w 4803274"/>
              <a:gd name="connsiteY1" fmla="*/ 2579190 h 4479908"/>
              <a:gd name="connsiteX2" fmla="*/ 1656220 w 4803274"/>
              <a:gd name="connsiteY2" fmla="*/ 422461 h 4479908"/>
              <a:gd name="connsiteX3" fmla="*/ 2374703 w 4803274"/>
              <a:gd name="connsiteY3" fmla="*/ 186 h 4479908"/>
              <a:gd name="connsiteX4" fmla="*/ 3184326 w 4803274"/>
              <a:gd name="connsiteY4" fmla="*/ 474165 h 4479908"/>
              <a:gd name="connsiteX5" fmla="*/ 4454326 w 4803274"/>
              <a:gd name="connsiteY5" fmla="*/ 2582365 h 4479908"/>
              <a:gd name="connsiteX6" fmla="*/ 4774866 w 4803274"/>
              <a:gd name="connsiteY6" fmla="*/ 3731987 h 4479908"/>
              <a:gd name="connsiteX7" fmla="*/ 3916718 w 4803274"/>
              <a:gd name="connsiteY7" fmla="*/ 4397579 h 4479908"/>
              <a:gd name="connsiteX8" fmla="*/ 2397141 w 4803274"/>
              <a:gd name="connsiteY8" fmla="*/ 4479908 h 4479908"/>
              <a:gd name="connsiteX9" fmla="*/ 698301 w 4803274"/>
              <a:gd name="connsiteY9" fmla="*/ 4369890 h 4479908"/>
              <a:gd name="connsiteX10" fmla="*/ 230 w 4803274"/>
              <a:gd name="connsiteY10" fmla="*/ 3598348 h 4479908"/>
              <a:gd name="connsiteX0" fmla="*/ 0 w 4803044"/>
              <a:gd name="connsiteY0" fmla="*/ 3598348 h 4479908"/>
              <a:gd name="connsiteX1" fmla="*/ 348821 w 4803044"/>
              <a:gd name="connsiteY1" fmla="*/ 2579190 h 4479908"/>
              <a:gd name="connsiteX2" fmla="*/ 1655990 w 4803044"/>
              <a:gd name="connsiteY2" fmla="*/ 422461 h 4479908"/>
              <a:gd name="connsiteX3" fmla="*/ 2374473 w 4803044"/>
              <a:gd name="connsiteY3" fmla="*/ 186 h 4479908"/>
              <a:gd name="connsiteX4" fmla="*/ 3184096 w 4803044"/>
              <a:gd name="connsiteY4" fmla="*/ 474165 h 4479908"/>
              <a:gd name="connsiteX5" fmla="*/ 4454096 w 4803044"/>
              <a:gd name="connsiteY5" fmla="*/ 2582365 h 4479908"/>
              <a:gd name="connsiteX6" fmla="*/ 4774636 w 4803044"/>
              <a:gd name="connsiteY6" fmla="*/ 3731987 h 4479908"/>
              <a:gd name="connsiteX7" fmla="*/ 3916488 w 4803044"/>
              <a:gd name="connsiteY7" fmla="*/ 4397579 h 4479908"/>
              <a:gd name="connsiteX8" fmla="*/ 2396911 w 4803044"/>
              <a:gd name="connsiteY8" fmla="*/ 4479908 h 4479908"/>
              <a:gd name="connsiteX9" fmla="*/ 698071 w 4803044"/>
              <a:gd name="connsiteY9" fmla="*/ 4369890 h 4479908"/>
              <a:gd name="connsiteX10" fmla="*/ 0 w 4803044"/>
              <a:gd name="connsiteY10" fmla="*/ 3598348 h 4479908"/>
              <a:gd name="connsiteX0" fmla="*/ 0 w 4803044"/>
              <a:gd name="connsiteY0" fmla="*/ 3598348 h 4479908"/>
              <a:gd name="connsiteX1" fmla="*/ 348821 w 4803044"/>
              <a:gd name="connsiteY1" fmla="*/ 2579190 h 4479908"/>
              <a:gd name="connsiteX2" fmla="*/ 1655990 w 4803044"/>
              <a:gd name="connsiteY2" fmla="*/ 422461 h 4479908"/>
              <a:gd name="connsiteX3" fmla="*/ 2374473 w 4803044"/>
              <a:gd name="connsiteY3" fmla="*/ 186 h 4479908"/>
              <a:gd name="connsiteX4" fmla="*/ 3184096 w 4803044"/>
              <a:gd name="connsiteY4" fmla="*/ 474165 h 4479908"/>
              <a:gd name="connsiteX5" fmla="*/ 4454096 w 4803044"/>
              <a:gd name="connsiteY5" fmla="*/ 2582365 h 4479908"/>
              <a:gd name="connsiteX6" fmla="*/ 4774636 w 4803044"/>
              <a:gd name="connsiteY6" fmla="*/ 3731987 h 4479908"/>
              <a:gd name="connsiteX7" fmla="*/ 3916488 w 4803044"/>
              <a:gd name="connsiteY7" fmla="*/ 4397579 h 4479908"/>
              <a:gd name="connsiteX8" fmla="*/ 2396911 w 4803044"/>
              <a:gd name="connsiteY8" fmla="*/ 4479908 h 4479908"/>
              <a:gd name="connsiteX9" fmla="*/ 698071 w 4803044"/>
              <a:gd name="connsiteY9" fmla="*/ 4369890 h 4479908"/>
              <a:gd name="connsiteX10" fmla="*/ 0 w 4803044"/>
              <a:gd name="connsiteY10" fmla="*/ 3598348 h 4479908"/>
              <a:gd name="connsiteX0" fmla="*/ 0 w 4796694"/>
              <a:gd name="connsiteY0" fmla="*/ 3598348 h 4479908"/>
              <a:gd name="connsiteX1" fmla="*/ 342471 w 4796694"/>
              <a:gd name="connsiteY1" fmla="*/ 2579190 h 4479908"/>
              <a:gd name="connsiteX2" fmla="*/ 1649640 w 4796694"/>
              <a:gd name="connsiteY2" fmla="*/ 422461 h 4479908"/>
              <a:gd name="connsiteX3" fmla="*/ 2368123 w 4796694"/>
              <a:gd name="connsiteY3" fmla="*/ 186 h 4479908"/>
              <a:gd name="connsiteX4" fmla="*/ 3177746 w 4796694"/>
              <a:gd name="connsiteY4" fmla="*/ 474165 h 4479908"/>
              <a:gd name="connsiteX5" fmla="*/ 4447746 w 4796694"/>
              <a:gd name="connsiteY5" fmla="*/ 2582365 h 4479908"/>
              <a:gd name="connsiteX6" fmla="*/ 4768286 w 4796694"/>
              <a:gd name="connsiteY6" fmla="*/ 3731987 h 4479908"/>
              <a:gd name="connsiteX7" fmla="*/ 3910138 w 4796694"/>
              <a:gd name="connsiteY7" fmla="*/ 4397579 h 4479908"/>
              <a:gd name="connsiteX8" fmla="*/ 2390561 w 4796694"/>
              <a:gd name="connsiteY8" fmla="*/ 4479908 h 4479908"/>
              <a:gd name="connsiteX9" fmla="*/ 691721 w 4796694"/>
              <a:gd name="connsiteY9" fmla="*/ 4369890 h 4479908"/>
              <a:gd name="connsiteX10" fmla="*/ 0 w 4796694"/>
              <a:gd name="connsiteY10" fmla="*/ 3598348 h 4479908"/>
              <a:gd name="connsiteX0" fmla="*/ 0 w 4796694"/>
              <a:gd name="connsiteY0" fmla="*/ 3598348 h 4479908"/>
              <a:gd name="connsiteX1" fmla="*/ 342471 w 4796694"/>
              <a:gd name="connsiteY1" fmla="*/ 2579190 h 4479908"/>
              <a:gd name="connsiteX2" fmla="*/ 1649640 w 4796694"/>
              <a:gd name="connsiteY2" fmla="*/ 422461 h 4479908"/>
              <a:gd name="connsiteX3" fmla="*/ 2368123 w 4796694"/>
              <a:gd name="connsiteY3" fmla="*/ 186 h 4479908"/>
              <a:gd name="connsiteX4" fmla="*/ 3177746 w 4796694"/>
              <a:gd name="connsiteY4" fmla="*/ 474165 h 4479908"/>
              <a:gd name="connsiteX5" fmla="*/ 4447746 w 4796694"/>
              <a:gd name="connsiteY5" fmla="*/ 2582365 h 4479908"/>
              <a:gd name="connsiteX6" fmla="*/ 4768286 w 4796694"/>
              <a:gd name="connsiteY6" fmla="*/ 3731987 h 4479908"/>
              <a:gd name="connsiteX7" fmla="*/ 3910138 w 4796694"/>
              <a:gd name="connsiteY7" fmla="*/ 4397579 h 4479908"/>
              <a:gd name="connsiteX8" fmla="*/ 2390561 w 4796694"/>
              <a:gd name="connsiteY8" fmla="*/ 4479908 h 4479908"/>
              <a:gd name="connsiteX9" fmla="*/ 691721 w 4796694"/>
              <a:gd name="connsiteY9" fmla="*/ 4369890 h 4479908"/>
              <a:gd name="connsiteX10" fmla="*/ 0 w 4796694"/>
              <a:gd name="connsiteY10" fmla="*/ 3598348 h 4479908"/>
              <a:gd name="connsiteX0" fmla="*/ 0 w 4796694"/>
              <a:gd name="connsiteY0" fmla="*/ 3598348 h 4479908"/>
              <a:gd name="connsiteX1" fmla="*/ 342471 w 4796694"/>
              <a:gd name="connsiteY1" fmla="*/ 2579190 h 4479908"/>
              <a:gd name="connsiteX2" fmla="*/ 1649640 w 4796694"/>
              <a:gd name="connsiteY2" fmla="*/ 422461 h 4479908"/>
              <a:gd name="connsiteX3" fmla="*/ 2368123 w 4796694"/>
              <a:gd name="connsiteY3" fmla="*/ 186 h 4479908"/>
              <a:gd name="connsiteX4" fmla="*/ 3177746 w 4796694"/>
              <a:gd name="connsiteY4" fmla="*/ 474165 h 4479908"/>
              <a:gd name="connsiteX5" fmla="*/ 4447746 w 4796694"/>
              <a:gd name="connsiteY5" fmla="*/ 2582365 h 4479908"/>
              <a:gd name="connsiteX6" fmla="*/ 4768286 w 4796694"/>
              <a:gd name="connsiteY6" fmla="*/ 3731987 h 4479908"/>
              <a:gd name="connsiteX7" fmla="*/ 3910138 w 4796694"/>
              <a:gd name="connsiteY7" fmla="*/ 4397579 h 4479908"/>
              <a:gd name="connsiteX8" fmla="*/ 2390561 w 4796694"/>
              <a:gd name="connsiteY8" fmla="*/ 4479908 h 4479908"/>
              <a:gd name="connsiteX9" fmla="*/ 691721 w 4796694"/>
              <a:gd name="connsiteY9" fmla="*/ 4369890 h 4479908"/>
              <a:gd name="connsiteX10" fmla="*/ 0 w 4796694"/>
              <a:gd name="connsiteY10" fmla="*/ 3598348 h 4479908"/>
              <a:gd name="connsiteX0" fmla="*/ 0 w 4796694"/>
              <a:gd name="connsiteY0" fmla="*/ 3598348 h 4479908"/>
              <a:gd name="connsiteX1" fmla="*/ 342471 w 4796694"/>
              <a:gd name="connsiteY1" fmla="*/ 2579190 h 4479908"/>
              <a:gd name="connsiteX2" fmla="*/ 1649640 w 4796694"/>
              <a:gd name="connsiteY2" fmla="*/ 422461 h 4479908"/>
              <a:gd name="connsiteX3" fmla="*/ 2368123 w 4796694"/>
              <a:gd name="connsiteY3" fmla="*/ 186 h 4479908"/>
              <a:gd name="connsiteX4" fmla="*/ 3177746 w 4796694"/>
              <a:gd name="connsiteY4" fmla="*/ 474165 h 4479908"/>
              <a:gd name="connsiteX5" fmla="*/ 4447746 w 4796694"/>
              <a:gd name="connsiteY5" fmla="*/ 2582365 h 4479908"/>
              <a:gd name="connsiteX6" fmla="*/ 4768286 w 4796694"/>
              <a:gd name="connsiteY6" fmla="*/ 3731987 h 4479908"/>
              <a:gd name="connsiteX7" fmla="*/ 3910138 w 4796694"/>
              <a:gd name="connsiteY7" fmla="*/ 4397579 h 4479908"/>
              <a:gd name="connsiteX8" fmla="*/ 2390561 w 4796694"/>
              <a:gd name="connsiteY8" fmla="*/ 4479908 h 4479908"/>
              <a:gd name="connsiteX9" fmla="*/ 691721 w 4796694"/>
              <a:gd name="connsiteY9" fmla="*/ 4369890 h 4479908"/>
              <a:gd name="connsiteX10" fmla="*/ 0 w 4796694"/>
              <a:gd name="connsiteY10" fmla="*/ 3598348 h 4479908"/>
              <a:gd name="connsiteX0" fmla="*/ 0 w 4796694"/>
              <a:gd name="connsiteY0" fmla="*/ 3598348 h 4479908"/>
              <a:gd name="connsiteX1" fmla="*/ 342471 w 4796694"/>
              <a:gd name="connsiteY1" fmla="*/ 2579190 h 4479908"/>
              <a:gd name="connsiteX2" fmla="*/ 1649640 w 4796694"/>
              <a:gd name="connsiteY2" fmla="*/ 422461 h 4479908"/>
              <a:gd name="connsiteX3" fmla="*/ 2368123 w 4796694"/>
              <a:gd name="connsiteY3" fmla="*/ 186 h 4479908"/>
              <a:gd name="connsiteX4" fmla="*/ 3177746 w 4796694"/>
              <a:gd name="connsiteY4" fmla="*/ 474165 h 4479908"/>
              <a:gd name="connsiteX5" fmla="*/ 4447746 w 4796694"/>
              <a:gd name="connsiteY5" fmla="*/ 2582365 h 4479908"/>
              <a:gd name="connsiteX6" fmla="*/ 4768286 w 4796694"/>
              <a:gd name="connsiteY6" fmla="*/ 3731987 h 4479908"/>
              <a:gd name="connsiteX7" fmla="*/ 3910138 w 4796694"/>
              <a:gd name="connsiteY7" fmla="*/ 4397579 h 4479908"/>
              <a:gd name="connsiteX8" fmla="*/ 2390561 w 4796694"/>
              <a:gd name="connsiteY8" fmla="*/ 4479908 h 4479908"/>
              <a:gd name="connsiteX9" fmla="*/ 691721 w 4796694"/>
              <a:gd name="connsiteY9" fmla="*/ 4369890 h 4479908"/>
              <a:gd name="connsiteX10" fmla="*/ 0 w 4796694"/>
              <a:gd name="connsiteY10" fmla="*/ 3598348 h 4479908"/>
              <a:gd name="connsiteX0" fmla="*/ 0 w 4796694"/>
              <a:gd name="connsiteY0" fmla="*/ 3598348 h 4479908"/>
              <a:gd name="connsiteX1" fmla="*/ 342471 w 4796694"/>
              <a:gd name="connsiteY1" fmla="*/ 2579190 h 4479908"/>
              <a:gd name="connsiteX2" fmla="*/ 1649640 w 4796694"/>
              <a:gd name="connsiteY2" fmla="*/ 422461 h 4479908"/>
              <a:gd name="connsiteX3" fmla="*/ 2368123 w 4796694"/>
              <a:gd name="connsiteY3" fmla="*/ 186 h 4479908"/>
              <a:gd name="connsiteX4" fmla="*/ 3177746 w 4796694"/>
              <a:gd name="connsiteY4" fmla="*/ 474165 h 4479908"/>
              <a:gd name="connsiteX5" fmla="*/ 4447746 w 4796694"/>
              <a:gd name="connsiteY5" fmla="*/ 2582365 h 4479908"/>
              <a:gd name="connsiteX6" fmla="*/ 4768286 w 4796694"/>
              <a:gd name="connsiteY6" fmla="*/ 3731987 h 4479908"/>
              <a:gd name="connsiteX7" fmla="*/ 3910138 w 4796694"/>
              <a:gd name="connsiteY7" fmla="*/ 4397579 h 4479908"/>
              <a:gd name="connsiteX8" fmla="*/ 2390561 w 4796694"/>
              <a:gd name="connsiteY8" fmla="*/ 4479908 h 4479908"/>
              <a:gd name="connsiteX9" fmla="*/ 691721 w 4796694"/>
              <a:gd name="connsiteY9" fmla="*/ 4369890 h 4479908"/>
              <a:gd name="connsiteX10" fmla="*/ 0 w 4796694"/>
              <a:gd name="connsiteY10" fmla="*/ 3598348 h 4479908"/>
              <a:gd name="connsiteX0" fmla="*/ 0 w 4796694"/>
              <a:gd name="connsiteY0" fmla="*/ 3598348 h 4479908"/>
              <a:gd name="connsiteX1" fmla="*/ 342471 w 4796694"/>
              <a:gd name="connsiteY1" fmla="*/ 2579190 h 4479908"/>
              <a:gd name="connsiteX2" fmla="*/ 1649640 w 4796694"/>
              <a:gd name="connsiteY2" fmla="*/ 422461 h 4479908"/>
              <a:gd name="connsiteX3" fmla="*/ 2368123 w 4796694"/>
              <a:gd name="connsiteY3" fmla="*/ 186 h 4479908"/>
              <a:gd name="connsiteX4" fmla="*/ 3177746 w 4796694"/>
              <a:gd name="connsiteY4" fmla="*/ 474165 h 4479908"/>
              <a:gd name="connsiteX5" fmla="*/ 4447746 w 4796694"/>
              <a:gd name="connsiteY5" fmla="*/ 2582365 h 4479908"/>
              <a:gd name="connsiteX6" fmla="*/ 4768286 w 4796694"/>
              <a:gd name="connsiteY6" fmla="*/ 3731987 h 4479908"/>
              <a:gd name="connsiteX7" fmla="*/ 3910138 w 4796694"/>
              <a:gd name="connsiteY7" fmla="*/ 4397579 h 4479908"/>
              <a:gd name="connsiteX8" fmla="*/ 2390561 w 4796694"/>
              <a:gd name="connsiteY8" fmla="*/ 4479908 h 4479908"/>
              <a:gd name="connsiteX9" fmla="*/ 691721 w 4796694"/>
              <a:gd name="connsiteY9" fmla="*/ 4369890 h 4479908"/>
              <a:gd name="connsiteX10" fmla="*/ 0 w 4796694"/>
              <a:gd name="connsiteY10" fmla="*/ 3598348 h 4479908"/>
              <a:gd name="connsiteX0" fmla="*/ 0 w 4796694"/>
              <a:gd name="connsiteY0" fmla="*/ 3598348 h 4479908"/>
              <a:gd name="connsiteX1" fmla="*/ 342471 w 4796694"/>
              <a:gd name="connsiteY1" fmla="*/ 2579190 h 4479908"/>
              <a:gd name="connsiteX2" fmla="*/ 1649640 w 4796694"/>
              <a:gd name="connsiteY2" fmla="*/ 422461 h 4479908"/>
              <a:gd name="connsiteX3" fmla="*/ 2368123 w 4796694"/>
              <a:gd name="connsiteY3" fmla="*/ 186 h 4479908"/>
              <a:gd name="connsiteX4" fmla="*/ 3177746 w 4796694"/>
              <a:gd name="connsiteY4" fmla="*/ 474165 h 4479908"/>
              <a:gd name="connsiteX5" fmla="*/ 4447746 w 4796694"/>
              <a:gd name="connsiteY5" fmla="*/ 2582365 h 4479908"/>
              <a:gd name="connsiteX6" fmla="*/ 4768286 w 4796694"/>
              <a:gd name="connsiteY6" fmla="*/ 3731987 h 4479908"/>
              <a:gd name="connsiteX7" fmla="*/ 3910138 w 4796694"/>
              <a:gd name="connsiteY7" fmla="*/ 4397579 h 4479908"/>
              <a:gd name="connsiteX8" fmla="*/ 2390561 w 4796694"/>
              <a:gd name="connsiteY8" fmla="*/ 4479908 h 4479908"/>
              <a:gd name="connsiteX9" fmla="*/ 691721 w 4796694"/>
              <a:gd name="connsiteY9" fmla="*/ 4369890 h 4479908"/>
              <a:gd name="connsiteX10" fmla="*/ 0 w 4796694"/>
              <a:gd name="connsiteY10" fmla="*/ 3598348 h 4479908"/>
              <a:gd name="connsiteX0" fmla="*/ 2721 w 4799415"/>
              <a:gd name="connsiteY0" fmla="*/ 3598348 h 4479908"/>
              <a:gd name="connsiteX1" fmla="*/ 345192 w 4799415"/>
              <a:gd name="connsiteY1" fmla="*/ 2579190 h 4479908"/>
              <a:gd name="connsiteX2" fmla="*/ 1652361 w 4799415"/>
              <a:gd name="connsiteY2" fmla="*/ 422461 h 4479908"/>
              <a:gd name="connsiteX3" fmla="*/ 2370844 w 4799415"/>
              <a:gd name="connsiteY3" fmla="*/ 186 h 4479908"/>
              <a:gd name="connsiteX4" fmla="*/ 3180467 w 4799415"/>
              <a:gd name="connsiteY4" fmla="*/ 474165 h 4479908"/>
              <a:gd name="connsiteX5" fmla="*/ 4450467 w 4799415"/>
              <a:gd name="connsiteY5" fmla="*/ 2582365 h 4479908"/>
              <a:gd name="connsiteX6" fmla="*/ 4771007 w 4799415"/>
              <a:gd name="connsiteY6" fmla="*/ 3731987 h 4479908"/>
              <a:gd name="connsiteX7" fmla="*/ 3912859 w 4799415"/>
              <a:gd name="connsiteY7" fmla="*/ 4397579 h 4479908"/>
              <a:gd name="connsiteX8" fmla="*/ 2393282 w 4799415"/>
              <a:gd name="connsiteY8" fmla="*/ 4479908 h 4479908"/>
              <a:gd name="connsiteX9" fmla="*/ 694442 w 4799415"/>
              <a:gd name="connsiteY9" fmla="*/ 4369890 h 4479908"/>
              <a:gd name="connsiteX10" fmla="*/ 2721 w 4799415"/>
              <a:gd name="connsiteY10" fmla="*/ 3598348 h 4479908"/>
              <a:gd name="connsiteX0" fmla="*/ 2118 w 4798812"/>
              <a:gd name="connsiteY0" fmla="*/ 3598348 h 4479908"/>
              <a:gd name="connsiteX1" fmla="*/ 344589 w 4798812"/>
              <a:gd name="connsiteY1" fmla="*/ 2579190 h 4479908"/>
              <a:gd name="connsiteX2" fmla="*/ 1651758 w 4798812"/>
              <a:gd name="connsiteY2" fmla="*/ 422461 h 4479908"/>
              <a:gd name="connsiteX3" fmla="*/ 2370241 w 4798812"/>
              <a:gd name="connsiteY3" fmla="*/ 186 h 4479908"/>
              <a:gd name="connsiteX4" fmla="*/ 3179864 w 4798812"/>
              <a:gd name="connsiteY4" fmla="*/ 474165 h 4479908"/>
              <a:gd name="connsiteX5" fmla="*/ 4449864 w 4798812"/>
              <a:gd name="connsiteY5" fmla="*/ 2582365 h 4479908"/>
              <a:gd name="connsiteX6" fmla="*/ 4770404 w 4798812"/>
              <a:gd name="connsiteY6" fmla="*/ 3731987 h 4479908"/>
              <a:gd name="connsiteX7" fmla="*/ 3912256 w 4798812"/>
              <a:gd name="connsiteY7" fmla="*/ 4397579 h 4479908"/>
              <a:gd name="connsiteX8" fmla="*/ 2392679 w 4798812"/>
              <a:gd name="connsiteY8" fmla="*/ 4479908 h 4479908"/>
              <a:gd name="connsiteX9" fmla="*/ 693839 w 4798812"/>
              <a:gd name="connsiteY9" fmla="*/ 4369890 h 4479908"/>
              <a:gd name="connsiteX10" fmla="*/ 2118 w 4798812"/>
              <a:gd name="connsiteY10" fmla="*/ 3598348 h 4479908"/>
              <a:gd name="connsiteX0" fmla="*/ 2118 w 4798812"/>
              <a:gd name="connsiteY0" fmla="*/ 3598348 h 4479908"/>
              <a:gd name="connsiteX1" fmla="*/ 344589 w 4798812"/>
              <a:gd name="connsiteY1" fmla="*/ 2579190 h 4479908"/>
              <a:gd name="connsiteX2" fmla="*/ 1651758 w 4798812"/>
              <a:gd name="connsiteY2" fmla="*/ 422461 h 4479908"/>
              <a:gd name="connsiteX3" fmla="*/ 2370241 w 4798812"/>
              <a:gd name="connsiteY3" fmla="*/ 186 h 4479908"/>
              <a:gd name="connsiteX4" fmla="*/ 3179864 w 4798812"/>
              <a:gd name="connsiteY4" fmla="*/ 474165 h 4479908"/>
              <a:gd name="connsiteX5" fmla="*/ 4449864 w 4798812"/>
              <a:gd name="connsiteY5" fmla="*/ 2582365 h 4479908"/>
              <a:gd name="connsiteX6" fmla="*/ 4770404 w 4798812"/>
              <a:gd name="connsiteY6" fmla="*/ 3731987 h 4479908"/>
              <a:gd name="connsiteX7" fmla="*/ 3912256 w 4798812"/>
              <a:gd name="connsiteY7" fmla="*/ 4397579 h 4479908"/>
              <a:gd name="connsiteX8" fmla="*/ 2392679 w 4798812"/>
              <a:gd name="connsiteY8" fmla="*/ 4479908 h 4479908"/>
              <a:gd name="connsiteX9" fmla="*/ 693839 w 4798812"/>
              <a:gd name="connsiteY9" fmla="*/ 4369890 h 4479908"/>
              <a:gd name="connsiteX10" fmla="*/ 2118 w 4798812"/>
              <a:gd name="connsiteY10" fmla="*/ 3598348 h 4479908"/>
              <a:gd name="connsiteX0" fmla="*/ 2118 w 4798812"/>
              <a:gd name="connsiteY0" fmla="*/ 3598348 h 4479908"/>
              <a:gd name="connsiteX1" fmla="*/ 344589 w 4798812"/>
              <a:gd name="connsiteY1" fmla="*/ 2579190 h 4479908"/>
              <a:gd name="connsiteX2" fmla="*/ 1651758 w 4798812"/>
              <a:gd name="connsiteY2" fmla="*/ 422461 h 4479908"/>
              <a:gd name="connsiteX3" fmla="*/ 2370241 w 4798812"/>
              <a:gd name="connsiteY3" fmla="*/ 186 h 4479908"/>
              <a:gd name="connsiteX4" fmla="*/ 3179864 w 4798812"/>
              <a:gd name="connsiteY4" fmla="*/ 474165 h 4479908"/>
              <a:gd name="connsiteX5" fmla="*/ 4449864 w 4798812"/>
              <a:gd name="connsiteY5" fmla="*/ 2582365 h 4479908"/>
              <a:gd name="connsiteX6" fmla="*/ 4770404 w 4798812"/>
              <a:gd name="connsiteY6" fmla="*/ 3731987 h 4479908"/>
              <a:gd name="connsiteX7" fmla="*/ 3912256 w 4798812"/>
              <a:gd name="connsiteY7" fmla="*/ 4397579 h 4479908"/>
              <a:gd name="connsiteX8" fmla="*/ 2392679 w 4798812"/>
              <a:gd name="connsiteY8" fmla="*/ 4479908 h 4479908"/>
              <a:gd name="connsiteX9" fmla="*/ 693839 w 4798812"/>
              <a:gd name="connsiteY9" fmla="*/ 4369890 h 4479908"/>
              <a:gd name="connsiteX10" fmla="*/ 2118 w 4798812"/>
              <a:gd name="connsiteY10" fmla="*/ 3598348 h 4479908"/>
              <a:gd name="connsiteX0" fmla="*/ 2118 w 4798812"/>
              <a:gd name="connsiteY0" fmla="*/ 3598348 h 4479908"/>
              <a:gd name="connsiteX1" fmla="*/ 344589 w 4798812"/>
              <a:gd name="connsiteY1" fmla="*/ 2579190 h 4479908"/>
              <a:gd name="connsiteX2" fmla="*/ 1651758 w 4798812"/>
              <a:gd name="connsiteY2" fmla="*/ 422461 h 4479908"/>
              <a:gd name="connsiteX3" fmla="*/ 2370241 w 4798812"/>
              <a:gd name="connsiteY3" fmla="*/ 186 h 4479908"/>
              <a:gd name="connsiteX4" fmla="*/ 3179864 w 4798812"/>
              <a:gd name="connsiteY4" fmla="*/ 474165 h 4479908"/>
              <a:gd name="connsiteX5" fmla="*/ 4449864 w 4798812"/>
              <a:gd name="connsiteY5" fmla="*/ 2582365 h 4479908"/>
              <a:gd name="connsiteX6" fmla="*/ 4770404 w 4798812"/>
              <a:gd name="connsiteY6" fmla="*/ 3731987 h 4479908"/>
              <a:gd name="connsiteX7" fmla="*/ 3912256 w 4798812"/>
              <a:gd name="connsiteY7" fmla="*/ 4397579 h 4479908"/>
              <a:gd name="connsiteX8" fmla="*/ 2392679 w 4798812"/>
              <a:gd name="connsiteY8" fmla="*/ 4479908 h 4479908"/>
              <a:gd name="connsiteX9" fmla="*/ 693839 w 4798812"/>
              <a:gd name="connsiteY9" fmla="*/ 4369890 h 4479908"/>
              <a:gd name="connsiteX10" fmla="*/ 2118 w 4798812"/>
              <a:gd name="connsiteY10" fmla="*/ 3598348 h 4479908"/>
              <a:gd name="connsiteX0" fmla="*/ 2118 w 4798812"/>
              <a:gd name="connsiteY0" fmla="*/ 3598348 h 4479908"/>
              <a:gd name="connsiteX1" fmla="*/ 344589 w 4798812"/>
              <a:gd name="connsiteY1" fmla="*/ 2579190 h 4479908"/>
              <a:gd name="connsiteX2" fmla="*/ 1651758 w 4798812"/>
              <a:gd name="connsiteY2" fmla="*/ 422461 h 4479908"/>
              <a:gd name="connsiteX3" fmla="*/ 2370241 w 4798812"/>
              <a:gd name="connsiteY3" fmla="*/ 186 h 4479908"/>
              <a:gd name="connsiteX4" fmla="*/ 3179864 w 4798812"/>
              <a:gd name="connsiteY4" fmla="*/ 474165 h 4479908"/>
              <a:gd name="connsiteX5" fmla="*/ 4449864 w 4798812"/>
              <a:gd name="connsiteY5" fmla="*/ 2582365 h 4479908"/>
              <a:gd name="connsiteX6" fmla="*/ 4770404 w 4798812"/>
              <a:gd name="connsiteY6" fmla="*/ 3731987 h 4479908"/>
              <a:gd name="connsiteX7" fmla="*/ 3912256 w 4798812"/>
              <a:gd name="connsiteY7" fmla="*/ 4397579 h 4479908"/>
              <a:gd name="connsiteX8" fmla="*/ 2392679 w 4798812"/>
              <a:gd name="connsiteY8" fmla="*/ 4479908 h 4479908"/>
              <a:gd name="connsiteX9" fmla="*/ 693839 w 4798812"/>
              <a:gd name="connsiteY9" fmla="*/ 4369890 h 4479908"/>
              <a:gd name="connsiteX10" fmla="*/ 2118 w 4798812"/>
              <a:gd name="connsiteY10" fmla="*/ 3598348 h 4479908"/>
              <a:gd name="connsiteX0" fmla="*/ 2118 w 4798812"/>
              <a:gd name="connsiteY0" fmla="*/ 3598348 h 4479908"/>
              <a:gd name="connsiteX1" fmla="*/ 344589 w 4798812"/>
              <a:gd name="connsiteY1" fmla="*/ 2579190 h 4479908"/>
              <a:gd name="connsiteX2" fmla="*/ 1651758 w 4798812"/>
              <a:gd name="connsiteY2" fmla="*/ 422461 h 4479908"/>
              <a:gd name="connsiteX3" fmla="*/ 2370241 w 4798812"/>
              <a:gd name="connsiteY3" fmla="*/ 186 h 4479908"/>
              <a:gd name="connsiteX4" fmla="*/ 3179864 w 4798812"/>
              <a:gd name="connsiteY4" fmla="*/ 474165 h 4479908"/>
              <a:gd name="connsiteX5" fmla="*/ 4449864 w 4798812"/>
              <a:gd name="connsiteY5" fmla="*/ 2582365 h 4479908"/>
              <a:gd name="connsiteX6" fmla="*/ 4770404 w 4798812"/>
              <a:gd name="connsiteY6" fmla="*/ 3731987 h 4479908"/>
              <a:gd name="connsiteX7" fmla="*/ 3912256 w 4798812"/>
              <a:gd name="connsiteY7" fmla="*/ 4397579 h 4479908"/>
              <a:gd name="connsiteX8" fmla="*/ 2392679 w 4798812"/>
              <a:gd name="connsiteY8" fmla="*/ 4479908 h 4479908"/>
              <a:gd name="connsiteX9" fmla="*/ 693839 w 4798812"/>
              <a:gd name="connsiteY9" fmla="*/ 4369890 h 4479908"/>
              <a:gd name="connsiteX10" fmla="*/ 2118 w 4798812"/>
              <a:gd name="connsiteY10" fmla="*/ 3598348 h 4479908"/>
              <a:gd name="connsiteX0" fmla="*/ 2118 w 4798812"/>
              <a:gd name="connsiteY0" fmla="*/ 3598348 h 4479908"/>
              <a:gd name="connsiteX1" fmla="*/ 344589 w 4798812"/>
              <a:gd name="connsiteY1" fmla="*/ 2579190 h 4479908"/>
              <a:gd name="connsiteX2" fmla="*/ 1651758 w 4798812"/>
              <a:gd name="connsiteY2" fmla="*/ 422461 h 4479908"/>
              <a:gd name="connsiteX3" fmla="*/ 2370241 w 4798812"/>
              <a:gd name="connsiteY3" fmla="*/ 186 h 4479908"/>
              <a:gd name="connsiteX4" fmla="*/ 3179864 w 4798812"/>
              <a:gd name="connsiteY4" fmla="*/ 474165 h 4479908"/>
              <a:gd name="connsiteX5" fmla="*/ 4449864 w 4798812"/>
              <a:gd name="connsiteY5" fmla="*/ 2582365 h 4479908"/>
              <a:gd name="connsiteX6" fmla="*/ 4770404 w 4798812"/>
              <a:gd name="connsiteY6" fmla="*/ 3731987 h 4479908"/>
              <a:gd name="connsiteX7" fmla="*/ 3912256 w 4798812"/>
              <a:gd name="connsiteY7" fmla="*/ 4397579 h 4479908"/>
              <a:gd name="connsiteX8" fmla="*/ 2392679 w 4798812"/>
              <a:gd name="connsiteY8" fmla="*/ 4479908 h 4479908"/>
              <a:gd name="connsiteX9" fmla="*/ 693839 w 4798812"/>
              <a:gd name="connsiteY9" fmla="*/ 4369890 h 4479908"/>
              <a:gd name="connsiteX10" fmla="*/ 2118 w 4798812"/>
              <a:gd name="connsiteY10" fmla="*/ 3598348 h 4479908"/>
              <a:gd name="connsiteX0" fmla="*/ 2118 w 4797181"/>
              <a:gd name="connsiteY0" fmla="*/ 3598348 h 4479908"/>
              <a:gd name="connsiteX1" fmla="*/ 344589 w 4797181"/>
              <a:gd name="connsiteY1" fmla="*/ 2579190 h 4479908"/>
              <a:gd name="connsiteX2" fmla="*/ 1651758 w 4797181"/>
              <a:gd name="connsiteY2" fmla="*/ 422461 h 4479908"/>
              <a:gd name="connsiteX3" fmla="*/ 2370241 w 4797181"/>
              <a:gd name="connsiteY3" fmla="*/ 186 h 4479908"/>
              <a:gd name="connsiteX4" fmla="*/ 3179864 w 4797181"/>
              <a:gd name="connsiteY4" fmla="*/ 474165 h 4479908"/>
              <a:gd name="connsiteX5" fmla="*/ 4449864 w 4797181"/>
              <a:gd name="connsiteY5" fmla="*/ 2582365 h 4479908"/>
              <a:gd name="connsiteX6" fmla="*/ 4770404 w 4797181"/>
              <a:gd name="connsiteY6" fmla="*/ 3731987 h 4479908"/>
              <a:gd name="connsiteX7" fmla="*/ 3912256 w 4797181"/>
              <a:gd name="connsiteY7" fmla="*/ 4397579 h 4479908"/>
              <a:gd name="connsiteX8" fmla="*/ 2392679 w 4797181"/>
              <a:gd name="connsiteY8" fmla="*/ 4479908 h 4479908"/>
              <a:gd name="connsiteX9" fmla="*/ 693839 w 4797181"/>
              <a:gd name="connsiteY9" fmla="*/ 4369890 h 4479908"/>
              <a:gd name="connsiteX10" fmla="*/ 2118 w 4797181"/>
              <a:gd name="connsiteY10" fmla="*/ 3598348 h 4479908"/>
              <a:gd name="connsiteX0" fmla="*/ 2118 w 4792335"/>
              <a:gd name="connsiteY0" fmla="*/ 3598348 h 4479908"/>
              <a:gd name="connsiteX1" fmla="*/ 344589 w 4792335"/>
              <a:gd name="connsiteY1" fmla="*/ 2579190 h 4479908"/>
              <a:gd name="connsiteX2" fmla="*/ 1651758 w 4792335"/>
              <a:gd name="connsiteY2" fmla="*/ 422461 h 4479908"/>
              <a:gd name="connsiteX3" fmla="*/ 2370241 w 4792335"/>
              <a:gd name="connsiteY3" fmla="*/ 186 h 4479908"/>
              <a:gd name="connsiteX4" fmla="*/ 3179864 w 4792335"/>
              <a:gd name="connsiteY4" fmla="*/ 474165 h 4479908"/>
              <a:gd name="connsiteX5" fmla="*/ 4449864 w 4792335"/>
              <a:gd name="connsiteY5" fmla="*/ 2582365 h 4479908"/>
              <a:gd name="connsiteX6" fmla="*/ 4770404 w 4792335"/>
              <a:gd name="connsiteY6" fmla="*/ 3731987 h 4479908"/>
              <a:gd name="connsiteX7" fmla="*/ 3912256 w 4792335"/>
              <a:gd name="connsiteY7" fmla="*/ 4397579 h 4479908"/>
              <a:gd name="connsiteX8" fmla="*/ 2392679 w 4792335"/>
              <a:gd name="connsiteY8" fmla="*/ 4479908 h 4479908"/>
              <a:gd name="connsiteX9" fmla="*/ 693839 w 4792335"/>
              <a:gd name="connsiteY9" fmla="*/ 4369890 h 4479908"/>
              <a:gd name="connsiteX10" fmla="*/ 2118 w 4792335"/>
              <a:gd name="connsiteY10" fmla="*/ 3598348 h 4479908"/>
              <a:gd name="connsiteX0" fmla="*/ 2118 w 4797181"/>
              <a:gd name="connsiteY0" fmla="*/ 3598348 h 4479908"/>
              <a:gd name="connsiteX1" fmla="*/ 344589 w 4797181"/>
              <a:gd name="connsiteY1" fmla="*/ 2579190 h 4479908"/>
              <a:gd name="connsiteX2" fmla="*/ 1651758 w 4797181"/>
              <a:gd name="connsiteY2" fmla="*/ 422461 h 4479908"/>
              <a:gd name="connsiteX3" fmla="*/ 2370241 w 4797181"/>
              <a:gd name="connsiteY3" fmla="*/ 186 h 4479908"/>
              <a:gd name="connsiteX4" fmla="*/ 3179864 w 4797181"/>
              <a:gd name="connsiteY4" fmla="*/ 474165 h 4479908"/>
              <a:gd name="connsiteX5" fmla="*/ 4449864 w 4797181"/>
              <a:gd name="connsiteY5" fmla="*/ 2582365 h 4479908"/>
              <a:gd name="connsiteX6" fmla="*/ 4770404 w 4797181"/>
              <a:gd name="connsiteY6" fmla="*/ 3731987 h 4479908"/>
              <a:gd name="connsiteX7" fmla="*/ 3912256 w 4797181"/>
              <a:gd name="connsiteY7" fmla="*/ 4397579 h 4479908"/>
              <a:gd name="connsiteX8" fmla="*/ 2392679 w 4797181"/>
              <a:gd name="connsiteY8" fmla="*/ 4479908 h 4479908"/>
              <a:gd name="connsiteX9" fmla="*/ 693839 w 4797181"/>
              <a:gd name="connsiteY9" fmla="*/ 4369890 h 4479908"/>
              <a:gd name="connsiteX10" fmla="*/ 2118 w 4797181"/>
              <a:gd name="connsiteY10" fmla="*/ 3598348 h 44799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97181" h="4479908">
                <a:moveTo>
                  <a:pt x="2118" y="3598348"/>
                </a:moveTo>
                <a:cubicBezTo>
                  <a:pt x="-18133" y="3306254"/>
                  <a:pt x="107665" y="3090359"/>
                  <a:pt x="344589" y="2579190"/>
                </a:cubicBezTo>
                <a:cubicBezTo>
                  <a:pt x="888262" y="1479280"/>
                  <a:pt x="1282710" y="963571"/>
                  <a:pt x="1651758" y="422461"/>
                </a:cubicBezTo>
                <a:cubicBezTo>
                  <a:pt x="1825253" y="152967"/>
                  <a:pt x="2116615" y="5327"/>
                  <a:pt x="2370241" y="186"/>
                </a:cubicBezTo>
                <a:cubicBezTo>
                  <a:pt x="2623867" y="-4955"/>
                  <a:pt x="2930627" y="94602"/>
                  <a:pt x="3179864" y="474165"/>
                </a:cubicBezTo>
                <a:cubicBezTo>
                  <a:pt x="3518001" y="907703"/>
                  <a:pt x="4053221" y="1759713"/>
                  <a:pt x="4449864" y="2582365"/>
                </a:cubicBezTo>
                <a:cubicBezTo>
                  <a:pt x="4717599" y="3137657"/>
                  <a:pt x="4860005" y="3413576"/>
                  <a:pt x="4770404" y="3731987"/>
                </a:cubicBezTo>
                <a:cubicBezTo>
                  <a:pt x="4582267" y="4318393"/>
                  <a:pt x="4159687" y="4362712"/>
                  <a:pt x="3912256" y="4397579"/>
                </a:cubicBezTo>
                <a:cubicBezTo>
                  <a:pt x="3381290" y="4446623"/>
                  <a:pt x="3169474" y="4473708"/>
                  <a:pt x="2392679" y="4479908"/>
                </a:cubicBezTo>
                <a:cubicBezTo>
                  <a:pt x="1856276" y="4477410"/>
                  <a:pt x="1000191" y="4427917"/>
                  <a:pt x="693839" y="4369890"/>
                </a:cubicBezTo>
                <a:cubicBezTo>
                  <a:pt x="387487" y="4311863"/>
                  <a:pt x="63501" y="4073540"/>
                  <a:pt x="2118" y="3598348"/>
                </a:cubicBez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18000" r="-14000"/>
            </a:stretch>
          </a:blipFill>
          <a:ln w="12700">
            <a:noFill/>
          </a:ln>
        </p:spPr>
        <p:txBody>
          <a:bodyPr anchor="ctr"/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Picture Placeholder 11"/>
          <p:cNvSpPr>
            <a:spLocks noGrp="1"/>
          </p:cNvSpPr>
          <p:nvPr userDrawn="1">
            <p:ph type="pic" sz="quarter" idx="11"/>
          </p:nvPr>
        </p:nvSpPr>
        <p:spPr>
          <a:xfrm>
            <a:off x="5838825" y="1"/>
            <a:ext cx="3028950" cy="2047952"/>
          </a:xfrm>
          <a:custGeom>
            <a:avLst/>
            <a:gdLst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3028950 w 3028950"/>
              <a:gd name="connsiteY2" fmla="*/ 2044700 h 2044700"/>
              <a:gd name="connsiteX3" fmla="*/ 0 w 3028950"/>
              <a:gd name="connsiteY3" fmla="*/ 2044700 h 2044700"/>
              <a:gd name="connsiteX4" fmla="*/ 0 w 3028950"/>
              <a:gd name="connsiteY4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3028950 w 3028950"/>
              <a:gd name="connsiteY2" fmla="*/ 2044700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97225"/>
              <a:gd name="connsiteY0" fmla="*/ 0 h 2044700"/>
              <a:gd name="connsiteX1" fmla="*/ 3028950 w 3097225"/>
              <a:gd name="connsiteY1" fmla="*/ 0 h 2044700"/>
              <a:gd name="connsiteX2" fmla="*/ 2076450 w 3097225"/>
              <a:gd name="connsiteY2" fmla="*/ 1673225 h 2044700"/>
              <a:gd name="connsiteX3" fmla="*/ 1492250 w 3097225"/>
              <a:gd name="connsiteY3" fmla="*/ 2044700 h 2044700"/>
              <a:gd name="connsiteX4" fmla="*/ 0 w 3097225"/>
              <a:gd name="connsiteY4" fmla="*/ 2044700 h 2044700"/>
              <a:gd name="connsiteX5" fmla="*/ 0 w 3097225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97763"/>
              <a:gd name="connsiteY0" fmla="*/ 0 h 2044700"/>
              <a:gd name="connsiteX1" fmla="*/ 3028950 w 3097763"/>
              <a:gd name="connsiteY1" fmla="*/ 0 h 2044700"/>
              <a:gd name="connsiteX2" fmla="*/ 2076450 w 3097763"/>
              <a:gd name="connsiteY2" fmla="*/ 1673225 h 2044700"/>
              <a:gd name="connsiteX3" fmla="*/ 1492250 w 3097763"/>
              <a:gd name="connsiteY3" fmla="*/ 2044700 h 2044700"/>
              <a:gd name="connsiteX4" fmla="*/ 0 w 3097763"/>
              <a:gd name="connsiteY4" fmla="*/ 2044700 h 2044700"/>
              <a:gd name="connsiteX5" fmla="*/ 0 w 3097763"/>
              <a:gd name="connsiteY5" fmla="*/ 0 h 2044700"/>
              <a:gd name="connsiteX0" fmla="*/ 0 w 3096834"/>
              <a:gd name="connsiteY0" fmla="*/ 0 h 2044700"/>
              <a:gd name="connsiteX1" fmla="*/ 3028950 w 3096834"/>
              <a:gd name="connsiteY1" fmla="*/ 0 h 2044700"/>
              <a:gd name="connsiteX2" fmla="*/ 2076450 w 3096834"/>
              <a:gd name="connsiteY2" fmla="*/ 1673225 h 2044700"/>
              <a:gd name="connsiteX3" fmla="*/ 1492250 w 3096834"/>
              <a:gd name="connsiteY3" fmla="*/ 2044700 h 2044700"/>
              <a:gd name="connsiteX4" fmla="*/ 0 w 3096834"/>
              <a:gd name="connsiteY4" fmla="*/ 2044700 h 2044700"/>
              <a:gd name="connsiteX5" fmla="*/ 0 w 3096834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6111"/>
              <a:gd name="connsiteX1" fmla="*/ 3028950 w 3028950"/>
              <a:gd name="connsiteY1" fmla="*/ 0 h 2046111"/>
              <a:gd name="connsiteX2" fmla="*/ 2076450 w 3028950"/>
              <a:gd name="connsiteY2" fmla="*/ 1673225 h 2046111"/>
              <a:gd name="connsiteX3" fmla="*/ 1492250 w 3028950"/>
              <a:gd name="connsiteY3" fmla="*/ 2044700 h 2046111"/>
              <a:gd name="connsiteX4" fmla="*/ 0 w 3028950"/>
              <a:gd name="connsiteY4" fmla="*/ 2044700 h 2046111"/>
              <a:gd name="connsiteX5" fmla="*/ 0 w 3028950"/>
              <a:gd name="connsiteY5" fmla="*/ 0 h 2046111"/>
              <a:gd name="connsiteX0" fmla="*/ 0 w 3028950"/>
              <a:gd name="connsiteY0" fmla="*/ 0 h 2044721"/>
              <a:gd name="connsiteX1" fmla="*/ 3028950 w 3028950"/>
              <a:gd name="connsiteY1" fmla="*/ 0 h 2044721"/>
              <a:gd name="connsiteX2" fmla="*/ 2076450 w 3028950"/>
              <a:gd name="connsiteY2" fmla="*/ 1673225 h 2044721"/>
              <a:gd name="connsiteX3" fmla="*/ 1492250 w 3028950"/>
              <a:gd name="connsiteY3" fmla="*/ 2044700 h 2044721"/>
              <a:gd name="connsiteX4" fmla="*/ 965200 w 3028950"/>
              <a:gd name="connsiteY4" fmla="*/ 1692275 h 2044721"/>
              <a:gd name="connsiteX5" fmla="*/ 0 w 3028950"/>
              <a:gd name="connsiteY5" fmla="*/ 0 h 2044721"/>
              <a:gd name="connsiteX0" fmla="*/ 0 w 3028950"/>
              <a:gd name="connsiteY0" fmla="*/ 0 h 2084939"/>
              <a:gd name="connsiteX1" fmla="*/ 3028950 w 3028950"/>
              <a:gd name="connsiteY1" fmla="*/ 0 h 2084939"/>
              <a:gd name="connsiteX2" fmla="*/ 2076450 w 3028950"/>
              <a:gd name="connsiteY2" fmla="*/ 1673225 h 2084939"/>
              <a:gd name="connsiteX3" fmla="*/ 1492250 w 3028950"/>
              <a:gd name="connsiteY3" fmla="*/ 2044700 h 2084939"/>
              <a:gd name="connsiteX4" fmla="*/ 965200 w 3028950"/>
              <a:gd name="connsiteY4" fmla="*/ 1692275 h 2084939"/>
              <a:gd name="connsiteX5" fmla="*/ 0 w 3028950"/>
              <a:gd name="connsiteY5" fmla="*/ 0 h 2084939"/>
              <a:gd name="connsiteX0" fmla="*/ 0 w 3028950"/>
              <a:gd name="connsiteY0" fmla="*/ 0 h 2044749"/>
              <a:gd name="connsiteX1" fmla="*/ 3028950 w 3028950"/>
              <a:gd name="connsiteY1" fmla="*/ 0 h 2044749"/>
              <a:gd name="connsiteX2" fmla="*/ 2076450 w 3028950"/>
              <a:gd name="connsiteY2" fmla="*/ 1673225 h 2044749"/>
              <a:gd name="connsiteX3" fmla="*/ 1492250 w 3028950"/>
              <a:gd name="connsiteY3" fmla="*/ 2044700 h 2044749"/>
              <a:gd name="connsiteX4" fmla="*/ 965200 w 3028950"/>
              <a:gd name="connsiteY4" fmla="*/ 1692275 h 2044749"/>
              <a:gd name="connsiteX5" fmla="*/ 0 w 3028950"/>
              <a:gd name="connsiteY5" fmla="*/ 0 h 2044749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965200 w 3028950"/>
              <a:gd name="connsiteY4" fmla="*/ 1692275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949325 w 3028950"/>
              <a:gd name="connsiteY4" fmla="*/ 1673225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949325 w 3028950"/>
              <a:gd name="connsiteY4" fmla="*/ 1673225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949325 w 3028950"/>
              <a:gd name="connsiteY4" fmla="*/ 1673225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949325 w 3028950"/>
              <a:gd name="connsiteY4" fmla="*/ 1673225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949325 w 3028950"/>
              <a:gd name="connsiteY4" fmla="*/ 1673225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949325 w 3028950"/>
              <a:gd name="connsiteY4" fmla="*/ 1673225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949325 w 3028950"/>
              <a:gd name="connsiteY4" fmla="*/ 1673225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949325 w 3028950"/>
              <a:gd name="connsiteY4" fmla="*/ 1673225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949325 w 3028950"/>
              <a:gd name="connsiteY4" fmla="*/ 1673225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949325 w 3028950"/>
              <a:gd name="connsiteY4" fmla="*/ 1673225 h 2044700"/>
              <a:gd name="connsiteX5" fmla="*/ 0 w 3028950"/>
              <a:gd name="connsiteY5" fmla="*/ 0 h 2044700"/>
              <a:gd name="connsiteX0" fmla="*/ 0 w 3028950"/>
              <a:gd name="connsiteY0" fmla="*/ 0 h 2047875"/>
              <a:gd name="connsiteX1" fmla="*/ 3028950 w 3028950"/>
              <a:gd name="connsiteY1" fmla="*/ 0 h 2047875"/>
              <a:gd name="connsiteX2" fmla="*/ 2076450 w 3028950"/>
              <a:gd name="connsiteY2" fmla="*/ 1673225 h 2047875"/>
              <a:gd name="connsiteX3" fmla="*/ 1511300 w 3028950"/>
              <a:gd name="connsiteY3" fmla="*/ 2047875 h 2047875"/>
              <a:gd name="connsiteX4" fmla="*/ 949325 w 3028950"/>
              <a:gd name="connsiteY4" fmla="*/ 1673225 h 2047875"/>
              <a:gd name="connsiteX5" fmla="*/ 0 w 3028950"/>
              <a:gd name="connsiteY5" fmla="*/ 0 h 2047875"/>
              <a:gd name="connsiteX0" fmla="*/ 0 w 3028950"/>
              <a:gd name="connsiteY0" fmla="*/ 0 h 2047875"/>
              <a:gd name="connsiteX1" fmla="*/ 3028950 w 3028950"/>
              <a:gd name="connsiteY1" fmla="*/ 0 h 2047875"/>
              <a:gd name="connsiteX2" fmla="*/ 2076450 w 3028950"/>
              <a:gd name="connsiteY2" fmla="*/ 1673225 h 2047875"/>
              <a:gd name="connsiteX3" fmla="*/ 1511300 w 3028950"/>
              <a:gd name="connsiteY3" fmla="*/ 2047875 h 2047875"/>
              <a:gd name="connsiteX4" fmla="*/ 949325 w 3028950"/>
              <a:gd name="connsiteY4" fmla="*/ 1673225 h 2047875"/>
              <a:gd name="connsiteX5" fmla="*/ 0 w 3028950"/>
              <a:gd name="connsiteY5" fmla="*/ 0 h 2047875"/>
              <a:gd name="connsiteX0" fmla="*/ 0 w 3028950"/>
              <a:gd name="connsiteY0" fmla="*/ 0 h 2047875"/>
              <a:gd name="connsiteX1" fmla="*/ 3028950 w 3028950"/>
              <a:gd name="connsiteY1" fmla="*/ 0 h 2047875"/>
              <a:gd name="connsiteX2" fmla="*/ 2076450 w 3028950"/>
              <a:gd name="connsiteY2" fmla="*/ 1673225 h 2047875"/>
              <a:gd name="connsiteX3" fmla="*/ 1511300 w 3028950"/>
              <a:gd name="connsiteY3" fmla="*/ 2047875 h 2047875"/>
              <a:gd name="connsiteX4" fmla="*/ 949325 w 3028950"/>
              <a:gd name="connsiteY4" fmla="*/ 1673225 h 2047875"/>
              <a:gd name="connsiteX5" fmla="*/ 0 w 3028950"/>
              <a:gd name="connsiteY5" fmla="*/ 0 h 2047875"/>
              <a:gd name="connsiteX0" fmla="*/ 0 w 3028950"/>
              <a:gd name="connsiteY0" fmla="*/ 0 h 2047875"/>
              <a:gd name="connsiteX1" fmla="*/ 3028950 w 3028950"/>
              <a:gd name="connsiteY1" fmla="*/ 0 h 2047875"/>
              <a:gd name="connsiteX2" fmla="*/ 2076450 w 3028950"/>
              <a:gd name="connsiteY2" fmla="*/ 1673225 h 2047875"/>
              <a:gd name="connsiteX3" fmla="*/ 1511300 w 3028950"/>
              <a:gd name="connsiteY3" fmla="*/ 2047875 h 2047875"/>
              <a:gd name="connsiteX4" fmla="*/ 949325 w 3028950"/>
              <a:gd name="connsiteY4" fmla="*/ 1673225 h 2047875"/>
              <a:gd name="connsiteX5" fmla="*/ 0 w 3028950"/>
              <a:gd name="connsiteY5" fmla="*/ 0 h 2047875"/>
              <a:gd name="connsiteX0" fmla="*/ 0 w 3028950"/>
              <a:gd name="connsiteY0" fmla="*/ 0 h 2047875"/>
              <a:gd name="connsiteX1" fmla="*/ 3028950 w 3028950"/>
              <a:gd name="connsiteY1" fmla="*/ 0 h 2047875"/>
              <a:gd name="connsiteX2" fmla="*/ 2076450 w 3028950"/>
              <a:gd name="connsiteY2" fmla="*/ 1673225 h 2047875"/>
              <a:gd name="connsiteX3" fmla="*/ 1511300 w 3028950"/>
              <a:gd name="connsiteY3" fmla="*/ 2047875 h 2047875"/>
              <a:gd name="connsiteX4" fmla="*/ 949325 w 3028950"/>
              <a:gd name="connsiteY4" fmla="*/ 1673225 h 2047875"/>
              <a:gd name="connsiteX5" fmla="*/ 0 w 3028950"/>
              <a:gd name="connsiteY5" fmla="*/ 0 h 2047875"/>
              <a:gd name="connsiteX0" fmla="*/ 0 w 3028950"/>
              <a:gd name="connsiteY0" fmla="*/ 0 h 2047875"/>
              <a:gd name="connsiteX1" fmla="*/ 3028950 w 3028950"/>
              <a:gd name="connsiteY1" fmla="*/ 0 h 2047875"/>
              <a:gd name="connsiteX2" fmla="*/ 2076450 w 3028950"/>
              <a:gd name="connsiteY2" fmla="*/ 1673225 h 2047875"/>
              <a:gd name="connsiteX3" fmla="*/ 1511300 w 3028950"/>
              <a:gd name="connsiteY3" fmla="*/ 2047875 h 2047875"/>
              <a:gd name="connsiteX4" fmla="*/ 949325 w 3028950"/>
              <a:gd name="connsiteY4" fmla="*/ 1673225 h 2047875"/>
              <a:gd name="connsiteX5" fmla="*/ 0 w 3028950"/>
              <a:gd name="connsiteY5" fmla="*/ 0 h 2047875"/>
              <a:gd name="connsiteX0" fmla="*/ 0 w 3028950"/>
              <a:gd name="connsiteY0" fmla="*/ 0 h 2054038"/>
              <a:gd name="connsiteX1" fmla="*/ 3028950 w 3028950"/>
              <a:gd name="connsiteY1" fmla="*/ 0 h 2054038"/>
              <a:gd name="connsiteX2" fmla="*/ 2076450 w 3028950"/>
              <a:gd name="connsiteY2" fmla="*/ 1673225 h 2054038"/>
              <a:gd name="connsiteX3" fmla="*/ 1511300 w 3028950"/>
              <a:gd name="connsiteY3" fmla="*/ 2047875 h 2054038"/>
              <a:gd name="connsiteX4" fmla="*/ 949325 w 3028950"/>
              <a:gd name="connsiteY4" fmla="*/ 1673225 h 2054038"/>
              <a:gd name="connsiteX5" fmla="*/ 0 w 3028950"/>
              <a:gd name="connsiteY5" fmla="*/ 0 h 2054038"/>
              <a:gd name="connsiteX0" fmla="*/ 0 w 3028950"/>
              <a:gd name="connsiteY0" fmla="*/ 0 h 2047952"/>
              <a:gd name="connsiteX1" fmla="*/ 3028950 w 3028950"/>
              <a:gd name="connsiteY1" fmla="*/ 0 h 2047952"/>
              <a:gd name="connsiteX2" fmla="*/ 2076450 w 3028950"/>
              <a:gd name="connsiteY2" fmla="*/ 1673225 h 2047952"/>
              <a:gd name="connsiteX3" fmla="*/ 1511300 w 3028950"/>
              <a:gd name="connsiteY3" fmla="*/ 2047875 h 2047952"/>
              <a:gd name="connsiteX4" fmla="*/ 949325 w 3028950"/>
              <a:gd name="connsiteY4" fmla="*/ 1673225 h 2047952"/>
              <a:gd name="connsiteX5" fmla="*/ 0 w 3028950"/>
              <a:gd name="connsiteY5" fmla="*/ 0 h 2047952"/>
              <a:gd name="connsiteX0" fmla="*/ 0 w 3028950"/>
              <a:gd name="connsiteY0" fmla="*/ 0 h 2047875"/>
              <a:gd name="connsiteX1" fmla="*/ 3028950 w 3028950"/>
              <a:gd name="connsiteY1" fmla="*/ 0 h 2047875"/>
              <a:gd name="connsiteX2" fmla="*/ 2076450 w 3028950"/>
              <a:gd name="connsiteY2" fmla="*/ 1673225 h 2047875"/>
              <a:gd name="connsiteX3" fmla="*/ 1511300 w 3028950"/>
              <a:gd name="connsiteY3" fmla="*/ 2047875 h 2047875"/>
              <a:gd name="connsiteX4" fmla="*/ 949325 w 3028950"/>
              <a:gd name="connsiteY4" fmla="*/ 1673225 h 2047875"/>
              <a:gd name="connsiteX5" fmla="*/ 0 w 3028950"/>
              <a:gd name="connsiteY5" fmla="*/ 0 h 2047875"/>
              <a:gd name="connsiteX0" fmla="*/ 0 w 3028950"/>
              <a:gd name="connsiteY0" fmla="*/ 0 h 2047952"/>
              <a:gd name="connsiteX1" fmla="*/ 3028950 w 3028950"/>
              <a:gd name="connsiteY1" fmla="*/ 0 h 2047952"/>
              <a:gd name="connsiteX2" fmla="*/ 2076450 w 3028950"/>
              <a:gd name="connsiteY2" fmla="*/ 1673225 h 2047952"/>
              <a:gd name="connsiteX3" fmla="*/ 1511300 w 3028950"/>
              <a:gd name="connsiteY3" fmla="*/ 2047875 h 2047952"/>
              <a:gd name="connsiteX4" fmla="*/ 949325 w 3028950"/>
              <a:gd name="connsiteY4" fmla="*/ 1673225 h 2047952"/>
              <a:gd name="connsiteX5" fmla="*/ 0 w 3028950"/>
              <a:gd name="connsiteY5" fmla="*/ 0 h 2047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28950" h="2047952">
                <a:moveTo>
                  <a:pt x="0" y="0"/>
                </a:moveTo>
                <a:lnTo>
                  <a:pt x="3028950" y="0"/>
                </a:lnTo>
                <a:cubicBezTo>
                  <a:pt x="2638425" y="856721"/>
                  <a:pt x="2329392" y="1331913"/>
                  <a:pt x="2076450" y="1673225"/>
                </a:cubicBezTo>
                <a:cubicBezTo>
                  <a:pt x="1823508" y="2014537"/>
                  <a:pt x="1694392" y="2044700"/>
                  <a:pt x="1511300" y="2047875"/>
                </a:cubicBezTo>
                <a:cubicBezTo>
                  <a:pt x="1328208" y="2051050"/>
                  <a:pt x="1140883" y="1957388"/>
                  <a:pt x="949325" y="1673225"/>
                </a:cubicBezTo>
                <a:cubicBezTo>
                  <a:pt x="757767" y="1389062"/>
                  <a:pt x="318558" y="748242"/>
                  <a:pt x="0" y="0"/>
                </a:cubicBezTo>
                <a:close/>
              </a:path>
            </a:pathLst>
          </a:custGeom>
          <a:blipFill dpi="0"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6000" r="1000"/>
            </a:stretch>
          </a:blipFill>
          <a:ln w="12700">
            <a:noFill/>
          </a:ln>
        </p:spPr>
        <p:txBody>
          <a:bodyPr anchor="ctr"/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C76825C-3504-A641-97DA-5A09BA346A2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5800" y="903202"/>
            <a:ext cx="2013315" cy="1144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6486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685800" y="2566651"/>
            <a:ext cx="6172336" cy="1463042"/>
          </a:xfrm>
        </p:spPr>
        <p:txBody>
          <a:bodyPr anchor="t"/>
          <a:lstStyle>
            <a:lvl1pPr algn="l">
              <a:lnSpc>
                <a:spcPct val="95000"/>
              </a:lnSpc>
              <a:defRPr sz="480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1" y="4049488"/>
            <a:ext cx="5033682" cy="1752600"/>
          </a:xfrm>
        </p:spPr>
        <p:txBody>
          <a:bodyPr/>
          <a:lstStyle>
            <a:lvl1pPr marL="0" indent="0" algn="l">
              <a:lnSpc>
                <a:spcPct val="95000"/>
              </a:lnSpc>
              <a:buNone/>
              <a:defRPr sz="200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613661B-BDF6-4886-9637-45A044FD026A}"/>
              </a:ext>
            </a:extLst>
          </p:cNvPr>
          <p:cNvSpPr/>
          <p:nvPr userDrawn="1"/>
        </p:nvSpPr>
        <p:spPr>
          <a:xfrm>
            <a:off x="0" y="0"/>
            <a:ext cx="12192000" cy="2013438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A6377E8-8CDB-4C46-8C07-3ACF27B528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74079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2298" y="1730395"/>
            <a:ext cx="5490942" cy="649467"/>
          </a:xfrm>
        </p:spPr>
        <p:txBody>
          <a:bodyPr anchor="b"/>
          <a:lstStyle>
            <a:lvl1pPr algn="l">
              <a:defRPr sz="5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22298" y="2569635"/>
            <a:ext cx="5490942" cy="2056866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1064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42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A8614477-5F90-574E-9844-CD78FF1A1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298" y="1730395"/>
            <a:ext cx="5490942" cy="649467"/>
          </a:xfrm>
        </p:spPr>
        <p:txBody>
          <a:bodyPr anchor="b"/>
          <a:lstStyle>
            <a:lvl1pPr algn="l">
              <a:defRPr sz="5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2D13119-2C79-E64B-BB79-72CF9312B67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22298" y="2569635"/>
            <a:ext cx="5490942" cy="2056866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3045738-4293-D148-A233-2655F51B2C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11953"/>
          <a:stretch/>
        </p:blipFill>
        <p:spPr>
          <a:xfrm>
            <a:off x="0" y="0"/>
            <a:ext cx="12192000" cy="5740797"/>
          </a:xfrm>
          <a:prstGeom prst="rect">
            <a:avLst/>
          </a:prstGeom>
        </p:spPr>
      </p:pic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9F60586-6061-BB46-A1F5-3A6165B94F2B}"/>
              </a:ext>
            </a:extLst>
          </p:cNvPr>
          <p:cNvSpPr>
            <a:spLocks noGrp="1"/>
          </p:cNvSpPr>
          <p:nvPr>
            <p:ph type="body" sz="half" idx="10"/>
          </p:nvPr>
        </p:nvSpPr>
        <p:spPr>
          <a:xfrm>
            <a:off x="674698" y="2722035"/>
            <a:ext cx="5490942" cy="2056866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826303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4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A8614477-5F90-574E-9844-CD78FF1A1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298" y="1730395"/>
            <a:ext cx="5490942" cy="649467"/>
          </a:xfrm>
        </p:spPr>
        <p:txBody>
          <a:bodyPr anchor="b"/>
          <a:lstStyle>
            <a:lvl1pPr algn="l">
              <a:defRPr sz="5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2D13119-2C79-E64B-BB79-72CF9312B67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22298" y="2569635"/>
            <a:ext cx="5490942" cy="2056866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D4F5AF8-FA51-0F42-89BD-EA5400886B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740797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59A9BB18-5788-B24C-AC44-247E9A12E779}"/>
              </a:ext>
            </a:extLst>
          </p:cNvPr>
          <p:cNvSpPr/>
          <p:nvPr userDrawn="1"/>
        </p:nvSpPr>
        <p:spPr>
          <a:xfrm>
            <a:off x="0" y="0"/>
            <a:ext cx="12192000" cy="5740797"/>
          </a:xfrm>
          <a:prstGeom prst="rect">
            <a:avLst/>
          </a:prstGeom>
          <a:solidFill>
            <a:srgbClr val="000000">
              <a:alpha val="2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AC4DBFAA-8DDF-D346-84CF-BBABD5D0895D}"/>
              </a:ext>
            </a:extLst>
          </p:cNvPr>
          <p:cNvSpPr>
            <a:spLocks noGrp="1"/>
          </p:cNvSpPr>
          <p:nvPr>
            <p:ph type="body" sz="half" idx="10"/>
          </p:nvPr>
        </p:nvSpPr>
        <p:spPr>
          <a:xfrm>
            <a:off x="674698" y="2722035"/>
            <a:ext cx="5490942" cy="2056866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272233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4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D94EB91-94C2-7E43-8F11-E8757AA9DF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740797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A8614477-5F90-574E-9844-CD78FF1A1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298" y="1730395"/>
            <a:ext cx="5490942" cy="649467"/>
          </a:xfrm>
        </p:spPr>
        <p:txBody>
          <a:bodyPr anchor="b"/>
          <a:lstStyle>
            <a:lvl1pPr algn="l">
              <a:defRPr sz="5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2D13119-2C79-E64B-BB79-72CF9312B67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22298" y="2569635"/>
            <a:ext cx="5490942" cy="2056866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65124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4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0D4082D3-927A-AA49-A15D-17B25FB432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740797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A8614477-5F90-574E-9844-CD78FF1A1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298" y="1730395"/>
            <a:ext cx="5490942" cy="649467"/>
          </a:xfrm>
        </p:spPr>
        <p:txBody>
          <a:bodyPr anchor="b"/>
          <a:lstStyle>
            <a:lvl1pPr algn="l">
              <a:defRPr sz="5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2D13119-2C79-E64B-BB79-72CF9312B67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22298" y="2569635"/>
            <a:ext cx="5490942" cy="2056866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259997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42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6_SIGMA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CD1B15DD-8927-401D-84A6-89B380B913BF}"/>
              </a:ext>
            </a:extLst>
          </p:cNvPr>
          <p:cNvSpPr/>
          <p:nvPr/>
        </p:nvSpPr>
        <p:spPr>
          <a:xfrm>
            <a:off x="6557320" y="0"/>
            <a:ext cx="5634681" cy="6858000"/>
          </a:xfrm>
          <a:prstGeom prst="rect">
            <a:avLst/>
          </a:prstGeom>
          <a:solidFill>
            <a:schemeClr val="bg1">
              <a:lumMod val="85000"/>
              <a:alpha val="72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240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8A660DA-1C2B-42EF-97AB-1753B066A194}"/>
              </a:ext>
            </a:extLst>
          </p:cNvPr>
          <p:cNvSpPr/>
          <p:nvPr/>
        </p:nvSpPr>
        <p:spPr>
          <a:xfrm>
            <a:off x="0" y="6057875"/>
            <a:ext cx="12192000" cy="547340"/>
          </a:xfrm>
          <a:prstGeom prst="rect">
            <a:avLst/>
          </a:prstGeom>
          <a:solidFill>
            <a:srgbClr val="F0523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6000" rIns="96000" rtlCol="0" anchor="ctr"/>
          <a:lstStyle/>
          <a:p>
            <a:pPr lvl="0" algn="ctr" defTabSz="1219170"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44635FF0-89A9-476D-9BD4-BE80E1AFFD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03792" y="3171326"/>
            <a:ext cx="4691968" cy="2203511"/>
          </a:xfrm>
          <a:prstGeom prst="rect">
            <a:avLst/>
          </a:prstGeom>
        </p:spPr>
        <p:txBody>
          <a:bodyPr anchor="t"/>
          <a:lstStyle>
            <a:lvl1pPr algn="ctr"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ES_trad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79A22F-6783-47CE-BB9D-7A42D7190E9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09067" y="6049679"/>
            <a:ext cx="6986693" cy="5461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9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1B06252-7319-48DE-A517-A03ECE537883}"/>
              </a:ext>
            </a:extLst>
          </p:cNvPr>
          <p:cNvGrpSpPr>
            <a:grpSpLocks noChangeAspect="1"/>
          </p:cNvGrpSpPr>
          <p:nvPr/>
        </p:nvGrpSpPr>
        <p:grpSpPr>
          <a:xfrm>
            <a:off x="8168144" y="1328013"/>
            <a:ext cx="2563264" cy="1457520"/>
            <a:chOff x="1541463" y="2291616"/>
            <a:chExt cx="833732" cy="474074"/>
          </a:xfrm>
          <a:effectLst/>
        </p:grpSpPr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27F5C978-EF71-4FD0-A322-B57CA4DBFD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632" y="2438564"/>
              <a:ext cx="665563" cy="327126"/>
            </a:xfrm>
            <a:custGeom>
              <a:avLst/>
              <a:gdLst>
                <a:gd name="T0" fmla="*/ 2937 w 3463"/>
                <a:gd name="T1" fmla="*/ 123 h 1703"/>
                <a:gd name="T2" fmla="*/ 2655 w 3463"/>
                <a:gd name="T3" fmla="*/ 476 h 1703"/>
                <a:gd name="T4" fmla="*/ 2529 w 3463"/>
                <a:gd name="T5" fmla="*/ 752 h 1703"/>
                <a:gd name="T6" fmla="*/ 2571 w 3463"/>
                <a:gd name="T7" fmla="*/ 266 h 1703"/>
                <a:gd name="T8" fmla="*/ 2529 w 3463"/>
                <a:gd name="T9" fmla="*/ 44 h 1703"/>
                <a:gd name="T10" fmla="*/ 2296 w 3463"/>
                <a:gd name="T11" fmla="*/ 64 h 1703"/>
                <a:gd name="T12" fmla="*/ 2102 w 3463"/>
                <a:gd name="T13" fmla="*/ 101 h 1703"/>
                <a:gd name="T14" fmla="*/ 1962 w 3463"/>
                <a:gd name="T15" fmla="*/ 15 h 1703"/>
                <a:gd name="T16" fmla="*/ 1673 w 3463"/>
                <a:gd name="T17" fmla="*/ 210 h 1703"/>
                <a:gd name="T18" fmla="*/ 1605 w 3463"/>
                <a:gd name="T19" fmla="*/ 37 h 1703"/>
                <a:gd name="T20" fmla="*/ 1447 w 3463"/>
                <a:gd name="T21" fmla="*/ 60 h 1703"/>
                <a:gd name="T22" fmla="*/ 1235 w 3463"/>
                <a:gd name="T23" fmla="*/ 79 h 1703"/>
                <a:gd name="T24" fmla="*/ 1019 w 3463"/>
                <a:gd name="T25" fmla="*/ 31 h 1703"/>
                <a:gd name="T26" fmla="*/ 703 w 3463"/>
                <a:gd name="T27" fmla="*/ 139 h 1703"/>
                <a:gd name="T28" fmla="*/ 437 w 3463"/>
                <a:gd name="T29" fmla="*/ 471 h 1703"/>
                <a:gd name="T30" fmla="*/ 271 w 3463"/>
                <a:gd name="T31" fmla="*/ 734 h 1703"/>
                <a:gd name="T32" fmla="*/ 307 w 3463"/>
                <a:gd name="T33" fmla="*/ 221 h 1703"/>
                <a:gd name="T34" fmla="*/ 261 w 3463"/>
                <a:gd name="T35" fmla="*/ 17 h 1703"/>
                <a:gd name="T36" fmla="*/ 105 w 3463"/>
                <a:gd name="T37" fmla="*/ 30 h 1703"/>
                <a:gd name="T38" fmla="*/ 21 w 3463"/>
                <a:gd name="T39" fmla="*/ 927 h 1703"/>
                <a:gd name="T40" fmla="*/ 185 w 3463"/>
                <a:gd name="T41" fmla="*/ 961 h 1703"/>
                <a:gd name="T42" fmla="*/ 393 w 3463"/>
                <a:gd name="T43" fmla="*/ 839 h 1703"/>
                <a:gd name="T44" fmla="*/ 223 w 3463"/>
                <a:gd name="T45" fmla="*/ 1153 h 1703"/>
                <a:gd name="T46" fmla="*/ 140 w 3463"/>
                <a:gd name="T47" fmla="*/ 1447 h 1703"/>
                <a:gd name="T48" fmla="*/ 283 w 3463"/>
                <a:gd name="T49" fmla="*/ 1659 h 1703"/>
                <a:gd name="T50" fmla="*/ 629 w 3463"/>
                <a:gd name="T51" fmla="*/ 1676 h 1703"/>
                <a:gd name="T52" fmla="*/ 963 w 3463"/>
                <a:gd name="T53" fmla="*/ 1455 h 1703"/>
                <a:gd name="T54" fmla="*/ 1128 w 3463"/>
                <a:gd name="T55" fmla="*/ 1112 h 1703"/>
                <a:gd name="T56" fmla="*/ 1403 w 3463"/>
                <a:gd name="T57" fmla="*/ 251 h 1703"/>
                <a:gd name="T58" fmla="*/ 1401 w 3463"/>
                <a:gd name="T59" fmla="*/ 955 h 1703"/>
                <a:gd name="T60" fmla="*/ 1556 w 3463"/>
                <a:gd name="T61" fmla="*/ 963 h 1703"/>
                <a:gd name="T62" fmla="*/ 1633 w 3463"/>
                <a:gd name="T63" fmla="*/ 552 h 1703"/>
                <a:gd name="T64" fmla="*/ 1846 w 3463"/>
                <a:gd name="T65" fmla="*/ 233 h 1703"/>
                <a:gd name="T66" fmla="*/ 1874 w 3463"/>
                <a:gd name="T67" fmla="*/ 338 h 1703"/>
                <a:gd name="T68" fmla="*/ 1867 w 3463"/>
                <a:gd name="T69" fmla="*/ 962 h 1703"/>
                <a:gd name="T70" fmla="*/ 2040 w 3463"/>
                <a:gd name="T71" fmla="*/ 947 h 1703"/>
                <a:gd name="T72" fmla="*/ 2125 w 3463"/>
                <a:gd name="T73" fmla="*/ 476 h 1703"/>
                <a:gd name="T74" fmla="*/ 2330 w 3463"/>
                <a:gd name="T75" fmla="*/ 229 h 1703"/>
                <a:gd name="T76" fmla="*/ 2278 w 3463"/>
                <a:gd name="T77" fmla="*/ 756 h 1703"/>
                <a:gd name="T78" fmla="*/ 2335 w 3463"/>
                <a:gd name="T79" fmla="*/ 975 h 1703"/>
                <a:gd name="T80" fmla="*/ 2562 w 3463"/>
                <a:gd name="T81" fmla="*/ 909 h 1703"/>
                <a:gd name="T82" fmla="*/ 2691 w 3463"/>
                <a:gd name="T83" fmla="*/ 966 h 1703"/>
                <a:gd name="T84" fmla="*/ 2940 w 3463"/>
                <a:gd name="T85" fmla="*/ 936 h 1703"/>
                <a:gd name="T86" fmla="*/ 3135 w 3463"/>
                <a:gd name="T87" fmla="*/ 907 h 1703"/>
                <a:gd name="T88" fmla="*/ 3243 w 3463"/>
                <a:gd name="T89" fmla="*/ 991 h 1703"/>
                <a:gd name="T90" fmla="*/ 3351 w 3463"/>
                <a:gd name="T91" fmla="*/ 889 h 1703"/>
                <a:gd name="T92" fmla="*/ 3452 w 3463"/>
                <a:gd name="T93" fmla="*/ 82 h 1703"/>
                <a:gd name="T94" fmla="*/ 917 w 3463"/>
                <a:gd name="T95" fmla="*/ 950 h 1703"/>
                <a:gd name="T96" fmla="*/ 791 w 3463"/>
                <a:gd name="T97" fmla="*/ 1460 h 1703"/>
                <a:gd name="T98" fmla="*/ 565 w 3463"/>
                <a:gd name="T99" fmla="*/ 1554 h 1703"/>
                <a:gd name="T100" fmla="*/ 373 w 3463"/>
                <a:gd name="T101" fmla="*/ 1411 h 1703"/>
                <a:gd name="T102" fmla="*/ 461 w 3463"/>
                <a:gd name="T103" fmla="*/ 1066 h 1703"/>
                <a:gd name="T104" fmla="*/ 738 w 3463"/>
                <a:gd name="T105" fmla="*/ 916 h 1703"/>
                <a:gd name="T106" fmla="*/ 950 w 3463"/>
                <a:gd name="T107" fmla="*/ 445 h 1703"/>
                <a:gd name="T108" fmla="*/ 703 w 3463"/>
                <a:gd name="T109" fmla="*/ 743 h 1703"/>
                <a:gd name="T110" fmla="*/ 630 w 3463"/>
                <a:gd name="T111" fmla="*/ 641 h 1703"/>
                <a:gd name="T112" fmla="*/ 748 w 3463"/>
                <a:gd name="T113" fmla="*/ 291 h 1703"/>
                <a:gd name="T114" fmla="*/ 998 w 3463"/>
                <a:gd name="T115" fmla="*/ 229 h 1703"/>
                <a:gd name="T116" fmla="*/ 3056 w 3463"/>
                <a:gd name="T117" fmla="*/ 628 h 1703"/>
                <a:gd name="T118" fmla="*/ 2862 w 3463"/>
                <a:gd name="T119" fmla="*/ 759 h 1703"/>
                <a:gd name="T120" fmla="*/ 2896 w 3463"/>
                <a:gd name="T121" fmla="*/ 416 h 1703"/>
                <a:gd name="T122" fmla="*/ 3071 w 3463"/>
                <a:gd name="T123" fmla="*/ 214 h 1703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463" h="1703">
                  <a:moveTo>
                    <a:pt x="3244" y="27"/>
                  </a:moveTo>
                  <a:lnTo>
                    <a:pt x="3228" y="28"/>
                  </a:lnTo>
                  <a:lnTo>
                    <a:pt x="3212" y="29"/>
                  </a:lnTo>
                  <a:lnTo>
                    <a:pt x="3197" y="30"/>
                  </a:lnTo>
                  <a:lnTo>
                    <a:pt x="3181" y="32"/>
                  </a:lnTo>
                  <a:lnTo>
                    <a:pt x="3166" y="34"/>
                  </a:lnTo>
                  <a:lnTo>
                    <a:pt x="3151" y="37"/>
                  </a:lnTo>
                  <a:lnTo>
                    <a:pt x="3135" y="40"/>
                  </a:lnTo>
                  <a:lnTo>
                    <a:pt x="3120" y="43"/>
                  </a:lnTo>
                  <a:lnTo>
                    <a:pt x="3106" y="47"/>
                  </a:lnTo>
                  <a:lnTo>
                    <a:pt x="3091" y="51"/>
                  </a:lnTo>
                  <a:lnTo>
                    <a:pt x="3076" y="55"/>
                  </a:lnTo>
                  <a:lnTo>
                    <a:pt x="3062" y="60"/>
                  </a:lnTo>
                  <a:lnTo>
                    <a:pt x="3033" y="71"/>
                  </a:lnTo>
                  <a:lnTo>
                    <a:pt x="3019" y="78"/>
                  </a:lnTo>
                  <a:lnTo>
                    <a:pt x="3005" y="84"/>
                  </a:lnTo>
                  <a:lnTo>
                    <a:pt x="2991" y="91"/>
                  </a:lnTo>
                  <a:lnTo>
                    <a:pt x="2977" y="98"/>
                  </a:lnTo>
                  <a:lnTo>
                    <a:pt x="2950" y="114"/>
                  </a:lnTo>
                  <a:lnTo>
                    <a:pt x="2937" y="123"/>
                  </a:lnTo>
                  <a:lnTo>
                    <a:pt x="2924" y="132"/>
                  </a:lnTo>
                  <a:lnTo>
                    <a:pt x="2911" y="141"/>
                  </a:lnTo>
                  <a:lnTo>
                    <a:pt x="2898" y="150"/>
                  </a:lnTo>
                  <a:lnTo>
                    <a:pt x="2885" y="160"/>
                  </a:lnTo>
                  <a:lnTo>
                    <a:pt x="2873" y="171"/>
                  </a:lnTo>
                  <a:lnTo>
                    <a:pt x="2848" y="193"/>
                  </a:lnTo>
                  <a:lnTo>
                    <a:pt x="2836" y="205"/>
                  </a:lnTo>
                  <a:lnTo>
                    <a:pt x="2824" y="217"/>
                  </a:lnTo>
                  <a:lnTo>
                    <a:pt x="2800" y="242"/>
                  </a:lnTo>
                  <a:lnTo>
                    <a:pt x="2783" y="261"/>
                  </a:lnTo>
                  <a:lnTo>
                    <a:pt x="2767" y="281"/>
                  </a:lnTo>
                  <a:lnTo>
                    <a:pt x="2751" y="302"/>
                  </a:lnTo>
                  <a:lnTo>
                    <a:pt x="2737" y="322"/>
                  </a:lnTo>
                  <a:lnTo>
                    <a:pt x="2722" y="343"/>
                  </a:lnTo>
                  <a:lnTo>
                    <a:pt x="2709" y="364"/>
                  </a:lnTo>
                  <a:lnTo>
                    <a:pt x="2696" y="386"/>
                  </a:lnTo>
                  <a:lnTo>
                    <a:pt x="2685" y="408"/>
                  </a:lnTo>
                  <a:lnTo>
                    <a:pt x="2674" y="430"/>
                  </a:lnTo>
                  <a:lnTo>
                    <a:pt x="2664" y="453"/>
                  </a:lnTo>
                  <a:lnTo>
                    <a:pt x="2655" y="476"/>
                  </a:lnTo>
                  <a:lnTo>
                    <a:pt x="2647" y="499"/>
                  </a:lnTo>
                  <a:lnTo>
                    <a:pt x="2643" y="511"/>
                  </a:lnTo>
                  <a:lnTo>
                    <a:pt x="2639" y="523"/>
                  </a:lnTo>
                  <a:lnTo>
                    <a:pt x="2632" y="547"/>
                  </a:lnTo>
                  <a:lnTo>
                    <a:pt x="2627" y="571"/>
                  </a:lnTo>
                  <a:lnTo>
                    <a:pt x="2621" y="596"/>
                  </a:lnTo>
                  <a:lnTo>
                    <a:pt x="2618" y="608"/>
                  </a:lnTo>
                  <a:lnTo>
                    <a:pt x="2612" y="625"/>
                  </a:lnTo>
                  <a:lnTo>
                    <a:pt x="2604" y="645"/>
                  </a:lnTo>
                  <a:lnTo>
                    <a:pt x="2600" y="656"/>
                  </a:lnTo>
                  <a:lnTo>
                    <a:pt x="2594" y="667"/>
                  </a:lnTo>
                  <a:lnTo>
                    <a:pt x="2588" y="678"/>
                  </a:lnTo>
                  <a:lnTo>
                    <a:pt x="2582" y="690"/>
                  </a:lnTo>
                  <a:lnTo>
                    <a:pt x="2575" y="701"/>
                  </a:lnTo>
                  <a:lnTo>
                    <a:pt x="2567" y="712"/>
                  </a:lnTo>
                  <a:lnTo>
                    <a:pt x="2558" y="723"/>
                  </a:lnTo>
                  <a:lnTo>
                    <a:pt x="2549" y="734"/>
                  </a:lnTo>
                  <a:lnTo>
                    <a:pt x="2544" y="739"/>
                  </a:lnTo>
                  <a:lnTo>
                    <a:pt x="2539" y="743"/>
                  </a:lnTo>
                  <a:lnTo>
                    <a:pt x="2529" y="752"/>
                  </a:lnTo>
                  <a:lnTo>
                    <a:pt x="2525" y="755"/>
                  </a:lnTo>
                  <a:lnTo>
                    <a:pt x="2522" y="757"/>
                  </a:lnTo>
                  <a:lnTo>
                    <a:pt x="2520" y="758"/>
                  </a:lnTo>
                  <a:lnTo>
                    <a:pt x="2517" y="759"/>
                  </a:lnTo>
                  <a:lnTo>
                    <a:pt x="2515" y="759"/>
                  </a:lnTo>
                  <a:lnTo>
                    <a:pt x="2513" y="759"/>
                  </a:lnTo>
                  <a:lnTo>
                    <a:pt x="2512" y="759"/>
                  </a:lnTo>
                  <a:lnTo>
                    <a:pt x="2510" y="758"/>
                  </a:lnTo>
                  <a:lnTo>
                    <a:pt x="2508" y="756"/>
                  </a:lnTo>
                  <a:lnTo>
                    <a:pt x="2507" y="754"/>
                  </a:lnTo>
                  <a:lnTo>
                    <a:pt x="2506" y="751"/>
                  </a:lnTo>
                  <a:lnTo>
                    <a:pt x="2506" y="748"/>
                  </a:lnTo>
                  <a:lnTo>
                    <a:pt x="2505" y="738"/>
                  </a:lnTo>
                  <a:lnTo>
                    <a:pt x="2506" y="729"/>
                  </a:lnTo>
                  <a:lnTo>
                    <a:pt x="2509" y="711"/>
                  </a:lnTo>
                  <a:lnTo>
                    <a:pt x="2516" y="658"/>
                  </a:lnTo>
                  <a:lnTo>
                    <a:pt x="2537" y="508"/>
                  </a:lnTo>
                  <a:lnTo>
                    <a:pt x="2566" y="300"/>
                  </a:lnTo>
                  <a:lnTo>
                    <a:pt x="2569" y="283"/>
                  </a:lnTo>
                  <a:lnTo>
                    <a:pt x="2571" y="266"/>
                  </a:lnTo>
                  <a:lnTo>
                    <a:pt x="2574" y="234"/>
                  </a:lnTo>
                  <a:lnTo>
                    <a:pt x="2576" y="218"/>
                  </a:lnTo>
                  <a:lnTo>
                    <a:pt x="2576" y="204"/>
                  </a:lnTo>
                  <a:lnTo>
                    <a:pt x="2577" y="176"/>
                  </a:lnTo>
                  <a:lnTo>
                    <a:pt x="2577" y="163"/>
                  </a:lnTo>
                  <a:lnTo>
                    <a:pt x="2576" y="150"/>
                  </a:lnTo>
                  <a:lnTo>
                    <a:pt x="2575" y="138"/>
                  </a:lnTo>
                  <a:lnTo>
                    <a:pt x="2573" y="127"/>
                  </a:lnTo>
                  <a:lnTo>
                    <a:pt x="2571" y="117"/>
                  </a:lnTo>
                  <a:lnTo>
                    <a:pt x="2568" y="107"/>
                  </a:lnTo>
                  <a:lnTo>
                    <a:pt x="2565" y="98"/>
                  </a:lnTo>
                  <a:lnTo>
                    <a:pt x="2562" y="89"/>
                  </a:lnTo>
                  <a:lnTo>
                    <a:pt x="2558" y="81"/>
                  </a:lnTo>
                  <a:lnTo>
                    <a:pt x="2554" y="74"/>
                  </a:lnTo>
                  <a:lnTo>
                    <a:pt x="2551" y="70"/>
                  </a:lnTo>
                  <a:lnTo>
                    <a:pt x="2549" y="67"/>
                  </a:lnTo>
                  <a:lnTo>
                    <a:pt x="2545" y="60"/>
                  </a:lnTo>
                  <a:lnTo>
                    <a:pt x="2540" y="55"/>
                  </a:lnTo>
                  <a:lnTo>
                    <a:pt x="2535" y="49"/>
                  </a:lnTo>
                  <a:lnTo>
                    <a:pt x="2529" y="44"/>
                  </a:lnTo>
                  <a:lnTo>
                    <a:pt x="2524" y="40"/>
                  </a:lnTo>
                  <a:lnTo>
                    <a:pt x="2513" y="33"/>
                  </a:lnTo>
                  <a:lnTo>
                    <a:pt x="2507" y="29"/>
                  </a:lnTo>
                  <a:lnTo>
                    <a:pt x="2502" y="27"/>
                  </a:lnTo>
                  <a:lnTo>
                    <a:pt x="2490" y="22"/>
                  </a:lnTo>
                  <a:lnTo>
                    <a:pt x="2479" y="19"/>
                  </a:lnTo>
                  <a:lnTo>
                    <a:pt x="2468" y="16"/>
                  </a:lnTo>
                  <a:lnTo>
                    <a:pt x="2458" y="15"/>
                  </a:lnTo>
                  <a:lnTo>
                    <a:pt x="2448" y="14"/>
                  </a:lnTo>
                  <a:lnTo>
                    <a:pt x="2440" y="14"/>
                  </a:lnTo>
                  <a:lnTo>
                    <a:pt x="2426" y="14"/>
                  </a:lnTo>
                  <a:lnTo>
                    <a:pt x="2412" y="16"/>
                  </a:lnTo>
                  <a:lnTo>
                    <a:pt x="2398" y="18"/>
                  </a:lnTo>
                  <a:lnTo>
                    <a:pt x="2384" y="22"/>
                  </a:lnTo>
                  <a:lnTo>
                    <a:pt x="2370" y="26"/>
                  </a:lnTo>
                  <a:lnTo>
                    <a:pt x="2355" y="32"/>
                  </a:lnTo>
                  <a:lnTo>
                    <a:pt x="2340" y="38"/>
                  </a:lnTo>
                  <a:lnTo>
                    <a:pt x="2326" y="46"/>
                  </a:lnTo>
                  <a:lnTo>
                    <a:pt x="2311" y="54"/>
                  </a:lnTo>
                  <a:lnTo>
                    <a:pt x="2296" y="64"/>
                  </a:lnTo>
                  <a:lnTo>
                    <a:pt x="2280" y="74"/>
                  </a:lnTo>
                  <a:lnTo>
                    <a:pt x="2265" y="86"/>
                  </a:lnTo>
                  <a:lnTo>
                    <a:pt x="2249" y="98"/>
                  </a:lnTo>
                  <a:lnTo>
                    <a:pt x="2234" y="112"/>
                  </a:lnTo>
                  <a:lnTo>
                    <a:pt x="2218" y="126"/>
                  </a:lnTo>
                  <a:lnTo>
                    <a:pt x="2202" y="142"/>
                  </a:lnTo>
                  <a:lnTo>
                    <a:pt x="2189" y="155"/>
                  </a:lnTo>
                  <a:lnTo>
                    <a:pt x="2177" y="168"/>
                  </a:lnTo>
                  <a:lnTo>
                    <a:pt x="2165" y="181"/>
                  </a:lnTo>
                  <a:lnTo>
                    <a:pt x="2153" y="195"/>
                  </a:lnTo>
                  <a:lnTo>
                    <a:pt x="2130" y="224"/>
                  </a:lnTo>
                  <a:lnTo>
                    <a:pt x="2108" y="253"/>
                  </a:lnTo>
                  <a:lnTo>
                    <a:pt x="2113" y="182"/>
                  </a:lnTo>
                  <a:lnTo>
                    <a:pt x="2113" y="168"/>
                  </a:lnTo>
                  <a:lnTo>
                    <a:pt x="2112" y="155"/>
                  </a:lnTo>
                  <a:lnTo>
                    <a:pt x="2111" y="143"/>
                  </a:lnTo>
                  <a:lnTo>
                    <a:pt x="2109" y="131"/>
                  </a:lnTo>
                  <a:lnTo>
                    <a:pt x="2107" y="120"/>
                  </a:lnTo>
                  <a:lnTo>
                    <a:pt x="2105" y="110"/>
                  </a:lnTo>
                  <a:lnTo>
                    <a:pt x="2102" y="101"/>
                  </a:lnTo>
                  <a:lnTo>
                    <a:pt x="2098" y="92"/>
                  </a:lnTo>
                  <a:lnTo>
                    <a:pt x="2095" y="83"/>
                  </a:lnTo>
                  <a:lnTo>
                    <a:pt x="2091" y="76"/>
                  </a:lnTo>
                  <a:lnTo>
                    <a:pt x="2087" y="69"/>
                  </a:lnTo>
                  <a:lnTo>
                    <a:pt x="2082" y="62"/>
                  </a:lnTo>
                  <a:lnTo>
                    <a:pt x="2078" y="56"/>
                  </a:lnTo>
                  <a:lnTo>
                    <a:pt x="2073" y="51"/>
                  </a:lnTo>
                  <a:lnTo>
                    <a:pt x="2068" y="46"/>
                  </a:lnTo>
                  <a:lnTo>
                    <a:pt x="2062" y="41"/>
                  </a:lnTo>
                  <a:lnTo>
                    <a:pt x="2057" y="37"/>
                  </a:lnTo>
                  <a:lnTo>
                    <a:pt x="2052" y="33"/>
                  </a:lnTo>
                  <a:lnTo>
                    <a:pt x="2041" y="27"/>
                  </a:lnTo>
                  <a:lnTo>
                    <a:pt x="2035" y="24"/>
                  </a:lnTo>
                  <a:lnTo>
                    <a:pt x="2030" y="22"/>
                  </a:lnTo>
                  <a:lnTo>
                    <a:pt x="2019" y="19"/>
                  </a:lnTo>
                  <a:lnTo>
                    <a:pt x="2009" y="16"/>
                  </a:lnTo>
                  <a:lnTo>
                    <a:pt x="1999" y="15"/>
                  </a:lnTo>
                  <a:lnTo>
                    <a:pt x="1990" y="14"/>
                  </a:lnTo>
                  <a:lnTo>
                    <a:pt x="1982" y="14"/>
                  </a:lnTo>
                  <a:lnTo>
                    <a:pt x="1962" y="15"/>
                  </a:lnTo>
                  <a:lnTo>
                    <a:pt x="1952" y="16"/>
                  </a:lnTo>
                  <a:lnTo>
                    <a:pt x="1941" y="17"/>
                  </a:lnTo>
                  <a:lnTo>
                    <a:pt x="1931" y="19"/>
                  </a:lnTo>
                  <a:lnTo>
                    <a:pt x="1921" y="22"/>
                  </a:lnTo>
                  <a:lnTo>
                    <a:pt x="1901" y="28"/>
                  </a:lnTo>
                  <a:lnTo>
                    <a:pt x="1891" y="31"/>
                  </a:lnTo>
                  <a:lnTo>
                    <a:pt x="1880" y="36"/>
                  </a:lnTo>
                  <a:lnTo>
                    <a:pt x="1870" y="40"/>
                  </a:lnTo>
                  <a:lnTo>
                    <a:pt x="1860" y="45"/>
                  </a:lnTo>
                  <a:lnTo>
                    <a:pt x="1839" y="57"/>
                  </a:lnTo>
                  <a:lnTo>
                    <a:pt x="1819" y="70"/>
                  </a:lnTo>
                  <a:lnTo>
                    <a:pt x="1798" y="85"/>
                  </a:lnTo>
                  <a:lnTo>
                    <a:pt x="1778" y="101"/>
                  </a:lnTo>
                  <a:lnTo>
                    <a:pt x="1767" y="110"/>
                  </a:lnTo>
                  <a:lnTo>
                    <a:pt x="1757" y="119"/>
                  </a:lnTo>
                  <a:lnTo>
                    <a:pt x="1746" y="129"/>
                  </a:lnTo>
                  <a:lnTo>
                    <a:pt x="1736" y="140"/>
                  </a:lnTo>
                  <a:lnTo>
                    <a:pt x="1715" y="161"/>
                  </a:lnTo>
                  <a:lnTo>
                    <a:pt x="1694" y="185"/>
                  </a:lnTo>
                  <a:lnTo>
                    <a:pt x="1673" y="210"/>
                  </a:lnTo>
                  <a:lnTo>
                    <a:pt x="1662" y="224"/>
                  </a:lnTo>
                  <a:lnTo>
                    <a:pt x="1651" y="238"/>
                  </a:lnTo>
                  <a:lnTo>
                    <a:pt x="1652" y="232"/>
                  </a:lnTo>
                  <a:lnTo>
                    <a:pt x="1657" y="160"/>
                  </a:lnTo>
                  <a:lnTo>
                    <a:pt x="1656" y="148"/>
                  </a:lnTo>
                  <a:lnTo>
                    <a:pt x="1656" y="136"/>
                  </a:lnTo>
                  <a:lnTo>
                    <a:pt x="1654" y="125"/>
                  </a:lnTo>
                  <a:lnTo>
                    <a:pt x="1653" y="115"/>
                  </a:lnTo>
                  <a:lnTo>
                    <a:pt x="1650" y="105"/>
                  </a:lnTo>
                  <a:lnTo>
                    <a:pt x="1648" y="96"/>
                  </a:lnTo>
                  <a:lnTo>
                    <a:pt x="1645" y="88"/>
                  </a:lnTo>
                  <a:lnTo>
                    <a:pt x="1641" y="80"/>
                  </a:lnTo>
                  <a:lnTo>
                    <a:pt x="1638" y="73"/>
                  </a:lnTo>
                  <a:lnTo>
                    <a:pt x="1634" y="66"/>
                  </a:lnTo>
                  <a:lnTo>
                    <a:pt x="1629" y="60"/>
                  </a:lnTo>
                  <a:lnTo>
                    <a:pt x="1625" y="55"/>
                  </a:lnTo>
                  <a:lnTo>
                    <a:pt x="1620" y="49"/>
                  </a:lnTo>
                  <a:lnTo>
                    <a:pt x="1615" y="45"/>
                  </a:lnTo>
                  <a:lnTo>
                    <a:pt x="1610" y="41"/>
                  </a:lnTo>
                  <a:lnTo>
                    <a:pt x="1605" y="37"/>
                  </a:lnTo>
                  <a:lnTo>
                    <a:pt x="1600" y="33"/>
                  </a:lnTo>
                  <a:lnTo>
                    <a:pt x="1595" y="30"/>
                  </a:lnTo>
                  <a:lnTo>
                    <a:pt x="1589" y="28"/>
                  </a:lnTo>
                  <a:lnTo>
                    <a:pt x="1584" y="25"/>
                  </a:lnTo>
                  <a:lnTo>
                    <a:pt x="1574" y="22"/>
                  </a:lnTo>
                  <a:lnTo>
                    <a:pt x="1568" y="20"/>
                  </a:lnTo>
                  <a:lnTo>
                    <a:pt x="1563" y="19"/>
                  </a:lnTo>
                  <a:lnTo>
                    <a:pt x="1554" y="17"/>
                  </a:lnTo>
                  <a:lnTo>
                    <a:pt x="1545" y="17"/>
                  </a:lnTo>
                  <a:lnTo>
                    <a:pt x="1531" y="16"/>
                  </a:lnTo>
                  <a:lnTo>
                    <a:pt x="1526" y="17"/>
                  </a:lnTo>
                  <a:lnTo>
                    <a:pt x="1520" y="19"/>
                  </a:lnTo>
                  <a:lnTo>
                    <a:pt x="1514" y="21"/>
                  </a:lnTo>
                  <a:lnTo>
                    <a:pt x="1507" y="24"/>
                  </a:lnTo>
                  <a:lnTo>
                    <a:pt x="1500" y="27"/>
                  </a:lnTo>
                  <a:lnTo>
                    <a:pt x="1492" y="31"/>
                  </a:lnTo>
                  <a:lnTo>
                    <a:pt x="1475" y="41"/>
                  </a:lnTo>
                  <a:lnTo>
                    <a:pt x="1466" y="47"/>
                  </a:lnTo>
                  <a:lnTo>
                    <a:pt x="1456" y="53"/>
                  </a:lnTo>
                  <a:lnTo>
                    <a:pt x="1447" y="60"/>
                  </a:lnTo>
                  <a:lnTo>
                    <a:pt x="1436" y="67"/>
                  </a:lnTo>
                  <a:lnTo>
                    <a:pt x="1416" y="83"/>
                  </a:lnTo>
                  <a:lnTo>
                    <a:pt x="1394" y="100"/>
                  </a:lnTo>
                  <a:lnTo>
                    <a:pt x="1372" y="118"/>
                  </a:lnTo>
                  <a:lnTo>
                    <a:pt x="1349" y="137"/>
                  </a:lnTo>
                  <a:lnTo>
                    <a:pt x="1305" y="177"/>
                  </a:lnTo>
                  <a:lnTo>
                    <a:pt x="1282" y="197"/>
                  </a:lnTo>
                  <a:lnTo>
                    <a:pt x="1261" y="217"/>
                  </a:lnTo>
                  <a:lnTo>
                    <a:pt x="1241" y="236"/>
                  </a:lnTo>
                  <a:lnTo>
                    <a:pt x="1222" y="255"/>
                  </a:lnTo>
                  <a:lnTo>
                    <a:pt x="1239" y="130"/>
                  </a:lnTo>
                  <a:lnTo>
                    <a:pt x="1240" y="123"/>
                  </a:lnTo>
                  <a:lnTo>
                    <a:pt x="1241" y="117"/>
                  </a:lnTo>
                  <a:lnTo>
                    <a:pt x="1241" y="111"/>
                  </a:lnTo>
                  <a:lnTo>
                    <a:pt x="1241" y="105"/>
                  </a:lnTo>
                  <a:lnTo>
                    <a:pt x="1241" y="99"/>
                  </a:lnTo>
                  <a:lnTo>
                    <a:pt x="1240" y="94"/>
                  </a:lnTo>
                  <a:lnTo>
                    <a:pt x="1239" y="89"/>
                  </a:lnTo>
                  <a:lnTo>
                    <a:pt x="1237" y="84"/>
                  </a:lnTo>
                  <a:lnTo>
                    <a:pt x="1235" y="79"/>
                  </a:lnTo>
                  <a:lnTo>
                    <a:pt x="1233" y="75"/>
                  </a:lnTo>
                  <a:lnTo>
                    <a:pt x="1230" y="70"/>
                  </a:lnTo>
                  <a:lnTo>
                    <a:pt x="1226" y="66"/>
                  </a:lnTo>
                  <a:lnTo>
                    <a:pt x="1223" y="62"/>
                  </a:lnTo>
                  <a:lnTo>
                    <a:pt x="1218" y="59"/>
                  </a:lnTo>
                  <a:lnTo>
                    <a:pt x="1213" y="55"/>
                  </a:lnTo>
                  <a:lnTo>
                    <a:pt x="1208" y="52"/>
                  </a:lnTo>
                  <a:lnTo>
                    <a:pt x="1196" y="47"/>
                  </a:lnTo>
                  <a:lnTo>
                    <a:pt x="1190" y="44"/>
                  </a:lnTo>
                  <a:lnTo>
                    <a:pt x="1182" y="42"/>
                  </a:lnTo>
                  <a:lnTo>
                    <a:pt x="1166" y="38"/>
                  </a:lnTo>
                  <a:lnTo>
                    <a:pt x="1148" y="35"/>
                  </a:lnTo>
                  <a:lnTo>
                    <a:pt x="1128" y="32"/>
                  </a:lnTo>
                  <a:lnTo>
                    <a:pt x="1117" y="31"/>
                  </a:lnTo>
                  <a:lnTo>
                    <a:pt x="1105" y="31"/>
                  </a:lnTo>
                  <a:lnTo>
                    <a:pt x="1093" y="30"/>
                  </a:lnTo>
                  <a:lnTo>
                    <a:pt x="1080" y="30"/>
                  </a:lnTo>
                  <a:lnTo>
                    <a:pt x="1052" y="30"/>
                  </a:lnTo>
                  <a:lnTo>
                    <a:pt x="1036" y="30"/>
                  </a:lnTo>
                  <a:lnTo>
                    <a:pt x="1019" y="31"/>
                  </a:lnTo>
                  <a:lnTo>
                    <a:pt x="1003" y="32"/>
                  </a:lnTo>
                  <a:lnTo>
                    <a:pt x="987" y="33"/>
                  </a:lnTo>
                  <a:lnTo>
                    <a:pt x="971" y="35"/>
                  </a:lnTo>
                  <a:lnTo>
                    <a:pt x="955" y="38"/>
                  </a:lnTo>
                  <a:lnTo>
                    <a:pt x="923" y="44"/>
                  </a:lnTo>
                  <a:lnTo>
                    <a:pt x="908" y="47"/>
                  </a:lnTo>
                  <a:lnTo>
                    <a:pt x="892" y="51"/>
                  </a:lnTo>
                  <a:lnTo>
                    <a:pt x="877" y="55"/>
                  </a:lnTo>
                  <a:lnTo>
                    <a:pt x="862" y="60"/>
                  </a:lnTo>
                  <a:lnTo>
                    <a:pt x="847" y="65"/>
                  </a:lnTo>
                  <a:lnTo>
                    <a:pt x="832" y="71"/>
                  </a:lnTo>
                  <a:lnTo>
                    <a:pt x="817" y="77"/>
                  </a:lnTo>
                  <a:lnTo>
                    <a:pt x="802" y="83"/>
                  </a:lnTo>
                  <a:lnTo>
                    <a:pt x="788" y="90"/>
                  </a:lnTo>
                  <a:lnTo>
                    <a:pt x="773" y="97"/>
                  </a:lnTo>
                  <a:lnTo>
                    <a:pt x="759" y="105"/>
                  </a:lnTo>
                  <a:lnTo>
                    <a:pt x="745" y="113"/>
                  </a:lnTo>
                  <a:lnTo>
                    <a:pt x="731" y="121"/>
                  </a:lnTo>
                  <a:lnTo>
                    <a:pt x="717" y="130"/>
                  </a:lnTo>
                  <a:lnTo>
                    <a:pt x="703" y="139"/>
                  </a:lnTo>
                  <a:lnTo>
                    <a:pt x="690" y="149"/>
                  </a:lnTo>
                  <a:lnTo>
                    <a:pt x="676" y="159"/>
                  </a:lnTo>
                  <a:lnTo>
                    <a:pt x="663" y="170"/>
                  </a:lnTo>
                  <a:lnTo>
                    <a:pt x="637" y="192"/>
                  </a:lnTo>
                  <a:lnTo>
                    <a:pt x="624" y="204"/>
                  </a:lnTo>
                  <a:lnTo>
                    <a:pt x="611" y="216"/>
                  </a:lnTo>
                  <a:lnTo>
                    <a:pt x="598" y="228"/>
                  </a:lnTo>
                  <a:lnTo>
                    <a:pt x="586" y="241"/>
                  </a:lnTo>
                  <a:lnTo>
                    <a:pt x="570" y="259"/>
                  </a:lnTo>
                  <a:lnTo>
                    <a:pt x="555" y="277"/>
                  </a:lnTo>
                  <a:lnTo>
                    <a:pt x="540" y="295"/>
                  </a:lnTo>
                  <a:lnTo>
                    <a:pt x="526" y="314"/>
                  </a:lnTo>
                  <a:lnTo>
                    <a:pt x="512" y="332"/>
                  </a:lnTo>
                  <a:lnTo>
                    <a:pt x="500" y="351"/>
                  </a:lnTo>
                  <a:lnTo>
                    <a:pt x="488" y="371"/>
                  </a:lnTo>
                  <a:lnTo>
                    <a:pt x="476" y="390"/>
                  </a:lnTo>
                  <a:lnTo>
                    <a:pt x="465" y="410"/>
                  </a:lnTo>
                  <a:lnTo>
                    <a:pt x="455" y="430"/>
                  </a:lnTo>
                  <a:lnTo>
                    <a:pt x="446" y="451"/>
                  </a:lnTo>
                  <a:lnTo>
                    <a:pt x="437" y="471"/>
                  </a:lnTo>
                  <a:lnTo>
                    <a:pt x="429" y="492"/>
                  </a:lnTo>
                  <a:lnTo>
                    <a:pt x="421" y="513"/>
                  </a:lnTo>
                  <a:lnTo>
                    <a:pt x="418" y="524"/>
                  </a:lnTo>
                  <a:lnTo>
                    <a:pt x="415" y="535"/>
                  </a:lnTo>
                  <a:lnTo>
                    <a:pt x="408" y="557"/>
                  </a:lnTo>
                  <a:lnTo>
                    <a:pt x="397" y="580"/>
                  </a:lnTo>
                  <a:lnTo>
                    <a:pt x="383" y="606"/>
                  </a:lnTo>
                  <a:lnTo>
                    <a:pt x="375" y="619"/>
                  </a:lnTo>
                  <a:lnTo>
                    <a:pt x="367" y="632"/>
                  </a:lnTo>
                  <a:lnTo>
                    <a:pt x="358" y="645"/>
                  </a:lnTo>
                  <a:lnTo>
                    <a:pt x="349" y="658"/>
                  </a:lnTo>
                  <a:lnTo>
                    <a:pt x="340" y="670"/>
                  </a:lnTo>
                  <a:lnTo>
                    <a:pt x="329" y="683"/>
                  </a:lnTo>
                  <a:lnTo>
                    <a:pt x="319" y="694"/>
                  </a:lnTo>
                  <a:lnTo>
                    <a:pt x="313" y="700"/>
                  </a:lnTo>
                  <a:lnTo>
                    <a:pt x="308" y="705"/>
                  </a:lnTo>
                  <a:lnTo>
                    <a:pt x="296" y="716"/>
                  </a:lnTo>
                  <a:lnTo>
                    <a:pt x="284" y="725"/>
                  </a:lnTo>
                  <a:lnTo>
                    <a:pt x="278" y="730"/>
                  </a:lnTo>
                  <a:lnTo>
                    <a:pt x="271" y="734"/>
                  </a:lnTo>
                  <a:lnTo>
                    <a:pt x="265" y="738"/>
                  </a:lnTo>
                  <a:lnTo>
                    <a:pt x="258" y="741"/>
                  </a:lnTo>
                  <a:lnTo>
                    <a:pt x="255" y="743"/>
                  </a:lnTo>
                  <a:lnTo>
                    <a:pt x="251" y="743"/>
                  </a:lnTo>
                  <a:lnTo>
                    <a:pt x="248" y="743"/>
                  </a:lnTo>
                  <a:lnTo>
                    <a:pt x="246" y="742"/>
                  </a:lnTo>
                  <a:lnTo>
                    <a:pt x="244" y="741"/>
                  </a:lnTo>
                  <a:lnTo>
                    <a:pt x="242" y="740"/>
                  </a:lnTo>
                  <a:lnTo>
                    <a:pt x="241" y="738"/>
                  </a:lnTo>
                  <a:lnTo>
                    <a:pt x="240" y="736"/>
                  </a:lnTo>
                  <a:lnTo>
                    <a:pt x="239" y="733"/>
                  </a:lnTo>
                  <a:lnTo>
                    <a:pt x="238" y="729"/>
                  </a:lnTo>
                  <a:lnTo>
                    <a:pt x="238" y="725"/>
                  </a:lnTo>
                  <a:lnTo>
                    <a:pt x="238" y="719"/>
                  </a:lnTo>
                  <a:lnTo>
                    <a:pt x="239" y="714"/>
                  </a:lnTo>
                  <a:lnTo>
                    <a:pt x="259" y="575"/>
                  </a:lnTo>
                  <a:lnTo>
                    <a:pt x="286" y="391"/>
                  </a:lnTo>
                  <a:lnTo>
                    <a:pt x="298" y="301"/>
                  </a:lnTo>
                  <a:lnTo>
                    <a:pt x="303" y="259"/>
                  </a:lnTo>
                  <a:lnTo>
                    <a:pt x="307" y="221"/>
                  </a:lnTo>
                  <a:lnTo>
                    <a:pt x="311" y="188"/>
                  </a:lnTo>
                  <a:lnTo>
                    <a:pt x="313" y="161"/>
                  </a:lnTo>
                  <a:lnTo>
                    <a:pt x="314" y="149"/>
                  </a:lnTo>
                  <a:lnTo>
                    <a:pt x="314" y="140"/>
                  </a:lnTo>
                  <a:lnTo>
                    <a:pt x="314" y="132"/>
                  </a:lnTo>
                  <a:lnTo>
                    <a:pt x="314" y="127"/>
                  </a:lnTo>
                  <a:lnTo>
                    <a:pt x="312" y="114"/>
                  </a:lnTo>
                  <a:lnTo>
                    <a:pt x="310" y="98"/>
                  </a:lnTo>
                  <a:lnTo>
                    <a:pt x="305" y="79"/>
                  </a:lnTo>
                  <a:lnTo>
                    <a:pt x="302" y="69"/>
                  </a:lnTo>
                  <a:lnTo>
                    <a:pt x="300" y="65"/>
                  </a:lnTo>
                  <a:lnTo>
                    <a:pt x="298" y="60"/>
                  </a:lnTo>
                  <a:lnTo>
                    <a:pt x="293" y="50"/>
                  </a:lnTo>
                  <a:lnTo>
                    <a:pt x="287" y="41"/>
                  </a:lnTo>
                  <a:lnTo>
                    <a:pt x="283" y="37"/>
                  </a:lnTo>
                  <a:lnTo>
                    <a:pt x="279" y="32"/>
                  </a:lnTo>
                  <a:lnTo>
                    <a:pt x="275" y="28"/>
                  </a:lnTo>
                  <a:lnTo>
                    <a:pt x="271" y="24"/>
                  </a:lnTo>
                  <a:lnTo>
                    <a:pt x="266" y="21"/>
                  </a:lnTo>
                  <a:lnTo>
                    <a:pt x="261" y="17"/>
                  </a:lnTo>
                  <a:lnTo>
                    <a:pt x="256" y="14"/>
                  </a:lnTo>
                  <a:lnTo>
                    <a:pt x="250" y="11"/>
                  </a:lnTo>
                  <a:lnTo>
                    <a:pt x="243" y="9"/>
                  </a:lnTo>
                  <a:lnTo>
                    <a:pt x="237" y="6"/>
                  </a:lnTo>
                  <a:lnTo>
                    <a:pt x="230" y="4"/>
                  </a:lnTo>
                  <a:lnTo>
                    <a:pt x="222" y="3"/>
                  </a:lnTo>
                  <a:lnTo>
                    <a:pt x="212" y="1"/>
                  </a:lnTo>
                  <a:lnTo>
                    <a:pt x="203" y="1"/>
                  </a:lnTo>
                  <a:lnTo>
                    <a:pt x="193" y="0"/>
                  </a:lnTo>
                  <a:lnTo>
                    <a:pt x="184" y="1"/>
                  </a:lnTo>
                  <a:lnTo>
                    <a:pt x="175" y="2"/>
                  </a:lnTo>
                  <a:lnTo>
                    <a:pt x="167" y="3"/>
                  </a:lnTo>
                  <a:lnTo>
                    <a:pt x="159" y="5"/>
                  </a:lnTo>
                  <a:lnTo>
                    <a:pt x="151" y="7"/>
                  </a:lnTo>
                  <a:lnTo>
                    <a:pt x="137" y="12"/>
                  </a:lnTo>
                  <a:lnTo>
                    <a:pt x="130" y="15"/>
                  </a:lnTo>
                  <a:lnTo>
                    <a:pt x="124" y="18"/>
                  </a:lnTo>
                  <a:lnTo>
                    <a:pt x="118" y="21"/>
                  </a:lnTo>
                  <a:lnTo>
                    <a:pt x="113" y="24"/>
                  </a:lnTo>
                  <a:lnTo>
                    <a:pt x="105" y="30"/>
                  </a:lnTo>
                  <a:lnTo>
                    <a:pt x="105" y="35"/>
                  </a:lnTo>
                  <a:lnTo>
                    <a:pt x="105" y="44"/>
                  </a:lnTo>
                  <a:lnTo>
                    <a:pt x="103" y="72"/>
                  </a:lnTo>
                  <a:lnTo>
                    <a:pt x="99" y="113"/>
                  </a:lnTo>
                  <a:lnTo>
                    <a:pt x="93" y="165"/>
                  </a:lnTo>
                  <a:lnTo>
                    <a:pt x="76" y="293"/>
                  </a:lnTo>
                  <a:lnTo>
                    <a:pt x="56" y="439"/>
                  </a:lnTo>
                  <a:lnTo>
                    <a:pt x="18" y="710"/>
                  </a:lnTo>
                  <a:lnTo>
                    <a:pt x="5" y="801"/>
                  </a:lnTo>
                  <a:lnTo>
                    <a:pt x="1" y="829"/>
                  </a:lnTo>
                  <a:lnTo>
                    <a:pt x="0" y="840"/>
                  </a:lnTo>
                  <a:lnTo>
                    <a:pt x="0" y="852"/>
                  </a:lnTo>
                  <a:lnTo>
                    <a:pt x="1" y="862"/>
                  </a:lnTo>
                  <a:lnTo>
                    <a:pt x="2" y="872"/>
                  </a:lnTo>
                  <a:lnTo>
                    <a:pt x="4" y="882"/>
                  </a:lnTo>
                  <a:lnTo>
                    <a:pt x="6" y="891"/>
                  </a:lnTo>
                  <a:lnTo>
                    <a:pt x="8" y="899"/>
                  </a:lnTo>
                  <a:lnTo>
                    <a:pt x="14" y="914"/>
                  </a:lnTo>
                  <a:lnTo>
                    <a:pt x="17" y="921"/>
                  </a:lnTo>
                  <a:lnTo>
                    <a:pt x="21" y="927"/>
                  </a:lnTo>
                  <a:lnTo>
                    <a:pt x="25" y="933"/>
                  </a:lnTo>
                  <a:lnTo>
                    <a:pt x="29" y="938"/>
                  </a:lnTo>
                  <a:lnTo>
                    <a:pt x="33" y="943"/>
                  </a:lnTo>
                  <a:lnTo>
                    <a:pt x="37" y="947"/>
                  </a:lnTo>
                  <a:lnTo>
                    <a:pt x="42" y="951"/>
                  </a:lnTo>
                  <a:lnTo>
                    <a:pt x="47" y="955"/>
                  </a:lnTo>
                  <a:lnTo>
                    <a:pt x="56" y="961"/>
                  </a:lnTo>
                  <a:lnTo>
                    <a:pt x="66" y="965"/>
                  </a:lnTo>
                  <a:lnTo>
                    <a:pt x="71" y="967"/>
                  </a:lnTo>
                  <a:lnTo>
                    <a:pt x="75" y="969"/>
                  </a:lnTo>
                  <a:lnTo>
                    <a:pt x="80" y="970"/>
                  </a:lnTo>
                  <a:lnTo>
                    <a:pt x="84" y="972"/>
                  </a:lnTo>
                  <a:lnTo>
                    <a:pt x="93" y="973"/>
                  </a:lnTo>
                  <a:lnTo>
                    <a:pt x="101" y="974"/>
                  </a:lnTo>
                  <a:lnTo>
                    <a:pt x="113" y="975"/>
                  </a:lnTo>
                  <a:lnTo>
                    <a:pt x="128" y="974"/>
                  </a:lnTo>
                  <a:lnTo>
                    <a:pt x="142" y="973"/>
                  </a:lnTo>
                  <a:lnTo>
                    <a:pt x="156" y="970"/>
                  </a:lnTo>
                  <a:lnTo>
                    <a:pt x="171" y="966"/>
                  </a:lnTo>
                  <a:lnTo>
                    <a:pt x="185" y="961"/>
                  </a:lnTo>
                  <a:lnTo>
                    <a:pt x="199" y="955"/>
                  </a:lnTo>
                  <a:lnTo>
                    <a:pt x="214" y="947"/>
                  </a:lnTo>
                  <a:lnTo>
                    <a:pt x="228" y="939"/>
                  </a:lnTo>
                  <a:lnTo>
                    <a:pt x="242" y="929"/>
                  </a:lnTo>
                  <a:lnTo>
                    <a:pt x="250" y="924"/>
                  </a:lnTo>
                  <a:lnTo>
                    <a:pt x="257" y="918"/>
                  </a:lnTo>
                  <a:lnTo>
                    <a:pt x="272" y="906"/>
                  </a:lnTo>
                  <a:lnTo>
                    <a:pt x="286" y="893"/>
                  </a:lnTo>
                  <a:lnTo>
                    <a:pt x="294" y="886"/>
                  </a:lnTo>
                  <a:lnTo>
                    <a:pt x="301" y="878"/>
                  </a:lnTo>
                  <a:lnTo>
                    <a:pt x="316" y="863"/>
                  </a:lnTo>
                  <a:lnTo>
                    <a:pt x="331" y="846"/>
                  </a:lnTo>
                  <a:lnTo>
                    <a:pt x="346" y="828"/>
                  </a:lnTo>
                  <a:lnTo>
                    <a:pt x="367" y="802"/>
                  </a:lnTo>
                  <a:lnTo>
                    <a:pt x="384" y="780"/>
                  </a:lnTo>
                  <a:lnTo>
                    <a:pt x="386" y="800"/>
                  </a:lnTo>
                  <a:lnTo>
                    <a:pt x="387" y="810"/>
                  </a:lnTo>
                  <a:lnTo>
                    <a:pt x="389" y="820"/>
                  </a:lnTo>
                  <a:lnTo>
                    <a:pt x="391" y="829"/>
                  </a:lnTo>
                  <a:lnTo>
                    <a:pt x="393" y="839"/>
                  </a:lnTo>
                  <a:lnTo>
                    <a:pt x="396" y="848"/>
                  </a:lnTo>
                  <a:lnTo>
                    <a:pt x="400" y="858"/>
                  </a:lnTo>
                  <a:lnTo>
                    <a:pt x="403" y="867"/>
                  </a:lnTo>
                  <a:lnTo>
                    <a:pt x="408" y="877"/>
                  </a:lnTo>
                  <a:lnTo>
                    <a:pt x="413" y="886"/>
                  </a:lnTo>
                  <a:lnTo>
                    <a:pt x="418" y="895"/>
                  </a:lnTo>
                  <a:lnTo>
                    <a:pt x="425" y="904"/>
                  </a:lnTo>
                  <a:lnTo>
                    <a:pt x="432" y="913"/>
                  </a:lnTo>
                  <a:lnTo>
                    <a:pt x="439" y="921"/>
                  </a:lnTo>
                  <a:lnTo>
                    <a:pt x="447" y="930"/>
                  </a:lnTo>
                  <a:lnTo>
                    <a:pt x="413" y="959"/>
                  </a:lnTo>
                  <a:lnTo>
                    <a:pt x="380" y="987"/>
                  </a:lnTo>
                  <a:lnTo>
                    <a:pt x="349" y="1015"/>
                  </a:lnTo>
                  <a:lnTo>
                    <a:pt x="320" y="1042"/>
                  </a:lnTo>
                  <a:lnTo>
                    <a:pt x="293" y="1070"/>
                  </a:lnTo>
                  <a:lnTo>
                    <a:pt x="267" y="1098"/>
                  </a:lnTo>
                  <a:lnTo>
                    <a:pt x="255" y="1112"/>
                  </a:lnTo>
                  <a:lnTo>
                    <a:pt x="244" y="1125"/>
                  </a:lnTo>
                  <a:lnTo>
                    <a:pt x="233" y="1139"/>
                  </a:lnTo>
                  <a:lnTo>
                    <a:pt x="223" y="1153"/>
                  </a:lnTo>
                  <a:lnTo>
                    <a:pt x="213" y="1167"/>
                  </a:lnTo>
                  <a:lnTo>
                    <a:pt x="203" y="1180"/>
                  </a:lnTo>
                  <a:lnTo>
                    <a:pt x="194" y="1194"/>
                  </a:lnTo>
                  <a:lnTo>
                    <a:pt x="186" y="1208"/>
                  </a:lnTo>
                  <a:lnTo>
                    <a:pt x="179" y="1222"/>
                  </a:lnTo>
                  <a:lnTo>
                    <a:pt x="171" y="1236"/>
                  </a:lnTo>
                  <a:lnTo>
                    <a:pt x="165" y="1250"/>
                  </a:lnTo>
                  <a:lnTo>
                    <a:pt x="159" y="1264"/>
                  </a:lnTo>
                  <a:lnTo>
                    <a:pt x="154" y="1278"/>
                  </a:lnTo>
                  <a:lnTo>
                    <a:pt x="149" y="1293"/>
                  </a:lnTo>
                  <a:lnTo>
                    <a:pt x="145" y="1307"/>
                  </a:lnTo>
                  <a:lnTo>
                    <a:pt x="142" y="1322"/>
                  </a:lnTo>
                  <a:lnTo>
                    <a:pt x="139" y="1336"/>
                  </a:lnTo>
                  <a:lnTo>
                    <a:pt x="137" y="1351"/>
                  </a:lnTo>
                  <a:lnTo>
                    <a:pt x="136" y="1366"/>
                  </a:lnTo>
                  <a:lnTo>
                    <a:pt x="135" y="1381"/>
                  </a:lnTo>
                  <a:lnTo>
                    <a:pt x="135" y="1398"/>
                  </a:lnTo>
                  <a:lnTo>
                    <a:pt x="136" y="1415"/>
                  </a:lnTo>
                  <a:lnTo>
                    <a:pt x="137" y="1431"/>
                  </a:lnTo>
                  <a:lnTo>
                    <a:pt x="140" y="1447"/>
                  </a:lnTo>
                  <a:lnTo>
                    <a:pt x="141" y="1454"/>
                  </a:lnTo>
                  <a:lnTo>
                    <a:pt x="143" y="1462"/>
                  </a:lnTo>
                  <a:lnTo>
                    <a:pt x="146" y="1477"/>
                  </a:lnTo>
                  <a:lnTo>
                    <a:pt x="151" y="1492"/>
                  </a:lnTo>
                  <a:lnTo>
                    <a:pt x="156" y="1507"/>
                  </a:lnTo>
                  <a:lnTo>
                    <a:pt x="161" y="1521"/>
                  </a:lnTo>
                  <a:lnTo>
                    <a:pt x="168" y="1534"/>
                  </a:lnTo>
                  <a:lnTo>
                    <a:pt x="175" y="1548"/>
                  </a:lnTo>
                  <a:lnTo>
                    <a:pt x="183" y="1561"/>
                  </a:lnTo>
                  <a:lnTo>
                    <a:pt x="192" y="1574"/>
                  </a:lnTo>
                  <a:lnTo>
                    <a:pt x="201" y="1586"/>
                  </a:lnTo>
                  <a:lnTo>
                    <a:pt x="211" y="1598"/>
                  </a:lnTo>
                  <a:lnTo>
                    <a:pt x="222" y="1610"/>
                  </a:lnTo>
                  <a:lnTo>
                    <a:pt x="234" y="1621"/>
                  </a:lnTo>
                  <a:lnTo>
                    <a:pt x="245" y="1631"/>
                  </a:lnTo>
                  <a:lnTo>
                    <a:pt x="251" y="1636"/>
                  </a:lnTo>
                  <a:lnTo>
                    <a:pt x="258" y="1641"/>
                  </a:lnTo>
                  <a:lnTo>
                    <a:pt x="270" y="1650"/>
                  </a:lnTo>
                  <a:lnTo>
                    <a:pt x="277" y="1654"/>
                  </a:lnTo>
                  <a:lnTo>
                    <a:pt x="283" y="1659"/>
                  </a:lnTo>
                  <a:lnTo>
                    <a:pt x="297" y="1666"/>
                  </a:lnTo>
                  <a:lnTo>
                    <a:pt x="310" y="1673"/>
                  </a:lnTo>
                  <a:lnTo>
                    <a:pt x="324" y="1679"/>
                  </a:lnTo>
                  <a:lnTo>
                    <a:pt x="339" y="1685"/>
                  </a:lnTo>
                  <a:lnTo>
                    <a:pt x="354" y="1690"/>
                  </a:lnTo>
                  <a:lnTo>
                    <a:pt x="369" y="1694"/>
                  </a:lnTo>
                  <a:lnTo>
                    <a:pt x="385" y="1697"/>
                  </a:lnTo>
                  <a:lnTo>
                    <a:pt x="401" y="1700"/>
                  </a:lnTo>
                  <a:lnTo>
                    <a:pt x="417" y="1702"/>
                  </a:lnTo>
                  <a:lnTo>
                    <a:pt x="434" y="1703"/>
                  </a:lnTo>
                  <a:lnTo>
                    <a:pt x="451" y="1703"/>
                  </a:lnTo>
                  <a:lnTo>
                    <a:pt x="483" y="1702"/>
                  </a:lnTo>
                  <a:lnTo>
                    <a:pt x="500" y="1701"/>
                  </a:lnTo>
                  <a:lnTo>
                    <a:pt x="516" y="1700"/>
                  </a:lnTo>
                  <a:lnTo>
                    <a:pt x="548" y="1695"/>
                  </a:lnTo>
                  <a:lnTo>
                    <a:pt x="565" y="1692"/>
                  </a:lnTo>
                  <a:lnTo>
                    <a:pt x="581" y="1689"/>
                  </a:lnTo>
                  <a:lnTo>
                    <a:pt x="597" y="1685"/>
                  </a:lnTo>
                  <a:lnTo>
                    <a:pt x="613" y="1681"/>
                  </a:lnTo>
                  <a:lnTo>
                    <a:pt x="629" y="1676"/>
                  </a:lnTo>
                  <a:lnTo>
                    <a:pt x="645" y="1671"/>
                  </a:lnTo>
                  <a:lnTo>
                    <a:pt x="676" y="1659"/>
                  </a:lnTo>
                  <a:lnTo>
                    <a:pt x="692" y="1652"/>
                  </a:lnTo>
                  <a:lnTo>
                    <a:pt x="708" y="1645"/>
                  </a:lnTo>
                  <a:lnTo>
                    <a:pt x="723" y="1637"/>
                  </a:lnTo>
                  <a:lnTo>
                    <a:pt x="739" y="1629"/>
                  </a:lnTo>
                  <a:lnTo>
                    <a:pt x="754" y="1621"/>
                  </a:lnTo>
                  <a:lnTo>
                    <a:pt x="770" y="1612"/>
                  </a:lnTo>
                  <a:lnTo>
                    <a:pt x="785" y="1602"/>
                  </a:lnTo>
                  <a:lnTo>
                    <a:pt x="800" y="1592"/>
                  </a:lnTo>
                  <a:lnTo>
                    <a:pt x="816" y="1582"/>
                  </a:lnTo>
                  <a:lnTo>
                    <a:pt x="831" y="1571"/>
                  </a:lnTo>
                  <a:lnTo>
                    <a:pt x="846" y="1560"/>
                  </a:lnTo>
                  <a:lnTo>
                    <a:pt x="861" y="1548"/>
                  </a:lnTo>
                  <a:lnTo>
                    <a:pt x="891" y="1523"/>
                  </a:lnTo>
                  <a:lnTo>
                    <a:pt x="906" y="1510"/>
                  </a:lnTo>
                  <a:lnTo>
                    <a:pt x="921" y="1497"/>
                  </a:lnTo>
                  <a:lnTo>
                    <a:pt x="935" y="1483"/>
                  </a:lnTo>
                  <a:lnTo>
                    <a:pt x="950" y="1468"/>
                  </a:lnTo>
                  <a:lnTo>
                    <a:pt x="963" y="1455"/>
                  </a:lnTo>
                  <a:lnTo>
                    <a:pt x="975" y="1442"/>
                  </a:lnTo>
                  <a:lnTo>
                    <a:pt x="986" y="1428"/>
                  </a:lnTo>
                  <a:lnTo>
                    <a:pt x="998" y="1414"/>
                  </a:lnTo>
                  <a:lnTo>
                    <a:pt x="1008" y="1400"/>
                  </a:lnTo>
                  <a:lnTo>
                    <a:pt x="1018" y="1385"/>
                  </a:lnTo>
                  <a:lnTo>
                    <a:pt x="1028" y="1371"/>
                  </a:lnTo>
                  <a:lnTo>
                    <a:pt x="1037" y="1356"/>
                  </a:lnTo>
                  <a:lnTo>
                    <a:pt x="1046" y="1341"/>
                  </a:lnTo>
                  <a:lnTo>
                    <a:pt x="1055" y="1325"/>
                  </a:lnTo>
                  <a:lnTo>
                    <a:pt x="1063" y="1310"/>
                  </a:lnTo>
                  <a:lnTo>
                    <a:pt x="1070" y="1294"/>
                  </a:lnTo>
                  <a:lnTo>
                    <a:pt x="1078" y="1278"/>
                  </a:lnTo>
                  <a:lnTo>
                    <a:pt x="1085" y="1262"/>
                  </a:lnTo>
                  <a:lnTo>
                    <a:pt x="1098" y="1230"/>
                  </a:lnTo>
                  <a:lnTo>
                    <a:pt x="1103" y="1213"/>
                  </a:lnTo>
                  <a:lnTo>
                    <a:pt x="1109" y="1195"/>
                  </a:lnTo>
                  <a:lnTo>
                    <a:pt x="1114" y="1176"/>
                  </a:lnTo>
                  <a:lnTo>
                    <a:pt x="1119" y="1156"/>
                  </a:lnTo>
                  <a:lnTo>
                    <a:pt x="1123" y="1135"/>
                  </a:lnTo>
                  <a:lnTo>
                    <a:pt x="1128" y="1112"/>
                  </a:lnTo>
                  <a:lnTo>
                    <a:pt x="1135" y="1064"/>
                  </a:lnTo>
                  <a:lnTo>
                    <a:pt x="1142" y="1014"/>
                  </a:lnTo>
                  <a:lnTo>
                    <a:pt x="1149" y="961"/>
                  </a:lnTo>
                  <a:lnTo>
                    <a:pt x="1155" y="905"/>
                  </a:lnTo>
                  <a:lnTo>
                    <a:pt x="1161" y="849"/>
                  </a:lnTo>
                  <a:lnTo>
                    <a:pt x="1168" y="768"/>
                  </a:lnTo>
                  <a:lnTo>
                    <a:pt x="1174" y="692"/>
                  </a:lnTo>
                  <a:lnTo>
                    <a:pt x="1186" y="561"/>
                  </a:lnTo>
                  <a:lnTo>
                    <a:pt x="1194" y="471"/>
                  </a:lnTo>
                  <a:lnTo>
                    <a:pt x="1198" y="438"/>
                  </a:lnTo>
                  <a:lnTo>
                    <a:pt x="1213" y="419"/>
                  </a:lnTo>
                  <a:lnTo>
                    <a:pt x="1222" y="409"/>
                  </a:lnTo>
                  <a:lnTo>
                    <a:pt x="1231" y="399"/>
                  </a:lnTo>
                  <a:lnTo>
                    <a:pt x="1253" y="377"/>
                  </a:lnTo>
                  <a:lnTo>
                    <a:pt x="1279" y="352"/>
                  </a:lnTo>
                  <a:lnTo>
                    <a:pt x="1294" y="339"/>
                  </a:lnTo>
                  <a:lnTo>
                    <a:pt x="1310" y="326"/>
                  </a:lnTo>
                  <a:lnTo>
                    <a:pt x="1343" y="298"/>
                  </a:lnTo>
                  <a:lnTo>
                    <a:pt x="1382" y="267"/>
                  </a:lnTo>
                  <a:lnTo>
                    <a:pt x="1403" y="251"/>
                  </a:lnTo>
                  <a:lnTo>
                    <a:pt x="1425" y="235"/>
                  </a:lnTo>
                  <a:lnTo>
                    <a:pt x="1426" y="235"/>
                  </a:lnTo>
                  <a:lnTo>
                    <a:pt x="1420" y="320"/>
                  </a:lnTo>
                  <a:lnTo>
                    <a:pt x="1414" y="367"/>
                  </a:lnTo>
                  <a:lnTo>
                    <a:pt x="1368" y="781"/>
                  </a:lnTo>
                  <a:lnTo>
                    <a:pt x="1364" y="825"/>
                  </a:lnTo>
                  <a:lnTo>
                    <a:pt x="1363" y="843"/>
                  </a:lnTo>
                  <a:lnTo>
                    <a:pt x="1363" y="856"/>
                  </a:lnTo>
                  <a:lnTo>
                    <a:pt x="1363" y="869"/>
                  </a:lnTo>
                  <a:lnTo>
                    <a:pt x="1364" y="877"/>
                  </a:lnTo>
                  <a:lnTo>
                    <a:pt x="1365" y="885"/>
                  </a:lnTo>
                  <a:lnTo>
                    <a:pt x="1367" y="894"/>
                  </a:lnTo>
                  <a:lnTo>
                    <a:pt x="1370" y="904"/>
                  </a:lnTo>
                  <a:lnTo>
                    <a:pt x="1371" y="909"/>
                  </a:lnTo>
                  <a:lnTo>
                    <a:pt x="1373" y="914"/>
                  </a:lnTo>
                  <a:lnTo>
                    <a:pt x="1378" y="923"/>
                  </a:lnTo>
                  <a:lnTo>
                    <a:pt x="1383" y="933"/>
                  </a:lnTo>
                  <a:lnTo>
                    <a:pt x="1389" y="942"/>
                  </a:lnTo>
                  <a:lnTo>
                    <a:pt x="1396" y="950"/>
                  </a:lnTo>
                  <a:lnTo>
                    <a:pt x="1401" y="955"/>
                  </a:lnTo>
                  <a:lnTo>
                    <a:pt x="1405" y="958"/>
                  </a:lnTo>
                  <a:lnTo>
                    <a:pt x="1410" y="962"/>
                  </a:lnTo>
                  <a:lnTo>
                    <a:pt x="1415" y="966"/>
                  </a:lnTo>
                  <a:lnTo>
                    <a:pt x="1421" y="969"/>
                  </a:lnTo>
                  <a:lnTo>
                    <a:pt x="1427" y="972"/>
                  </a:lnTo>
                  <a:lnTo>
                    <a:pt x="1433" y="974"/>
                  </a:lnTo>
                  <a:lnTo>
                    <a:pt x="1439" y="976"/>
                  </a:lnTo>
                  <a:lnTo>
                    <a:pt x="1447" y="978"/>
                  </a:lnTo>
                  <a:lnTo>
                    <a:pt x="1454" y="980"/>
                  </a:lnTo>
                  <a:lnTo>
                    <a:pt x="1464" y="981"/>
                  </a:lnTo>
                  <a:lnTo>
                    <a:pt x="1474" y="982"/>
                  </a:lnTo>
                  <a:lnTo>
                    <a:pt x="1484" y="982"/>
                  </a:lnTo>
                  <a:lnTo>
                    <a:pt x="1494" y="981"/>
                  </a:lnTo>
                  <a:lnTo>
                    <a:pt x="1503" y="980"/>
                  </a:lnTo>
                  <a:lnTo>
                    <a:pt x="1512" y="978"/>
                  </a:lnTo>
                  <a:lnTo>
                    <a:pt x="1520" y="976"/>
                  </a:lnTo>
                  <a:lnTo>
                    <a:pt x="1529" y="974"/>
                  </a:lnTo>
                  <a:lnTo>
                    <a:pt x="1536" y="971"/>
                  </a:lnTo>
                  <a:lnTo>
                    <a:pt x="1543" y="968"/>
                  </a:lnTo>
                  <a:lnTo>
                    <a:pt x="1556" y="963"/>
                  </a:lnTo>
                  <a:lnTo>
                    <a:pt x="1565" y="957"/>
                  </a:lnTo>
                  <a:lnTo>
                    <a:pt x="1572" y="952"/>
                  </a:lnTo>
                  <a:lnTo>
                    <a:pt x="1571" y="950"/>
                  </a:lnTo>
                  <a:lnTo>
                    <a:pt x="1571" y="947"/>
                  </a:lnTo>
                  <a:lnTo>
                    <a:pt x="1571" y="936"/>
                  </a:lnTo>
                  <a:lnTo>
                    <a:pt x="1571" y="922"/>
                  </a:lnTo>
                  <a:lnTo>
                    <a:pt x="1573" y="904"/>
                  </a:lnTo>
                  <a:lnTo>
                    <a:pt x="1575" y="883"/>
                  </a:lnTo>
                  <a:lnTo>
                    <a:pt x="1578" y="860"/>
                  </a:lnTo>
                  <a:lnTo>
                    <a:pt x="1584" y="810"/>
                  </a:lnTo>
                  <a:lnTo>
                    <a:pt x="1590" y="761"/>
                  </a:lnTo>
                  <a:lnTo>
                    <a:pt x="1596" y="719"/>
                  </a:lnTo>
                  <a:lnTo>
                    <a:pt x="1602" y="679"/>
                  </a:lnTo>
                  <a:lnTo>
                    <a:pt x="1604" y="661"/>
                  </a:lnTo>
                  <a:lnTo>
                    <a:pt x="1607" y="643"/>
                  </a:lnTo>
                  <a:lnTo>
                    <a:pt x="1611" y="625"/>
                  </a:lnTo>
                  <a:lnTo>
                    <a:pt x="1616" y="607"/>
                  </a:lnTo>
                  <a:lnTo>
                    <a:pt x="1621" y="589"/>
                  </a:lnTo>
                  <a:lnTo>
                    <a:pt x="1626" y="570"/>
                  </a:lnTo>
                  <a:lnTo>
                    <a:pt x="1633" y="552"/>
                  </a:lnTo>
                  <a:lnTo>
                    <a:pt x="1640" y="533"/>
                  </a:lnTo>
                  <a:lnTo>
                    <a:pt x="1648" y="514"/>
                  </a:lnTo>
                  <a:lnTo>
                    <a:pt x="1656" y="495"/>
                  </a:lnTo>
                  <a:lnTo>
                    <a:pt x="1665" y="476"/>
                  </a:lnTo>
                  <a:lnTo>
                    <a:pt x="1675" y="457"/>
                  </a:lnTo>
                  <a:lnTo>
                    <a:pt x="1686" y="438"/>
                  </a:lnTo>
                  <a:lnTo>
                    <a:pt x="1697" y="418"/>
                  </a:lnTo>
                  <a:lnTo>
                    <a:pt x="1709" y="398"/>
                  </a:lnTo>
                  <a:lnTo>
                    <a:pt x="1722" y="379"/>
                  </a:lnTo>
                  <a:lnTo>
                    <a:pt x="1737" y="355"/>
                  </a:lnTo>
                  <a:lnTo>
                    <a:pt x="1752" y="334"/>
                  </a:lnTo>
                  <a:lnTo>
                    <a:pt x="1766" y="315"/>
                  </a:lnTo>
                  <a:lnTo>
                    <a:pt x="1779" y="298"/>
                  </a:lnTo>
                  <a:lnTo>
                    <a:pt x="1792" y="283"/>
                  </a:lnTo>
                  <a:lnTo>
                    <a:pt x="1804" y="269"/>
                  </a:lnTo>
                  <a:lnTo>
                    <a:pt x="1814" y="258"/>
                  </a:lnTo>
                  <a:lnTo>
                    <a:pt x="1824" y="249"/>
                  </a:lnTo>
                  <a:lnTo>
                    <a:pt x="1833" y="241"/>
                  </a:lnTo>
                  <a:lnTo>
                    <a:pt x="1842" y="235"/>
                  </a:lnTo>
                  <a:lnTo>
                    <a:pt x="1846" y="233"/>
                  </a:lnTo>
                  <a:lnTo>
                    <a:pt x="1849" y="231"/>
                  </a:lnTo>
                  <a:lnTo>
                    <a:pt x="1856" y="228"/>
                  </a:lnTo>
                  <a:lnTo>
                    <a:pt x="1859" y="227"/>
                  </a:lnTo>
                  <a:lnTo>
                    <a:pt x="1861" y="227"/>
                  </a:lnTo>
                  <a:lnTo>
                    <a:pt x="1864" y="227"/>
                  </a:lnTo>
                  <a:lnTo>
                    <a:pt x="1866" y="227"/>
                  </a:lnTo>
                  <a:lnTo>
                    <a:pt x="1868" y="228"/>
                  </a:lnTo>
                  <a:lnTo>
                    <a:pt x="1870" y="229"/>
                  </a:lnTo>
                  <a:lnTo>
                    <a:pt x="1872" y="230"/>
                  </a:lnTo>
                  <a:lnTo>
                    <a:pt x="1873" y="232"/>
                  </a:lnTo>
                  <a:lnTo>
                    <a:pt x="1874" y="234"/>
                  </a:lnTo>
                  <a:lnTo>
                    <a:pt x="1875" y="237"/>
                  </a:lnTo>
                  <a:lnTo>
                    <a:pt x="1877" y="244"/>
                  </a:lnTo>
                  <a:lnTo>
                    <a:pt x="1877" y="248"/>
                  </a:lnTo>
                  <a:lnTo>
                    <a:pt x="1878" y="253"/>
                  </a:lnTo>
                  <a:lnTo>
                    <a:pt x="1878" y="263"/>
                  </a:lnTo>
                  <a:lnTo>
                    <a:pt x="1878" y="275"/>
                  </a:lnTo>
                  <a:lnTo>
                    <a:pt x="1878" y="287"/>
                  </a:lnTo>
                  <a:lnTo>
                    <a:pt x="1876" y="313"/>
                  </a:lnTo>
                  <a:lnTo>
                    <a:pt x="1874" y="338"/>
                  </a:lnTo>
                  <a:lnTo>
                    <a:pt x="1872" y="360"/>
                  </a:lnTo>
                  <a:lnTo>
                    <a:pt x="1870" y="380"/>
                  </a:lnTo>
                  <a:lnTo>
                    <a:pt x="1825" y="784"/>
                  </a:lnTo>
                  <a:lnTo>
                    <a:pt x="1823" y="811"/>
                  </a:lnTo>
                  <a:lnTo>
                    <a:pt x="1821" y="837"/>
                  </a:lnTo>
                  <a:lnTo>
                    <a:pt x="1820" y="856"/>
                  </a:lnTo>
                  <a:lnTo>
                    <a:pt x="1821" y="869"/>
                  </a:lnTo>
                  <a:lnTo>
                    <a:pt x="1821" y="877"/>
                  </a:lnTo>
                  <a:lnTo>
                    <a:pt x="1823" y="885"/>
                  </a:lnTo>
                  <a:lnTo>
                    <a:pt x="1825" y="894"/>
                  </a:lnTo>
                  <a:lnTo>
                    <a:pt x="1827" y="904"/>
                  </a:lnTo>
                  <a:lnTo>
                    <a:pt x="1829" y="909"/>
                  </a:lnTo>
                  <a:lnTo>
                    <a:pt x="1831" y="914"/>
                  </a:lnTo>
                  <a:lnTo>
                    <a:pt x="1835" y="923"/>
                  </a:lnTo>
                  <a:lnTo>
                    <a:pt x="1840" y="933"/>
                  </a:lnTo>
                  <a:lnTo>
                    <a:pt x="1846" y="942"/>
                  </a:lnTo>
                  <a:lnTo>
                    <a:pt x="1854" y="950"/>
                  </a:lnTo>
                  <a:lnTo>
                    <a:pt x="1858" y="955"/>
                  </a:lnTo>
                  <a:lnTo>
                    <a:pt x="1863" y="958"/>
                  </a:lnTo>
                  <a:lnTo>
                    <a:pt x="1867" y="962"/>
                  </a:lnTo>
                  <a:lnTo>
                    <a:pt x="1873" y="966"/>
                  </a:lnTo>
                  <a:lnTo>
                    <a:pt x="1878" y="969"/>
                  </a:lnTo>
                  <a:lnTo>
                    <a:pt x="1884" y="972"/>
                  </a:lnTo>
                  <a:lnTo>
                    <a:pt x="1890" y="974"/>
                  </a:lnTo>
                  <a:lnTo>
                    <a:pt x="1897" y="976"/>
                  </a:lnTo>
                  <a:lnTo>
                    <a:pt x="1904" y="978"/>
                  </a:lnTo>
                  <a:lnTo>
                    <a:pt x="1911" y="980"/>
                  </a:lnTo>
                  <a:lnTo>
                    <a:pt x="1922" y="981"/>
                  </a:lnTo>
                  <a:lnTo>
                    <a:pt x="1932" y="982"/>
                  </a:lnTo>
                  <a:lnTo>
                    <a:pt x="1943" y="982"/>
                  </a:lnTo>
                  <a:lnTo>
                    <a:pt x="1953" y="981"/>
                  </a:lnTo>
                  <a:lnTo>
                    <a:pt x="1963" y="979"/>
                  </a:lnTo>
                  <a:lnTo>
                    <a:pt x="1973" y="977"/>
                  </a:lnTo>
                  <a:lnTo>
                    <a:pt x="1982" y="975"/>
                  </a:lnTo>
                  <a:lnTo>
                    <a:pt x="1991" y="972"/>
                  </a:lnTo>
                  <a:lnTo>
                    <a:pt x="2007" y="966"/>
                  </a:lnTo>
                  <a:lnTo>
                    <a:pt x="2021" y="959"/>
                  </a:lnTo>
                  <a:lnTo>
                    <a:pt x="2032" y="953"/>
                  </a:lnTo>
                  <a:lnTo>
                    <a:pt x="2036" y="950"/>
                  </a:lnTo>
                  <a:lnTo>
                    <a:pt x="2040" y="947"/>
                  </a:lnTo>
                  <a:lnTo>
                    <a:pt x="2038" y="940"/>
                  </a:lnTo>
                  <a:lnTo>
                    <a:pt x="2038" y="928"/>
                  </a:lnTo>
                  <a:lnTo>
                    <a:pt x="2038" y="913"/>
                  </a:lnTo>
                  <a:lnTo>
                    <a:pt x="2039" y="895"/>
                  </a:lnTo>
                  <a:lnTo>
                    <a:pt x="2042" y="851"/>
                  </a:lnTo>
                  <a:lnTo>
                    <a:pt x="2047" y="804"/>
                  </a:lnTo>
                  <a:lnTo>
                    <a:pt x="2052" y="757"/>
                  </a:lnTo>
                  <a:lnTo>
                    <a:pt x="2056" y="717"/>
                  </a:lnTo>
                  <a:lnTo>
                    <a:pt x="2061" y="679"/>
                  </a:lnTo>
                  <a:lnTo>
                    <a:pt x="2063" y="661"/>
                  </a:lnTo>
                  <a:lnTo>
                    <a:pt x="2066" y="643"/>
                  </a:lnTo>
                  <a:lnTo>
                    <a:pt x="2070" y="625"/>
                  </a:lnTo>
                  <a:lnTo>
                    <a:pt x="2074" y="607"/>
                  </a:lnTo>
                  <a:lnTo>
                    <a:pt x="2080" y="589"/>
                  </a:lnTo>
                  <a:lnTo>
                    <a:pt x="2085" y="571"/>
                  </a:lnTo>
                  <a:lnTo>
                    <a:pt x="2092" y="552"/>
                  </a:lnTo>
                  <a:lnTo>
                    <a:pt x="2099" y="533"/>
                  </a:lnTo>
                  <a:lnTo>
                    <a:pt x="2107" y="515"/>
                  </a:lnTo>
                  <a:lnTo>
                    <a:pt x="2116" y="496"/>
                  </a:lnTo>
                  <a:lnTo>
                    <a:pt x="2125" y="476"/>
                  </a:lnTo>
                  <a:lnTo>
                    <a:pt x="2135" y="457"/>
                  </a:lnTo>
                  <a:lnTo>
                    <a:pt x="2146" y="438"/>
                  </a:lnTo>
                  <a:lnTo>
                    <a:pt x="2158" y="418"/>
                  </a:lnTo>
                  <a:lnTo>
                    <a:pt x="2170" y="399"/>
                  </a:lnTo>
                  <a:lnTo>
                    <a:pt x="2182" y="379"/>
                  </a:lnTo>
                  <a:lnTo>
                    <a:pt x="2198" y="356"/>
                  </a:lnTo>
                  <a:lnTo>
                    <a:pt x="2213" y="335"/>
                  </a:lnTo>
                  <a:lnTo>
                    <a:pt x="2228" y="316"/>
                  </a:lnTo>
                  <a:lnTo>
                    <a:pt x="2241" y="299"/>
                  </a:lnTo>
                  <a:lnTo>
                    <a:pt x="2254" y="284"/>
                  </a:lnTo>
                  <a:lnTo>
                    <a:pt x="2266" y="271"/>
                  </a:lnTo>
                  <a:lnTo>
                    <a:pt x="2276" y="260"/>
                  </a:lnTo>
                  <a:lnTo>
                    <a:pt x="2287" y="251"/>
                  </a:lnTo>
                  <a:lnTo>
                    <a:pt x="2296" y="244"/>
                  </a:lnTo>
                  <a:lnTo>
                    <a:pt x="2305" y="238"/>
                  </a:lnTo>
                  <a:lnTo>
                    <a:pt x="2308" y="235"/>
                  </a:lnTo>
                  <a:lnTo>
                    <a:pt x="2312" y="233"/>
                  </a:lnTo>
                  <a:lnTo>
                    <a:pt x="2319" y="231"/>
                  </a:lnTo>
                  <a:lnTo>
                    <a:pt x="2325" y="229"/>
                  </a:lnTo>
                  <a:lnTo>
                    <a:pt x="2330" y="229"/>
                  </a:lnTo>
                  <a:lnTo>
                    <a:pt x="2335" y="230"/>
                  </a:lnTo>
                  <a:lnTo>
                    <a:pt x="2337" y="231"/>
                  </a:lnTo>
                  <a:lnTo>
                    <a:pt x="2338" y="232"/>
                  </a:lnTo>
                  <a:lnTo>
                    <a:pt x="2340" y="234"/>
                  </a:lnTo>
                  <a:lnTo>
                    <a:pt x="2341" y="236"/>
                  </a:lnTo>
                  <a:lnTo>
                    <a:pt x="2342" y="240"/>
                  </a:lnTo>
                  <a:lnTo>
                    <a:pt x="2342" y="244"/>
                  </a:lnTo>
                  <a:lnTo>
                    <a:pt x="2343" y="254"/>
                  </a:lnTo>
                  <a:lnTo>
                    <a:pt x="2343" y="267"/>
                  </a:lnTo>
                  <a:lnTo>
                    <a:pt x="2342" y="281"/>
                  </a:lnTo>
                  <a:lnTo>
                    <a:pt x="2341" y="297"/>
                  </a:lnTo>
                  <a:lnTo>
                    <a:pt x="2338" y="330"/>
                  </a:lnTo>
                  <a:lnTo>
                    <a:pt x="2334" y="363"/>
                  </a:lnTo>
                  <a:lnTo>
                    <a:pt x="2330" y="391"/>
                  </a:lnTo>
                  <a:lnTo>
                    <a:pt x="2326" y="418"/>
                  </a:lnTo>
                  <a:lnTo>
                    <a:pt x="2293" y="634"/>
                  </a:lnTo>
                  <a:lnTo>
                    <a:pt x="2289" y="668"/>
                  </a:lnTo>
                  <a:lnTo>
                    <a:pt x="2284" y="700"/>
                  </a:lnTo>
                  <a:lnTo>
                    <a:pt x="2281" y="729"/>
                  </a:lnTo>
                  <a:lnTo>
                    <a:pt x="2278" y="756"/>
                  </a:lnTo>
                  <a:lnTo>
                    <a:pt x="2276" y="780"/>
                  </a:lnTo>
                  <a:lnTo>
                    <a:pt x="2274" y="803"/>
                  </a:lnTo>
                  <a:lnTo>
                    <a:pt x="2273" y="823"/>
                  </a:lnTo>
                  <a:lnTo>
                    <a:pt x="2273" y="841"/>
                  </a:lnTo>
                  <a:lnTo>
                    <a:pt x="2273" y="854"/>
                  </a:lnTo>
                  <a:lnTo>
                    <a:pt x="2274" y="866"/>
                  </a:lnTo>
                  <a:lnTo>
                    <a:pt x="2275" y="877"/>
                  </a:lnTo>
                  <a:lnTo>
                    <a:pt x="2277" y="888"/>
                  </a:lnTo>
                  <a:lnTo>
                    <a:pt x="2279" y="898"/>
                  </a:lnTo>
                  <a:lnTo>
                    <a:pt x="2282" y="907"/>
                  </a:lnTo>
                  <a:lnTo>
                    <a:pt x="2288" y="923"/>
                  </a:lnTo>
                  <a:lnTo>
                    <a:pt x="2292" y="931"/>
                  </a:lnTo>
                  <a:lnTo>
                    <a:pt x="2296" y="938"/>
                  </a:lnTo>
                  <a:lnTo>
                    <a:pt x="2300" y="944"/>
                  </a:lnTo>
                  <a:lnTo>
                    <a:pt x="2305" y="950"/>
                  </a:lnTo>
                  <a:lnTo>
                    <a:pt x="2307" y="953"/>
                  </a:lnTo>
                  <a:lnTo>
                    <a:pt x="2309" y="955"/>
                  </a:lnTo>
                  <a:lnTo>
                    <a:pt x="2314" y="960"/>
                  </a:lnTo>
                  <a:lnTo>
                    <a:pt x="2324" y="969"/>
                  </a:lnTo>
                  <a:lnTo>
                    <a:pt x="2335" y="975"/>
                  </a:lnTo>
                  <a:lnTo>
                    <a:pt x="2345" y="981"/>
                  </a:lnTo>
                  <a:lnTo>
                    <a:pt x="2356" y="985"/>
                  </a:lnTo>
                  <a:lnTo>
                    <a:pt x="2366" y="988"/>
                  </a:lnTo>
                  <a:lnTo>
                    <a:pt x="2375" y="989"/>
                  </a:lnTo>
                  <a:lnTo>
                    <a:pt x="2384" y="991"/>
                  </a:lnTo>
                  <a:lnTo>
                    <a:pt x="2398" y="991"/>
                  </a:lnTo>
                  <a:lnTo>
                    <a:pt x="2408" y="991"/>
                  </a:lnTo>
                  <a:lnTo>
                    <a:pt x="2418" y="990"/>
                  </a:lnTo>
                  <a:lnTo>
                    <a:pt x="2429" y="988"/>
                  </a:lnTo>
                  <a:lnTo>
                    <a:pt x="2439" y="985"/>
                  </a:lnTo>
                  <a:lnTo>
                    <a:pt x="2450" y="981"/>
                  </a:lnTo>
                  <a:lnTo>
                    <a:pt x="2462" y="977"/>
                  </a:lnTo>
                  <a:lnTo>
                    <a:pt x="2473" y="971"/>
                  </a:lnTo>
                  <a:lnTo>
                    <a:pt x="2485" y="965"/>
                  </a:lnTo>
                  <a:lnTo>
                    <a:pt x="2497" y="958"/>
                  </a:lnTo>
                  <a:lnTo>
                    <a:pt x="2509" y="950"/>
                  </a:lnTo>
                  <a:lnTo>
                    <a:pt x="2522" y="941"/>
                  </a:lnTo>
                  <a:lnTo>
                    <a:pt x="2535" y="931"/>
                  </a:lnTo>
                  <a:lnTo>
                    <a:pt x="2548" y="921"/>
                  </a:lnTo>
                  <a:lnTo>
                    <a:pt x="2562" y="909"/>
                  </a:lnTo>
                  <a:lnTo>
                    <a:pt x="2576" y="897"/>
                  </a:lnTo>
                  <a:lnTo>
                    <a:pt x="2590" y="883"/>
                  </a:lnTo>
                  <a:lnTo>
                    <a:pt x="2606" y="868"/>
                  </a:lnTo>
                  <a:lnTo>
                    <a:pt x="2620" y="854"/>
                  </a:lnTo>
                  <a:lnTo>
                    <a:pt x="2622" y="865"/>
                  </a:lnTo>
                  <a:lnTo>
                    <a:pt x="2626" y="875"/>
                  </a:lnTo>
                  <a:lnTo>
                    <a:pt x="2629" y="884"/>
                  </a:lnTo>
                  <a:lnTo>
                    <a:pt x="2633" y="893"/>
                  </a:lnTo>
                  <a:lnTo>
                    <a:pt x="2637" y="902"/>
                  </a:lnTo>
                  <a:lnTo>
                    <a:pt x="2641" y="910"/>
                  </a:lnTo>
                  <a:lnTo>
                    <a:pt x="2645" y="918"/>
                  </a:lnTo>
                  <a:lnTo>
                    <a:pt x="2650" y="925"/>
                  </a:lnTo>
                  <a:lnTo>
                    <a:pt x="2654" y="931"/>
                  </a:lnTo>
                  <a:lnTo>
                    <a:pt x="2659" y="938"/>
                  </a:lnTo>
                  <a:lnTo>
                    <a:pt x="2664" y="943"/>
                  </a:lnTo>
                  <a:lnTo>
                    <a:pt x="2669" y="949"/>
                  </a:lnTo>
                  <a:lnTo>
                    <a:pt x="2675" y="954"/>
                  </a:lnTo>
                  <a:lnTo>
                    <a:pt x="2680" y="958"/>
                  </a:lnTo>
                  <a:lnTo>
                    <a:pt x="2686" y="963"/>
                  </a:lnTo>
                  <a:lnTo>
                    <a:pt x="2691" y="966"/>
                  </a:lnTo>
                  <a:lnTo>
                    <a:pt x="2702" y="973"/>
                  </a:lnTo>
                  <a:lnTo>
                    <a:pt x="2714" y="979"/>
                  </a:lnTo>
                  <a:lnTo>
                    <a:pt x="2719" y="981"/>
                  </a:lnTo>
                  <a:lnTo>
                    <a:pt x="2725" y="983"/>
                  </a:lnTo>
                  <a:lnTo>
                    <a:pt x="2737" y="986"/>
                  </a:lnTo>
                  <a:lnTo>
                    <a:pt x="2748" y="989"/>
                  </a:lnTo>
                  <a:lnTo>
                    <a:pt x="2759" y="990"/>
                  </a:lnTo>
                  <a:lnTo>
                    <a:pt x="2770" y="991"/>
                  </a:lnTo>
                  <a:lnTo>
                    <a:pt x="2779" y="991"/>
                  </a:lnTo>
                  <a:lnTo>
                    <a:pt x="2793" y="991"/>
                  </a:lnTo>
                  <a:lnTo>
                    <a:pt x="2807" y="990"/>
                  </a:lnTo>
                  <a:lnTo>
                    <a:pt x="2821" y="987"/>
                  </a:lnTo>
                  <a:lnTo>
                    <a:pt x="2835" y="984"/>
                  </a:lnTo>
                  <a:lnTo>
                    <a:pt x="2850" y="980"/>
                  </a:lnTo>
                  <a:lnTo>
                    <a:pt x="2864" y="975"/>
                  </a:lnTo>
                  <a:lnTo>
                    <a:pt x="2879" y="969"/>
                  </a:lnTo>
                  <a:lnTo>
                    <a:pt x="2894" y="962"/>
                  </a:lnTo>
                  <a:lnTo>
                    <a:pt x="2909" y="954"/>
                  </a:lnTo>
                  <a:lnTo>
                    <a:pt x="2925" y="946"/>
                  </a:lnTo>
                  <a:lnTo>
                    <a:pt x="2940" y="936"/>
                  </a:lnTo>
                  <a:lnTo>
                    <a:pt x="2956" y="925"/>
                  </a:lnTo>
                  <a:lnTo>
                    <a:pt x="2973" y="914"/>
                  </a:lnTo>
                  <a:lnTo>
                    <a:pt x="2989" y="901"/>
                  </a:lnTo>
                  <a:lnTo>
                    <a:pt x="3006" y="888"/>
                  </a:lnTo>
                  <a:lnTo>
                    <a:pt x="3023" y="873"/>
                  </a:lnTo>
                  <a:lnTo>
                    <a:pt x="3038" y="860"/>
                  </a:lnTo>
                  <a:lnTo>
                    <a:pt x="3053" y="846"/>
                  </a:lnTo>
                  <a:lnTo>
                    <a:pt x="3067" y="832"/>
                  </a:lnTo>
                  <a:lnTo>
                    <a:pt x="3082" y="817"/>
                  </a:lnTo>
                  <a:lnTo>
                    <a:pt x="3096" y="801"/>
                  </a:lnTo>
                  <a:lnTo>
                    <a:pt x="3111" y="786"/>
                  </a:lnTo>
                  <a:lnTo>
                    <a:pt x="3125" y="769"/>
                  </a:lnTo>
                  <a:lnTo>
                    <a:pt x="3139" y="753"/>
                  </a:lnTo>
                  <a:lnTo>
                    <a:pt x="3136" y="775"/>
                  </a:lnTo>
                  <a:lnTo>
                    <a:pt x="3130" y="856"/>
                  </a:lnTo>
                  <a:lnTo>
                    <a:pt x="3130" y="867"/>
                  </a:lnTo>
                  <a:lnTo>
                    <a:pt x="3131" y="878"/>
                  </a:lnTo>
                  <a:lnTo>
                    <a:pt x="3132" y="888"/>
                  </a:lnTo>
                  <a:lnTo>
                    <a:pt x="3133" y="898"/>
                  </a:lnTo>
                  <a:lnTo>
                    <a:pt x="3135" y="907"/>
                  </a:lnTo>
                  <a:lnTo>
                    <a:pt x="3138" y="915"/>
                  </a:lnTo>
                  <a:lnTo>
                    <a:pt x="3140" y="923"/>
                  </a:lnTo>
                  <a:lnTo>
                    <a:pt x="3144" y="930"/>
                  </a:lnTo>
                  <a:lnTo>
                    <a:pt x="3147" y="937"/>
                  </a:lnTo>
                  <a:lnTo>
                    <a:pt x="3150" y="943"/>
                  </a:lnTo>
                  <a:lnTo>
                    <a:pt x="3154" y="949"/>
                  </a:lnTo>
                  <a:lnTo>
                    <a:pt x="3158" y="954"/>
                  </a:lnTo>
                  <a:lnTo>
                    <a:pt x="3163" y="959"/>
                  </a:lnTo>
                  <a:lnTo>
                    <a:pt x="3167" y="963"/>
                  </a:lnTo>
                  <a:lnTo>
                    <a:pt x="3172" y="967"/>
                  </a:lnTo>
                  <a:lnTo>
                    <a:pt x="3176" y="971"/>
                  </a:lnTo>
                  <a:lnTo>
                    <a:pt x="3186" y="977"/>
                  </a:lnTo>
                  <a:lnTo>
                    <a:pt x="3195" y="982"/>
                  </a:lnTo>
                  <a:lnTo>
                    <a:pt x="3200" y="984"/>
                  </a:lnTo>
                  <a:lnTo>
                    <a:pt x="3205" y="985"/>
                  </a:lnTo>
                  <a:lnTo>
                    <a:pt x="3209" y="987"/>
                  </a:lnTo>
                  <a:lnTo>
                    <a:pt x="3214" y="988"/>
                  </a:lnTo>
                  <a:lnTo>
                    <a:pt x="3223" y="990"/>
                  </a:lnTo>
                  <a:lnTo>
                    <a:pt x="3230" y="991"/>
                  </a:lnTo>
                  <a:lnTo>
                    <a:pt x="3243" y="991"/>
                  </a:lnTo>
                  <a:lnTo>
                    <a:pt x="3257" y="991"/>
                  </a:lnTo>
                  <a:lnTo>
                    <a:pt x="3272" y="989"/>
                  </a:lnTo>
                  <a:lnTo>
                    <a:pt x="3279" y="987"/>
                  </a:lnTo>
                  <a:lnTo>
                    <a:pt x="3286" y="985"/>
                  </a:lnTo>
                  <a:lnTo>
                    <a:pt x="3293" y="983"/>
                  </a:lnTo>
                  <a:lnTo>
                    <a:pt x="3300" y="980"/>
                  </a:lnTo>
                  <a:lnTo>
                    <a:pt x="3314" y="974"/>
                  </a:lnTo>
                  <a:lnTo>
                    <a:pt x="3321" y="971"/>
                  </a:lnTo>
                  <a:lnTo>
                    <a:pt x="3328" y="967"/>
                  </a:lnTo>
                  <a:lnTo>
                    <a:pt x="3335" y="963"/>
                  </a:lnTo>
                  <a:lnTo>
                    <a:pt x="3342" y="959"/>
                  </a:lnTo>
                  <a:lnTo>
                    <a:pt x="3357" y="949"/>
                  </a:lnTo>
                  <a:lnTo>
                    <a:pt x="3356" y="948"/>
                  </a:lnTo>
                  <a:lnTo>
                    <a:pt x="3354" y="946"/>
                  </a:lnTo>
                  <a:lnTo>
                    <a:pt x="3353" y="944"/>
                  </a:lnTo>
                  <a:lnTo>
                    <a:pt x="3352" y="940"/>
                  </a:lnTo>
                  <a:lnTo>
                    <a:pt x="3351" y="936"/>
                  </a:lnTo>
                  <a:lnTo>
                    <a:pt x="3350" y="924"/>
                  </a:lnTo>
                  <a:lnTo>
                    <a:pt x="3350" y="908"/>
                  </a:lnTo>
                  <a:lnTo>
                    <a:pt x="3351" y="889"/>
                  </a:lnTo>
                  <a:lnTo>
                    <a:pt x="3352" y="866"/>
                  </a:lnTo>
                  <a:lnTo>
                    <a:pt x="3357" y="813"/>
                  </a:lnTo>
                  <a:lnTo>
                    <a:pt x="3361" y="783"/>
                  </a:lnTo>
                  <a:lnTo>
                    <a:pt x="3365" y="751"/>
                  </a:lnTo>
                  <a:lnTo>
                    <a:pt x="3374" y="682"/>
                  </a:lnTo>
                  <a:lnTo>
                    <a:pt x="3384" y="608"/>
                  </a:lnTo>
                  <a:lnTo>
                    <a:pt x="3395" y="532"/>
                  </a:lnTo>
                  <a:lnTo>
                    <a:pt x="3419" y="383"/>
                  </a:lnTo>
                  <a:lnTo>
                    <a:pt x="3440" y="254"/>
                  </a:lnTo>
                  <a:lnTo>
                    <a:pt x="3461" y="128"/>
                  </a:lnTo>
                  <a:lnTo>
                    <a:pt x="3462" y="127"/>
                  </a:lnTo>
                  <a:lnTo>
                    <a:pt x="3462" y="122"/>
                  </a:lnTo>
                  <a:lnTo>
                    <a:pt x="3463" y="118"/>
                  </a:lnTo>
                  <a:lnTo>
                    <a:pt x="3463" y="110"/>
                  </a:lnTo>
                  <a:lnTo>
                    <a:pt x="3462" y="106"/>
                  </a:lnTo>
                  <a:lnTo>
                    <a:pt x="3461" y="102"/>
                  </a:lnTo>
                  <a:lnTo>
                    <a:pt x="3461" y="98"/>
                  </a:lnTo>
                  <a:lnTo>
                    <a:pt x="3459" y="95"/>
                  </a:lnTo>
                  <a:lnTo>
                    <a:pt x="3456" y="88"/>
                  </a:lnTo>
                  <a:lnTo>
                    <a:pt x="3452" y="82"/>
                  </a:lnTo>
                  <a:lnTo>
                    <a:pt x="3447" y="76"/>
                  </a:lnTo>
                  <a:lnTo>
                    <a:pt x="3441" y="70"/>
                  </a:lnTo>
                  <a:lnTo>
                    <a:pt x="3435" y="65"/>
                  </a:lnTo>
                  <a:lnTo>
                    <a:pt x="3432" y="63"/>
                  </a:lnTo>
                  <a:lnTo>
                    <a:pt x="3428" y="61"/>
                  </a:lnTo>
                  <a:lnTo>
                    <a:pt x="3420" y="57"/>
                  </a:lnTo>
                  <a:lnTo>
                    <a:pt x="3412" y="53"/>
                  </a:lnTo>
                  <a:lnTo>
                    <a:pt x="3404" y="49"/>
                  </a:lnTo>
                  <a:lnTo>
                    <a:pt x="3395" y="46"/>
                  </a:lnTo>
                  <a:lnTo>
                    <a:pt x="3376" y="41"/>
                  </a:lnTo>
                  <a:lnTo>
                    <a:pt x="3357" y="36"/>
                  </a:lnTo>
                  <a:lnTo>
                    <a:pt x="3337" y="33"/>
                  </a:lnTo>
                  <a:lnTo>
                    <a:pt x="3317" y="30"/>
                  </a:lnTo>
                  <a:lnTo>
                    <a:pt x="3299" y="29"/>
                  </a:lnTo>
                  <a:lnTo>
                    <a:pt x="3282" y="28"/>
                  </a:lnTo>
                  <a:lnTo>
                    <a:pt x="3267" y="27"/>
                  </a:lnTo>
                  <a:lnTo>
                    <a:pt x="3244" y="27"/>
                  </a:lnTo>
                  <a:close/>
                  <a:moveTo>
                    <a:pt x="929" y="821"/>
                  </a:moveTo>
                  <a:lnTo>
                    <a:pt x="923" y="888"/>
                  </a:lnTo>
                  <a:lnTo>
                    <a:pt x="917" y="950"/>
                  </a:lnTo>
                  <a:lnTo>
                    <a:pt x="910" y="1009"/>
                  </a:lnTo>
                  <a:lnTo>
                    <a:pt x="904" y="1063"/>
                  </a:lnTo>
                  <a:lnTo>
                    <a:pt x="897" y="1114"/>
                  </a:lnTo>
                  <a:lnTo>
                    <a:pt x="890" y="1160"/>
                  </a:lnTo>
                  <a:lnTo>
                    <a:pt x="882" y="1202"/>
                  </a:lnTo>
                  <a:lnTo>
                    <a:pt x="875" y="1240"/>
                  </a:lnTo>
                  <a:lnTo>
                    <a:pt x="868" y="1275"/>
                  </a:lnTo>
                  <a:lnTo>
                    <a:pt x="861" y="1306"/>
                  </a:lnTo>
                  <a:lnTo>
                    <a:pt x="854" y="1333"/>
                  </a:lnTo>
                  <a:lnTo>
                    <a:pt x="847" y="1357"/>
                  </a:lnTo>
                  <a:lnTo>
                    <a:pt x="843" y="1368"/>
                  </a:lnTo>
                  <a:lnTo>
                    <a:pt x="840" y="1378"/>
                  </a:lnTo>
                  <a:lnTo>
                    <a:pt x="833" y="1395"/>
                  </a:lnTo>
                  <a:lnTo>
                    <a:pt x="830" y="1403"/>
                  </a:lnTo>
                  <a:lnTo>
                    <a:pt x="826" y="1410"/>
                  </a:lnTo>
                  <a:lnTo>
                    <a:pt x="823" y="1415"/>
                  </a:lnTo>
                  <a:lnTo>
                    <a:pt x="820" y="1421"/>
                  </a:lnTo>
                  <a:lnTo>
                    <a:pt x="809" y="1437"/>
                  </a:lnTo>
                  <a:lnTo>
                    <a:pt x="798" y="1452"/>
                  </a:lnTo>
                  <a:lnTo>
                    <a:pt x="791" y="1460"/>
                  </a:lnTo>
                  <a:lnTo>
                    <a:pt x="785" y="1467"/>
                  </a:lnTo>
                  <a:lnTo>
                    <a:pt x="779" y="1473"/>
                  </a:lnTo>
                  <a:lnTo>
                    <a:pt x="773" y="1480"/>
                  </a:lnTo>
                  <a:lnTo>
                    <a:pt x="766" y="1486"/>
                  </a:lnTo>
                  <a:lnTo>
                    <a:pt x="760" y="1492"/>
                  </a:lnTo>
                  <a:lnTo>
                    <a:pt x="746" y="1503"/>
                  </a:lnTo>
                  <a:lnTo>
                    <a:pt x="732" y="1513"/>
                  </a:lnTo>
                  <a:lnTo>
                    <a:pt x="724" y="1517"/>
                  </a:lnTo>
                  <a:lnTo>
                    <a:pt x="717" y="1522"/>
                  </a:lnTo>
                  <a:lnTo>
                    <a:pt x="701" y="1529"/>
                  </a:lnTo>
                  <a:lnTo>
                    <a:pt x="694" y="1533"/>
                  </a:lnTo>
                  <a:lnTo>
                    <a:pt x="686" y="1536"/>
                  </a:lnTo>
                  <a:lnTo>
                    <a:pt x="669" y="1542"/>
                  </a:lnTo>
                  <a:lnTo>
                    <a:pt x="661" y="1544"/>
                  </a:lnTo>
                  <a:lnTo>
                    <a:pt x="652" y="1546"/>
                  </a:lnTo>
                  <a:lnTo>
                    <a:pt x="635" y="1550"/>
                  </a:lnTo>
                  <a:lnTo>
                    <a:pt x="616" y="1552"/>
                  </a:lnTo>
                  <a:lnTo>
                    <a:pt x="598" y="1554"/>
                  </a:lnTo>
                  <a:lnTo>
                    <a:pt x="578" y="1554"/>
                  </a:lnTo>
                  <a:lnTo>
                    <a:pt x="565" y="1554"/>
                  </a:lnTo>
                  <a:lnTo>
                    <a:pt x="549" y="1552"/>
                  </a:lnTo>
                  <a:lnTo>
                    <a:pt x="541" y="1550"/>
                  </a:lnTo>
                  <a:lnTo>
                    <a:pt x="533" y="1548"/>
                  </a:lnTo>
                  <a:lnTo>
                    <a:pt x="515" y="1543"/>
                  </a:lnTo>
                  <a:lnTo>
                    <a:pt x="506" y="1540"/>
                  </a:lnTo>
                  <a:lnTo>
                    <a:pt x="496" y="1536"/>
                  </a:lnTo>
                  <a:lnTo>
                    <a:pt x="478" y="1527"/>
                  </a:lnTo>
                  <a:lnTo>
                    <a:pt x="468" y="1522"/>
                  </a:lnTo>
                  <a:lnTo>
                    <a:pt x="459" y="1516"/>
                  </a:lnTo>
                  <a:lnTo>
                    <a:pt x="450" y="1509"/>
                  </a:lnTo>
                  <a:lnTo>
                    <a:pt x="441" y="1503"/>
                  </a:lnTo>
                  <a:lnTo>
                    <a:pt x="432" y="1495"/>
                  </a:lnTo>
                  <a:lnTo>
                    <a:pt x="423" y="1487"/>
                  </a:lnTo>
                  <a:lnTo>
                    <a:pt x="415" y="1478"/>
                  </a:lnTo>
                  <a:lnTo>
                    <a:pt x="407" y="1469"/>
                  </a:lnTo>
                  <a:lnTo>
                    <a:pt x="399" y="1459"/>
                  </a:lnTo>
                  <a:lnTo>
                    <a:pt x="392" y="1448"/>
                  </a:lnTo>
                  <a:lnTo>
                    <a:pt x="385" y="1436"/>
                  </a:lnTo>
                  <a:lnTo>
                    <a:pt x="379" y="1424"/>
                  </a:lnTo>
                  <a:lnTo>
                    <a:pt x="373" y="1411"/>
                  </a:lnTo>
                  <a:lnTo>
                    <a:pt x="368" y="1398"/>
                  </a:lnTo>
                  <a:lnTo>
                    <a:pt x="364" y="1383"/>
                  </a:lnTo>
                  <a:lnTo>
                    <a:pt x="360" y="1368"/>
                  </a:lnTo>
                  <a:lnTo>
                    <a:pt x="357" y="1352"/>
                  </a:lnTo>
                  <a:lnTo>
                    <a:pt x="355" y="1335"/>
                  </a:lnTo>
                  <a:lnTo>
                    <a:pt x="353" y="1317"/>
                  </a:lnTo>
                  <a:lnTo>
                    <a:pt x="353" y="1299"/>
                  </a:lnTo>
                  <a:lnTo>
                    <a:pt x="354" y="1281"/>
                  </a:lnTo>
                  <a:lnTo>
                    <a:pt x="356" y="1264"/>
                  </a:lnTo>
                  <a:lnTo>
                    <a:pt x="360" y="1246"/>
                  </a:lnTo>
                  <a:lnTo>
                    <a:pt x="365" y="1227"/>
                  </a:lnTo>
                  <a:lnTo>
                    <a:pt x="372" y="1209"/>
                  </a:lnTo>
                  <a:lnTo>
                    <a:pt x="380" y="1189"/>
                  </a:lnTo>
                  <a:lnTo>
                    <a:pt x="390" y="1170"/>
                  </a:lnTo>
                  <a:lnTo>
                    <a:pt x="401" y="1150"/>
                  </a:lnTo>
                  <a:lnTo>
                    <a:pt x="414" y="1130"/>
                  </a:lnTo>
                  <a:lnTo>
                    <a:pt x="428" y="1109"/>
                  </a:lnTo>
                  <a:lnTo>
                    <a:pt x="444" y="1088"/>
                  </a:lnTo>
                  <a:lnTo>
                    <a:pt x="452" y="1077"/>
                  </a:lnTo>
                  <a:lnTo>
                    <a:pt x="461" y="1066"/>
                  </a:lnTo>
                  <a:lnTo>
                    <a:pt x="470" y="1055"/>
                  </a:lnTo>
                  <a:lnTo>
                    <a:pt x="479" y="1044"/>
                  </a:lnTo>
                  <a:lnTo>
                    <a:pt x="499" y="1022"/>
                  </a:lnTo>
                  <a:lnTo>
                    <a:pt x="520" y="1000"/>
                  </a:lnTo>
                  <a:lnTo>
                    <a:pt x="542" y="977"/>
                  </a:lnTo>
                  <a:lnTo>
                    <a:pt x="551" y="978"/>
                  </a:lnTo>
                  <a:lnTo>
                    <a:pt x="573" y="977"/>
                  </a:lnTo>
                  <a:lnTo>
                    <a:pt x="585" y="976"/>
                  </a:lnTo>
                  <a:lnTo>
                    <a:pt x="596" y="974"/>
                  </a:lnTo>
                  <a:lnTo>
                    <a:pt x="608" y="972"/>
                  </a:lnTo>
                  <a:lnTo>
                    <a:pt x="619" y="970"/>
                  </a:lnTo>
                  <a:lnTo>
                    <a:pt x="643" y="963"/>
                  </a:lnTo>
                  <a:lnTo>
                    <a:pt x="654" y="959"/>
                  </a:lnTo>
                  <a:lnTo>
                    <a:pt x="666" y="954"/>
                  </a:lnTo>
                  <a:lnTo>
                    <a:pt x="678" y="949"/>
                  </a:lnTo>
                  <a:lnTo>
                    <a:pt x="690" y="944"/>
                  </a:lnTo>
                  <a:lnTo>
                    <a:pt x="702" y="937"/>
                  </a:lnTo>
                  <a:lnTo>
                    <a:pt x="714" y="931"/>
                  </a:lnTo>
                  <a:lnTo>
                    <a:pt x="726" y="924"/>
                  </a:lnTo>
                  <a:lnTo>
                    <a:pt x="738" y="916"/>
                  </a:lnTo>
                  <a:lnTo>
                    <a:pt x="762" y="900"/>
                  </a:lnTo>
                  <a:lnTo>
                    <a:pt x="786" y="881"/>
                  </a:lnTo>
                  <a:lnTo>
                    <a:pt x="799" y="871"/>
                  </a:lnTo>
                  <a:lnTo>
                    <a:pt x="811" y="861"/>
                  </a:lnTo>
                  <a:lnTo>
                    <a:pt x="836" y="839"/>
                  </a:lnTo>
                  <a:lnTo>
                    <a:pt x="861" y="814"/>
                  </a:lnTo>
                  <a:lnTo>
                    <a:pt x="886" y="788"/>
                  </a:lnTo>
                  <a:lnTo>
                    <a:pt x="899" y="774"/>
                  </a:lnTo>
                  <a:lnTo>
                    <a:pt x="912" y="760"/>
                  </a:lnTo>
                  <a:lnTo>
                    <a:pt x="925" y="745"/>
                  </a:lnTo>
                  <a:lnTo>
                    <a:pt x="938" y="729"/>
                  </a:lnTo>
                  <a:lnTo>
                    <a:pt x="929" y="821"/>
                  </a:lnTo>
                  <a:close/>
                  <a:moveTo>
                    <a:pt x="987" y="304"/>
                  </a:moveTo>
                  <a:lnTo>
                    <a:pt x="986" y="316"/>
                  </a:lnTo>
                  <a:lnTo>
                    <a:pt x="984" y="328"/>
                  </a:lnTo>
                  <a:lnTo>
                    <a:pt x="979" y="352"/>
                  </a:lnTo>
                  <a:lnTo>
                    <a:pt x="973" y="376"/>
                  </a:lnTo>
                  <a:lnTo>
                    <a:pt x="967" y="399"/>
                  </a:lnTo>
                  <a:lnTo>
                    <a:pt x="959" y="423"/>
                  </a:lnTo>
                  <a:lnTo>
                    <a:pt x="950" y="445"/>
                  </a:lnTo>
                  <a:lnTo>
                    <a:pt x="941" y="468"/>
                  </a:lnTo>
                  <a:lnTo>
                    <a:pt x="930" y="490"/>
                  </a:lnTo>
                  <a:lnTo>
                    <a:pt x="924" y="501"/>
                  </a:lnTo>
                  <a:lnTo>
                    <a:pt x="918" y="512"/>
                  </a:lnTo>
                  <a:lnTo>
                    <a:pt x="906" y="534"/>
                  </a:lnTo>
                  <a:lnTo>
                    <a:pt x="899" y="544"/>
                  </a:lnTo>
                  <a:lnTo>
                    <a:pt x="892" y="555"/>
                  </a:lnTo>
                  <a:lnTo>
                    <a:pt x="877" y="576"/>
                  </a:lnTo>
                  <a:lnTo>
                    <a:pt x="862" y="596"/>
                  </a:lnTo>
                  <a:lnTo>
                    <a:pt x="845" y="616"/>
                  </a:lnTo>
                  <a:lnTo>
                    <a:pt x="828" y="636"/>
                  </a:lnTo>
                  <a:lnTo>
                    <a:pt x="810" y="656"/>
                  </a:lnTo>
                  <a:lnTo>
                    <a:pt x="793" y="672"/>
                  </a:lnTo>
                  <a:lnTo>
                    <a:pt x="778" y="687"/>
                  </a:lnTo>
                  <a:lnTo>
                    <a:pt x="763" y="699"/>
                  </a:lnTo>
                  <a:lnTo>
                    <a:pt x="750" y="711"/>
                  </a:lnTo>
                  <a:lnTo>
                    <a:pt x="737" y="721"/>
                  </a:lnTo>
                  <a:lnTo>
                    <a:pt x="725" y="729"/>
                  </a:lnTo>
                  <a:lnTo>
                    <a:pt x="714" y="736"/>
                  </a:lnTo>
                  <a:lnTo>
                    <a:pt x="703" y="743"/>
                  </a:lnTo>
                  <a:lnTo>
                    <a:pt x="694" y="748"/>
                  </a:lnTo>
                  <a:lnTo>
                    <a:pt x="685" y="752"/>
                  </a:lnTo>
                  <a:lnTo>
                    <a:pt x="677" y="755"/>
                  </a:lnTo>
                  <a:lnTo>
                    <a:pt x="670" y="757"/>
                  </a:lnTo>
                  <a:lnTo>
                    <a:pt x="663" y="759"/>
                  </a:lnTo>
                  <a:lnTo>
                    <a:pt x="657" y="760"/>
                  </a:lnTo>
                  <a:lnTo>
                    <a:pt x="648" y="761"/>
                  </a:lnTo>
                  <a:lnTo>
                    <a:pt x="644" y="760"/>
                  </a:lnTo>
                  <a:lnTo>
                    <a:pt x="641" y="759"/>
                  </a:lnTo>
                  <a:lnTo>
                    <a:pt x="639" y="756"/>
                  </a:lnTo>
                  <a:lnTo>
                    <a:pt x="636" y="753"/>
                  </a:lnTo>
                  <a:lnTo>
                    <a:pt x="634" y="749"/>
                  </a:lnTo>
                  <a:lnTo>
                    <a:pt x="633" y="744"/>
                  </a:lnTo>
                  <a:lnTo>
                    <a:pt x="630" y="734"/>
                  </a:lnTo>
                  <a:lnTo>
                    <a:pt x="629" y="729"/>
                  </a:lnTo>
                  <a:lnTo>
                    <a:pt x="629" y="723"/>
                  </a:lnTo>
                  <a:lnTo>
                    <a:pt x="628" y="712"/>
                  </a:lnTo>
                  <a:lnTo>
                    <a:pt x="628" y="692"/>
                  </a:lnTo>
                  <a:lnTo>
                    <a:pt x="629" y="667"/>
                  </a:lnTo>
                  <a:lnTo>
                    <a:pt x="630" y="641"/>
                  </a:lnTo>
                  <a:lnTo>
                    <a:pt x="632" y="616"/>
                  </a:lnTo>
                  <a:lnTo>
                    <a:pt x="635" y="592"/>
                  </a:lnTo>
                  <a:lnTo>
                    <a:pt x="638" y="568"/>
                  </a:lnTo>
                  <a:lnTo>
                    <a:pt x="642" y="545"/>
                  </a:lnTo>
                  <a:lnTo>
                    <a:pt x="647" y="522"/>
                  </a:lnTo>
                  <a:lnTo>
                    <a:pt x="649" y="510"/>
                  </a:lnTo>
                  <a:lnTo>
                    <a:pt x="652" y="499"/>
                  </a:lnTo>
                  <a:lnTo>
                    <a:pt x="657" y="478"/>
                  </a:lnTo>
                  <a:lnTo>
                    <a:pt x="664" y="456"/>
                  </a:lnTo>
                  <a:lnTo>
                    <a:pt x="671" y="436"/>
                  </a:lnTo>
                  <a:lnTo>
                    <a:pt x="678" y="415"/>
                  </a:lnTo>
                  <a:lnTo>
                    <a:pt x="682" y="406"/>
                  </a:lnTo>
                  <a:lnTo>
                    <a:pt x="687" y="396"/>
                  </a:lnTo>
                  <a:lnTo>
                    <a:pt x="695" y="377"/>
                  </a:lnTo>
                  <a:lnTo>
                    <a:pt x="705" y="358"/>
                  </a:lnTo>
                  <a:lnTo>
                    <a:pt x="715" y="341"/>
                  </a:lnTo>
                  <a:lnTo>
                    <a:pt x="724" y="325"/>
                  </a:lnTo>
                  <a:lnTo>
                    <a:pt x="734" y="311"/>
                  </a:lnTo>
                  <a:lnTo>
                    <a:pt x="744" y="297"/>
                  </a:lnTo>
                  <a:lnTo>
                    <a:pt x="748" y="291"/>
                  </a:lnTo>
                  <a:lnTo>
                    <a:pt x="753" y="285"/>
                  </a:lnTo>
                  <a:lnTo>
                    <a:pt x="763" y="274"/>
                  </a:lnTo>
                  <a:lnTo>
                    <a:pt x="774" y="263"/>
                  </a:lnTo>
                  <a:lnTo>
                    <a:pt x="784" y="254"/>
                  </a:lnTo>
                  <a:lnTo>
                    <a:pt x="795" y="246"/>
                  </a:lnTo>
                  <a:lnTo>
                    <a:pt x="805" y="238"/>
                  </a:lnTo>
                  <a:lnTo>
                    <a:pt x="816" y="232"/>
                  </a:lnTo>
                  <a:lnTo>
                    <a:pt x="827" y="227"/>
                  </a:lnTo>
                  <a:lnTo>
                    <a:pt x="838" y="222"/>
                  </a:lnTo>
                  <a:lnTo>
                    <a:pt x="850" y="219"/>
                  </a:lnTo>
                  <a:lnTo>
                    <a:pt x="861" y="216"/>
                  </a:lnTo>
                  <a:lnTo>
                    <a:pt x="873" y="214"/>
                  </a:lnTo>
                  <a:lnTo>
                    <a:pt x="885" y="213"/>
                  </a:lnTo>
                  <a:lnTo>
                    <a:pt x="901" y="213"/>
                  </a:lnTo>
                  <a:lnTo>
                    <a:pt x="917" y="214"/>
                  </a:lnTo>
                  <a:lnTo>
                    <a:pt x="933" y="215"/>
                  </a:lnTo>
                  <a:lnTo>
                    <a:pt x="948" y="217"/>
                  </a:lnTo>
                  <a:lnTo>
                    <a:pt x="962" y="220"/>
                  </a:lnTo>
                  <a:lnTo>
                    <a:pt x="975" y="223"/>
                  </a:lnTo>
                  <a:lnTo>
                    <a:pt x="998" y="229"/>
                  </a:lnTo>
                  <a:lnTo>
                    <a:pt x="991" y="277"/>
                  </a:lnTo>
                  <a:lnTo>
                    <a:pt x="987" y="304"/>
                  </a:lnTo>
                  <a:close/>
                  <a:moveTo>
                    <a:pt x="3204" y="299"/>
                  </a:moveTo>
                  <a:lnTo>
                    <a:pt x="3200" y="325"/>
                  </a:lnTo>
                  <a:lnTo>
                    <a:pt x="3195" y="350"/>
                  </a:lnTo>
                  <a:lnTo>
                    <a:pt x="3192" y="362"/>
                  </a:lnTo>
                  <a:lnTo>
                    <a:pt x="3189" y="374"/>
                  </a:lnTo>
                  <a:lnTo>
                    <a:pt x="3182" y="399"/>
                  </a:lnTo>
                  <a:lnTo>
                    <a:pt x="3174" y="422"/>
                  </a:lnTo>
                  <a:lnTo>
                    <a:pt x="3165" y="446"/>
                  </a:lnTo>
                  <a:lnTo>
                    <a:pt x="3156" y="469"/>
                  </a:lnTo>
                  <a:lnTo>
                    <a:pt x="3145" y="491"/>
                  </a:lnTo>
                  <a:lnTo>
                    <a:pt x="3134" y="513"/>
                  </a:lnTo>
                  <a:lnTo>
                    <a:pt x="3122" y="535"/>
                  </a:lnTo>
                  <a:lnTo>
                    <a:pt x="3109" y="557"/>
                  </a:lnTo>
                  <a:lnTo>
                    <a:pt x="3095" y="577"/>
                  </a:lnTo>
                  <a:lnTo>
                    <a:pt x="3080" y="598"/>
                  </a:lnTo>
                  <a:lnTo>
                    <a:pt x="3072" y="608"/>
                  </a:lnTo>
                  <a:lnTo>
                    <a:pt x="3064" y="618"/>
                  </a:lnTo>
                  <a:lnTo>
                    <a:pt x="3056" y="628"/>
                  </a:lnTo>
                  <a:lnTo>
                    <a:pt x="3048" y="638"/>
                  </a:lnTo>
                  <a:lnTo>
                    <a:pt x="3031" y="657"/>
                  </a:lnTo>
                  <a:lnTo>
                    <a:pt x="3015" y="673"/>
                  </a:lnTo>
                  <a:lnTo>
                    <a:pt x="3000" y="688"/>
                  </a:lnTo>
                  <a:lnTo>
                    <a:pt x="2986" y="701"/>
                  </a:lnTo>
                  <a:lnTo>
                    <a:pt x="2972" y="712"/>
                  </a:lnTo>
                  <a:lnTo>
                    <a:pt x="2960" y="722"/>
                  </a:lnTo>
                  <a:lnTo>
                    <a:pt x="2948" y="731"/>
                  </a:lnTo>
                  <a:lnTo>
                    <a:pt x="2937" y="738"/>
                  </a:lnTo>
                  <a:lnTo>
                    <a:pt x="2927" y="744"/>
                  </a:lnTo>
                  <a:lnTo>
                    <a:pt x="2917" y="749"/>
                  </a:lnTo>
                  <a:lnTo>
                    <a:pt x="2909" y="754"/>
                  </a:lnTo>
                  <a:lnTo>
                    <a:pt x="2901" y="757"/>
                  </a:lnTo>
                  <a:lnTo>
                    <a:pt x="2893" y="759"/>
                  </a:lnTo>
                  <a:lnTo>
                    <a:pt x="2887" y="761"/>
                  </a:lnTo>
                  <a:lnTo>
                    <a:pt x="2881" y="762"/>
                  </a:lnTo>
                  <a:lnTo>
                    <a:pt x="2871" y="763"/>
                  </a:lnTo>
                  <a:lnTo>
                    <a:pt x="2868" y="762"/>
                  </a:lnTo>
                  <a:lnTo>
                    <a:pt x="2865" y="761"/>
                  </a:lnTo>
                  <a:lnTo>
                    <a:pt x="2862" y="759"/>
                  </a:lnTo>
                  <a:lnTo>
                    <a:pt x="2860" y="756"/>
                  </a:lnTo>
                  <a:lnTo>
                    <a:pt x="2858" y="752"/>
                  </a:lnTo>
                  <a:lnTo>
                    <a:pt x="2856" y="748"/>
                  </a:lnTo>
                  <a:lnTo>
                    <a:pt x="2853" y="738"/>
                  </a:lnTo>
                  <a:lnTo>
                    <a:pt x="2852" y="733"/>
                  </a:lnTo>
                  <a:lnTo>
                    <a:pt x="2852" y="727"/>
                  </a:lnTo>
                  <a:lnTo>
                    <a:pt x="2850" y="716"/>
                  </a:lnTo>
                  <a:lnTo>
                    <a:pt x="2850" y="695"/>
                  </a:lnTo>
                  <a:lnTo>
                    <a:pt x="2850" y="669"/>
                  </a:lnTo>
                  <a:lnTo>
                    <a:pt x="2851" y="643"/>
                  </a:lnTo>
                  <a:lnTo>
                    <a:pt x="2853" y="618"/>
                  </a:lnTo>
                  <a:lnTo>
                    <a:pt x="2855" y="593"/>
                  </a:lnTo>
                  <a:lnTo>
                    <a:pt x="2858" y="569"/>
                  </a:lnTo>
                  <a:lnTo>
                    <a:pt x="2862" y="546"/>
                  </a:lnTo>
                  <a:lnTo>
                    <a:pt x="2866" y="523"/>
                  </a:lnTo>
                  <a:lnTo>
                    <a:pt x="2871" y="501"/>
                  </a:lnTo>
                  <a:lnTo>
                    <a:pt x="2876" y="479"/>
                  </a:lnTo>
                  <a:lnTo>
                    <a:pt x="2882" y="457"/>
                  </a:lnTo>
                  <a:lnTo>
                    <a:pt x="2889" y="437"/>
                  </a:lnTo>
                  <a:lnTo>
                    <a:pt x="2896" y="416"/>
                  </a:lnTo>
                  <a:lnTo>
                    <a:pt x="2903" y="397"/>
                  </a:lnTo>
                  <a:lnTo>
                    <a:pt x="2911" y="378"/>
                  </a:lnTo>
                  <a:lnTo>
                    <a:pt x="2920" y="359"/>
                  </a:lnTo>
                  <a:lnTo>
                    <a:pt x="2929" y="341"/>
                  </a:lnTo>
                  <a:lnTo>
                    <a:pt x="2938" y="325"/>
                  </a:lnTo>
                  <a:lnTo>
                    <a:pt x="2942" y="318"/>
                  </a:lnTo>
                  <a:lnTo>
                    <a:pt x="2947" y="311"/>
                  </a:lnTo>
                  <a:lnTo>
                    <a:pt x="2955" y="298"/>
                  </a:lnTo>
                  <a:lnTo>
                    <a:pt x="2965" y="286"/>
                  </a:lnTo>
                  <a:lnTo>
                    <a:pt x="2974" y="276"/>
                  </a:lnTo>
                  <a:lnTo>
                    <a:pt x="2983" y="266"/>
                  </a:lnTo>
                  <a:lnTo>
                    <a:pt x="2993" y="257"/>
                  </a:lnTo>
                  <a:lnTo>
                    <a:pt x="3002" y="249"/>
                  </a:lnTo>
                  <a:lnTo>
                    <a:pt x="3012" y="241"/>
                  </a:lnTo>
                  <a:lnTo>
                    <a:pt x="3022" y="235"/>
                  </a:lnTo>
                  <a:lnTo>
                    <a:pt x="3032" y="230"/>
                  </a:lnTo>
                  <a:lnTo>
                    <a:pt x="3042" y="225"/>
                  </a:lnTo>
                  <a:lnTo>
                    <a:pt x="3052" y="221"/>
                  </a:lnTo>
                  <a:lnTo>
                    <a:pt x="3062" y="217"/>
                  </a:lnTo>
                  <a:lnTo>
                    <a:pt x="3071" y="214"/>
                  </a:lnTo>
                  <a:lnTo>
                    <a:pt x="3081" y="212"/>
                  </a:lnTo>
                  <a:lnTo>
                    <a:pt x="3101" y="209"/>
                  </a:lnTo>
                  <a:lnTo>
                    <a:pt x="3110" y="208"/>
                  </a:lnTo>
                  <a:lnTo>
                    <a:pt x="3120" y="208"/>
                  </a:lnTo>
                  <a:lnTo>
                    <a:pt x="3129" y="208"/>
                  </a:lnTo>
                  <a:lnTo>
                    <a:pt x="3139" y="208"/>
                  </a:lnTo>
                  <a:lnTo>
                    <a:pt x="3156" y="209"/>
                  </a:lnTo>
                  <a:lnTo>
                    <a:pt x="3165" y="210"/>
                  </a:lnTo>
                  <a:lnTo>
                    <a:pt x="3174" y="212"/>
                  </a:lnTo>
                  <a:lnTo>
                    <a:pt x="3190" y="214"/>
                  </a:lnTo>
                  <a:lnTo>
                    <a:pt x="3219" y="219"/>
                  </a:lnTo>
                  <a:lnTo>
                    <a:pt x="3217" y="230"/>
                  </a:lnTo>
                  <a:lnTo>
                    <a:pt x="3215" y="242"/>
                  </a:lnTo>
                  <a:lnTo>
                    <a:pt x="3211" y="268"/>
                  </a:lnTo>
                  <a:lnTo>
                    <a:pt x="3204" y="29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EEBAE45C-1D5A-497E-AE49-083D00F2A5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463" y="2379977"/>
              <a:ext cx="173166" cy="244721"/>
            </a:xfrm>
            <a:custGeom>
              <a:avLst/>
              <a:gdLst>
                <a:gd name="T0" fmla="*/ 698 w 901"/>
                <a:gd name="T1" fmla="*/ 227 h 1274"/>
                <a:gd name="T2" fmla="*/ 760 w 901"/>
                <a:gd name="T3" fmla="*/ 277 h 1274"/>
                <a:gd name="T4" fmla="*/ 813 w 901"/>
                <a:gd name="T5" fmla="*/ 288 h 1274"/>
                <a:gd name="T6" fmla="*/ 855 w 901"/>
                <a:gd name="T7" fmla="*/ 274 h 1274"/>
                <a:gd name="T8" fmla="*/ 887 w 901"/>
                <a:gd name="T9" fmla="*/ 234 h 1274"/>
                <a:gd name="T10" fmla="*/ 900 w 901"/>
                <a:gd name="T11" fmla="*/ 154 h 1274"/>
                <a:gd name="T12" fmla="*/ 882 w 901"/>
                <a:gd name="T13" fmla="*/ 97 h 1274"/>
                <a:gd name="T14" fmla="*/ 837 w 901"/>
                <a:gd name="T15" fmla="*/ 54 h 1274"/>
                <a:gd name="T16" fmla="*/ 730 w 901"/>
                <a:gd name="T17" fmla="*/ 14 h 1274"/>
                <a:gd name="T18" fmla="*/ 601 w 901"/>
                <a:gd name="T19" fmla="*/ 0 h 1274"/>
                <a:gd name="T20" fmla="*/ 475 w 901"/>
                <a:gd name="T21" fmla="*/ 15 h 1274"/>
                <a:gd name="T22" fmla="*/ 367 w 901"/>
                <a:gd name="T23" fmla="*/ 57 h 1274"/>
                <a:gd name="T24" fmla="*/ 296 w 901"/>
                <a:gd name="T25" fmla="*/ 107 h 1274"/>
                <a:gd name="T26" fmla="*/ 238 w 901"/>
                <a:gd name="T27" fmla="*/ 171 h 1274"/>
                <a:gd name="T28" fmla="*/ 196 w 901"/>
                <a:gd name="T29" fmla="*/ 251 h 1274"/>
                <a:gd name="T30" fmla="*/ 179 w 901"/>
                <a:gd name="T31" fmla="*/ 341 h 1274"/>
                <a:gd name="T32" fmla="*/ 188 w 901"/>
                <a:gd name="T33" fmla="*/ 433 h 1274"/>
                <a:gd name="T34" fmla="*/ 216 w 901"/>
                <a:gd name="T35" fmla="*/ 499 h 1274"/>
                <a:gd name="T36" fmla="*/ 272 w 901"/>
                <a:gd name="T37" fmla="*/ 569 h 1274"/>
                <a:gd name="T38" fmla="*/ 398 w 901"/>
                <a:gd name="T39" fmla="*/ 682 h 1274"/>
                <a:gd name="T40" fmla="*/ 573 w 901"/>
                <a:gd name="T41" fmla="*/ 835 h 1274"/>
                <a:gd name="T42" fmla="*/ 616 w 901"/>
                <a:gd name="T43" fmla="*/ 905 h 1274"/>
                <a:gd name="T44" fmla="*/ 628 w 901"/>
                <a:gd name="T45" fmla="*/ 985 h 1274"/>
                <a:gd name="T46" fmla="*/ 616 w 901"/>
                <a:gd name="T47" fmla="*/ 1029 h 1274"/>
                <a:gd name="T48" fmla="*/ 578 w 901"/>
                <a:gd name="T49" fmla="*/ 1078 h 1274"/>
                <a:gd name="T50" fmla="*/ 517 w 901"/>
                <a:gd name="T51" fmla="*/ 1113 h 1274"/>
                <a:gd name="T52" fmla="*/ 449 w 901"/>
                <a:gd name="T53" fmla="*/ 1124 h 1274"/>
                <a:gd name="T54" fmla="*/ 371 w 901"/>
                <a:gd name="T55" fmla="*/ 1112 h 1274"/>
                <a:gd name="T56" fmla="*/ 314 w 901"/>
                <a:gd name="T57" fmla="*/ 1079 h 1274"/>
                <a:gd name="T58" fmla="*/ 259 w 901"/>
                <a:gd name="T59" fmla="*/ 1007 h 1274"/>
                <a:gd name="T60" fmla="*/ 219 w 901"/>
                <a:gd name="T61" fmla="*/ 929 h 1274"/>
                <a:gd name="T62" fmla="*/ 184 w 901"/>
                <a:gd name="T63" fmla="*/ 901 h 1274"/>
                <a:gd name="T64" fmla="*/ 131 w 901"/>
                <a:gd name="T65" fmla="*/ 888 h 1274"/>
                <a:gd name="T66" fmla="*/ 83 w 901"/>
                <a:gd name="T67" fmla="*/ 898 h 1274"/>
                <a:gd name="T68" fmla="*/ 37 w 901"/>
                <a:gd name="T69" fmla="*/ 929 h 1274"/>
                <a:gd name="T70" fmla="*/ 6 w 901"/>
                <a:gd name="T71" fmla="*/ 978 h 1274"/>
                <a:gd name="T72" fmla="*/ 3 w 901"/>
                <a:gd name="T73" fmla="*/ 1044 h 1274"/>
                <a:gd name="T74" fmla="*/ 35 w 901"/>
                <a:gd name="T75" fmla="*/ 1119 h 1274"/>
                <a:gd name="T76" fmla="*/ 90 w 901"/>
                <a:gd name="T77" fmla="*/ 1184 h 1274"/>
                <a:gd name="T78" fmla="*/ 176 w 901"/>
                <a:gd name="T79" fmla="*/ 1240 h 1274"/>
                <a:gd name="T80" fmla="*/ 271 w 901"/>
                <a:gd name="T81" fmla="*/ 1268 h 1274"/>
                <a:gd name="T82" fmla="*/ 400 w 901"/>
                <a:gd name="T83" fmla="*/ 1273 h 1274"/>
                <a:gd name="T84" fmla="*/ 539 w 901"/>
                <a:gd name="T85" fmla="*/ 1247 h 1274"/>
                <a:gd name="T86" fmla="*/ 678 w 901"/>
                <a:gd name="T87" fmla="*/ 1178 h 1274"/>
                <a:gd name="T88" fmla="*/ 772 w 901"/>
                <a:gd name="T89" fmla="*/ 1087 h 1274"/>
                <a:gd name="T90" fmla="*/ 817 w 901"/>
                <a:gd name="T91" fmla="*/ 1008 h 1274"/>
                <a:gd name="T92" fmla="*/ 839 w 901"/>
                <a:gd name="T93" fmla="*/ 920 h 1274"/>
                <a:gd name="T94" fmla="*/ 835 w 901"/>
                <a:gd name="T95" fmla="*/ 819 h 1274"/>
                <a:gd name="T96" fmla="*/ 808 w 901"/>
                <a:gd name="T97" fmla="*/ 743 h 1274"/>
                <a:gd name="T98" fmla="*/ 760 w 901"/>
                <a:gd name="T99" fmla="*/ 670 h 1274"/>
                <a:gd name="T100" fmla="*/ 670 w 901"/>
                <a:gd name="T101" fmla="*/ 582 h 1274"/>
                <a:gd name="T102" fmla="*/ 425 w 901"/>
                <a:gd name="T103" fmla="*/ 369 h 1274"/>
                <a:gd name="T104" fmla="*/ 389 w 901"/>
                <a:gd name="T105" fmla="*/ 314 h 1274"/>
                <a:gd name="T106" fmla="*/ 382 w 901"/>
                <a:gd name="T107" fmla="*/ 249 h 1274"/>
                <a:gd name="T108" fmla="*/ 407 w 901"/>
                <a:gd name="T109" fmla="*/ 198 h 1274"/>
                <a:gd name="T110" fmla="*/ 456 w 901"/>
                <a:gd name="T111" fmla="*/ 157 h 1274"/>
                <a:gd name="T112" fmla="*/ 520 w 901"/>
                <a:gd name="T113" fmla="*/ 139 h 1274"/>
                <a:gd name="T114" fmla="*/ 597 w 901"/>
                <a:gd name="T115" fmla="*/ 152 h 127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901" h="1274">
                  <a:moveTo>
                    <a:pt x="654" y="183"/>
                  </a:moveTo>
                  <a:lnTo>
                    <a:pt x="660" y="188"/>
                  </a:lnTo>
                  <a:lnTo>
                    <a:pt x="665" y="192"/>
                  </a:lnTo>
                  <a:lnTo>
                    <a:pt x="671" y="198"/>
                  </a:lnTo>
                  <a:lnTo>
                    <a:pt x="676" y="203"/>
                  </a:lnTo>
                  <a:lnTo>
                    <a:pt x="687" y="215"/>
                  </a:lnTo>
                  <a:lnTo>
                    <a:pt x="698" y="227"/>
                  </a:lnTo>
                  <a:lnTo>
                    <a:pt x="709" y="239"/>
                  </a:lnTo>
                  <a:lnTo>
                    <a:pt x="720" y="251"/>
                  </a:lnTo>
                  <a:lnTo>
                    <a:pt x="728" y="256"/>
                  </a:lnTo>
                  <a:lnTo>
                    <a:pt x="734" y="261"/>
                  </a:lnTo>
                  <a:lnTo>
                    <a:pt x="741" y="266"/>
                  </a:lnTo>
                  <a:lnTo>
                    <a:pt x="748" y="271"/>
                  </a:lnTo>
                  <a:lnTo>
                    <a:pt x="760" y="277"/>
                  </a:lnTo>
                  <a:lnTo>
                    <a:pt x="771" y="282"/>
                  </a:lnTo>
                  <a:lnTo>
                    <a:pt x="777" y="284"/>
                  </a:lnTo>
                  <a:lnTo>
                    <a:pt x="782" y="285"/>
                  </a:lnTo>
                  <a:lnTo>
                    <a:pt x="787" y="286"/>
                  </a:lnTo>
                  <a:lnTo>
                    <a:pt x="793" y="287"/>
                  </a:lnTo>
                  <a:lnTo>
                    <a:pt x="803" y="288"/>
                  </a:lnTo>
                  <a:lnTo>
                    <a:pt x="813" y="288"/>
                  </a:lnTo>
                  <a:lnTo>
                    <a:pt x="822" y="287"/>
                  </a:lnTo>
                  <a:lnTo>
                    <a:pt x="831" y="285"/>
                  </a:lnTo>
                  <a:lnTo>
                    <a:pt x="835" y="284"/>
                  </a:lnTo>
                  <a:lnTo>
                    <a:pt x="840" y="282"/>
                  </a:lnTo>
                  <a:lnTo>
                    <a:pt x="844" y="280"/>
                  </a:lnTo>
                  <a:lnTo>
                    <a:pt x="848" y="278"/>
                  </a:lnTo>
                  <a:lnTo>
                    <a:pt x="855" y="274"/>
                  </a:lnTo>
                  <a:lnTo>
                    <a:pt x="858" y="272"/>
                  </a:lnTo>
                  <a:lnTo>
                    <a:pt x="862" y="269"/>
                  </a:lnTo>
                  <a:lnTo>
                    <a:pt x="868" y="263"/>
                  </a:lnTo>
                  <a:lnTo>
                    <a:pt x="874" y="257"/>
                  </a:lnTo>
                  <a:lnTo>
                    <a:pt x="879" y="251"/>
                  </a:lnTo>
                  <a:lnTo>
                    <a:pt x="883" y="244"/>
                  </a:lnTo>
                  <a:lnTo>
                    <a:pt x="887" y="234"/>
                  </a:lnTo>
                  <a:lnTo>
                    <a:pt x="892" y="224"/>
                  </a:lnTo>
                  <a:lnTo>
                    <a:pt x="895" y="213"/>
                  </a:lnTo>
                  <a:lnTo>
                    <a:pt x="898" y="202"/>
                  </a:lnTo>
                  <a:lnTo>
                    <a:pt x="900" y="190"/>
                  </a:lnTo>
                  <a:lnTo>
                    <a:pt x="901" y="179"/>
                  </a:lnTo>
                  <a:lnTo>
                    <a:pt x="901" y="167"/>
                  </a:lnTo>
                  <a:lnTo>
                    <a:pt x="900" y="154"/>
                  </a:lnTo>
                  <a:lnTo>
                    <a:pt x="899" y="142"/>
                  </a:lnTo>
                  <a:lnTo>
                    <a:pt x="896" y="130"/>
                  </a:lnTo>
                  <a:lnTo>
                    <a:pt x="892" y="119"/>
                  </a:lnTo>
                  <a:lnTo>
                    <a:pt x="890" y="113"/>
                  </a:lnTo>
                  <a:lnTo>
                    <a:pt x="888" y="108"/>
                  </a:lnTo>
                  <a:lnTo>
                    <a:pt x="885" y="103"/>
                  </a:lnTo>
                  <a:lnTo>
                    <a:pt x="882" y="97"/>
                  </a:lnTo>
                  <a:lnTo>
                    <a:pt x="879" y="92"/>
                  </a:lnTo>
                  <a:lnTo>
                    <a:pt x="876" y="87"/>
                  </a:lnTo>
                  <a:lnTo>
                    <a:pt x="868" y="78"/>
                  </a:lnTo>
                  <a:lnTo>
                    <a:pt x="863" y="73"/>
                  </a:lnTo>
                  <a:lnTo>
                    <a:pt x="859" y="69"/>
                  </a:lnTo>
                  <a:lnTo>
                    <a:pt x="848" y="61"/>
                  </a:lnTo>
                  <a:lnTo>
                    <a:pt x="837" y="54"/>
                  </a:lnTo>
                  <a:lnTo>
                    <a:pt x="824" y="47"/>
                  </a:lnTo>
                  <a:lnTo>
                    <a:pt x="811" y="40"/>
                  </a:lnTo>
                  <a:lnTo>
                    <a:pt x="796" y="34"/>
                  </a:lnTo>
                  <a:lnTo>
                    <a:pt x="780" y="29"/>
                  </a:lnTo>
                  <a:lnTo>
                    <a:pt x="764" y="23"/>
                  </a:lnTo>
                  <a:lnTo>
                    <a:pt x="747" y="19"/>
                  </a:lnTo>
                  <a:lnTo>
                    <a:pt x="730" y="14"/>
                  </a:lnTo>
                  <a:lnTo>
                    <a:pt x="711" y="11"/>
                  </a:lnTo>
                  <a:lnTo>
                    <a:pt x="693" y="7"/>
                  </a:lnTo>
                  <a:lnTo>
                    <a:pt x="674" y="5"/>
                  </a:lnTo>
                  <a:lnTo>
                    <a:pt x="656" y="3"/>
                  </a:lnTo>
                  <a:lnTo>
                    <a:pt x="638" y="1"/>
                  </a:lnTo>
                  <a:lnTo>
                    <a:pt x="619" y="0"/>
                  </a:lnTo>
                  <a:lnTo>
                    <a:pt x="601" y="0"/>
                  </a:lnTo>
                  <a:lnTo>
                    <a:pt x="579" y="0"/>
                  </a:lnTo>
                  <a:lnTo>
                    <a:pt x="557" y="2"/>
                  </a:lnTo>
                  <a:lnTo>
                    <a:pt x="536" y="4"/>
                  </a:lnTo>
                  <a:lnTo>
                    <a:pt x="515" y="6"/>
                  </a:lnTo>
                  <a:lnTo>
                    <a:pt x="495" y="10"/>
                  </a:lnTo>
                  <a:lnTo>
                    <a:pt x="485" y="12"/>
                  </a:lnTo>
                  <a:lnTo>
                    <a:pt x="475" y="15"/>
                  </a:lnTo>
                  <a:lnTo>
                    <a:pt x="466" y="17"/>
                  </a:lnTo>
                  <a:lnTo>
                    <a:pt x="456" y="20"/>
                  </a:lnTo>
                  <a:lnTo>
                    <a:pt x="437" y="26"/>
                  </a:lnTo>
                  <a:lnTo>
                    <a:pt x="419" y="33"/>
                  </a:lnTo>
                  <a:lnTo>
                    <a:pt x="401" y="40"/>
                  </a:lnTo>
                  <a:lnTo>
                    <a:pt x="384" y="48"/>
                  </a:lnTo>
                  <a:lnTo>
                    <a:pt x="367" y="57"/>
                  </a:lnTo>
                  <a:lnTo>
                    <a:pt x="350" y="67"/>
                  </a:lnTo>
                  <a:lnTo>
                    <a:pt x="342" y="72"/>
                  </a:lnTo>
                  <a:lnTo>
                    <a:pt x="334" y="78"/>
                  </a:lnTo>
                  <a:lnTo>
                    <a:pt x="319" y="89"/>
                  </a:lnTo>
                  <a:lnTo>
                    <a:pt x="311" y="95"/>
                  </a:lnTo>
                  <a:lnTo>
                    <a:pt x="303" y="101"/>
                  </a:lnTo>
                  <a:lnTo>
                    <a:pt x="296" y="107"/>
                  </a:lnTo>
                  <a:lnTo>
                    <a:pt x="288" y="114"/>
                  </a:lnTo>
                  <a:lnTo>
                    <a:pt x="281" y="120"/>
                  </a:lnTo>
                  <a:lnTo>
                    <a:pt x="274" y="127"/>
                  </a:lnTo>
                  <a:lnTo>
                    <a:pt x="261" y="141"/>
                  </a:lnTo>
                  <a:lnTo>
                    <a:pt x="249" y="155"/>
                  </a:lnTo>
                  <a:lnTo>
                    <a:pt x="243" y="163"/>
                  </a:lnTo>
                  <a:lnTo>
                    <a:pt x="238" y="171"/>
                  </a:lnTo>
                  <a:lnTo>
                    <a:pt x="227" y="186"/>
                  </a:lnTo>
                  <a:lnTo>
                    <a:pt x="218" y="202"/>
                  </a:lnTo>
                  <a:lnTo>
                    <a:pt x="214" y="210"/>
                  </a:lnTo>
                  <a:lnTo>
                    <a:pt x="210" y="218"/>
                  </a:lnTo>
                  <a:lnTo>
                    <a:pt x="203" y="234"/>
                  </a:lnTo>
                  <a:lnTo>
                    <a:pt x="199" y="242"/>
                  </a:lnTo>
                  <a:lnTo>
                    <a:pt x="196" y="251"/>
                  </a:lnTo>
                  <a:lnTo>
                    <a:pt x="191" y="268"/>
                  </a:lnTo>
                  <a:lnTo>
                    <a:pt x="188" y="277"/>
                  </a:lnTo>
                  <a:lnTo>
                    <a:pt x="186" y="286"/>
                  </a:lnTo>
                  <a:lnTo>
                    <a:pt x="183" y="304"/>
                  </a:lnTo>
                  <a:lnTo>
                    <a:pt x="180" y="323"/>
                  </a:lnTo>
                  <a:lnTo>
                    <a:pt x="180" y="332"/>
                  </a:lnTo>
                  <a:lnTo>
                    <a:pt x="179" y="341"/>
                  </a:lnTo>
                  <a:lnTo>
                    <a:pt x="178" y="361"/>
                  </a:lnTo>
                  <a:lnTo>
                    <a:pt x="179" y="371"/>
                  </a:lnTo>
                  <a:lnTo>
                    <a:pt x="179" y="382"/>
                  </a:lnTo>
                  <a:lnTo>
                    <a:pt x="180" y="392"/>
                  </a:lnTo>
                  <a:lnTo>
                    <a:pt x="182" y="403"/>
                  </a:lnTo>
                  <a:lnTo>
                    <a:pt x="185" y="423"/>
                  </a:lnTo>
                  <a:lnTo>
                    <a:pt x="188" y="433"/>
                  </a:lnTo>
                  <a:lnTo>
                    <a:pt x="191" y="443"/>
                  </a:lnTo>
                  <a:lnTo>
                    <a:pt x="194" y="452"/>
                  </a:lnTo>
                  <a:lnTo>
                    <a:pt x="198" y="462"/>
                  </a:lnTo>
                  <a:lnTo>
                    <a:pt x="202" y="471"/>
                  </a:lnTo>
                  <a:lnTo>
                    <a:pt x="206" y="481"/>
                  </a:lnTo>
                  <a:lnTo>
                    <a:pt x="211" y="490"/>
                  </a:lnTo>
                  <a:lnTo>
                    <a:pt x="216" y="499"/>
                  </a:lnTo>
                  <a:lnTo>
                    <a:pt x="222" y="507"/>
                  </a:lnTo>
                  <a:lnTo>
                    <a:pt x="227" y="516"/>
                  </a:lnTo>
                  <a:lnTo>
                    <a:pt x="233" y="524"/>
                  </a:lnTo>
                  <a:lnTo>
                    <a:pt x="240" y="532"/>
                  </a:lnTo>
                  <a:lnTo>
                    <a:pt x="247" y="541"/>
                  </a:lnTo>
                  <a:lnTo>
                    <a:pt x="255" y="550"/>
                  </a:lnTo>
                  <a:lnTo>
                    <a:pt x="272" y="569"/>
                  </a:lnTo>
                  <a:lnTo>
                    <a:pt x="282" y="579"/>
                  </a:lnTo>
                  <a:lnTo>
                    <a:pt x="292" y="589"/>
                  </a:lnTo>
                  <a:lnTo>
                    <a:pt x="303" y="599"/>
                  </a:lnTo>
                  <a:lnTo>
                    <a:pt x="315" y="610"/>
                  </a:lnTo>
                  <a:lnTo>
                    <a:pt x="340" y="633"/>
                  </a:lnTo>
                  <a:lnTo>
                    <a:pt x="368" y="657"/>
                  </a:lnTo>
                  <a:lnTo>
                    <a:pt x="398" y="682"/>
                  </a:lnTo>
                  <a:lnTo>
                    <a:pt x="499" y="763"/>
                  </a:lnTo>
                  <a:lnTo>
                    <a:pt x="515" y="777"/>
                  </a:lnTo>
                  <a:lnTo>
                    <a:pt x="529" y="790"/>
                  </a:lnTo>
                  <a:lnTo>
                    <a:pt x="543" y="803"/>
                  </a:lnTo>
                  <a:lnTo>
                    <a:pt x="556" y="816"/>
                  </a:lnTo>
                  <a:lnTo>
                    <a:pt x="567" y="829"/>
                  </a:lnTo>
                  <a:lnTo>
                    <a:pt x="573" y="835"/>
                  </a:lnTo>
                  <a:lnTo>
                    <a:pt x="578" y="841"/>
                  </a:lnTo>
                  <a:lnTo>
                    <a:pt x="588" y="854"/>
                  </a:lnTo>
                  <a:lnTo>
                    <a:pt x="596" y="867"/>
                  </a:lnTo>
                  <a:lnTo>
                    <a:pt x="604" y="880"/>
                  </a:lnTo>
                  <a:lnTo>
                    <a:pt x="610" y="893"/>
                  </a:lnTo>
                  <a:lnTo>
                    <a:pt x="613" y="899"/>
                  </a:lnTo>
                  <a:lnTo>
                    <a:pt x="616" y="905"/>
                  </a:lnTo>
                  <a:lnTo>
                    <a:pt x="621" y="918"/>
                  </a:lnTo>
                  <a:lnTo>
                    <a:pt x="624" y="931"/>
                  </a:lnTo>
                  <a:lnTo>
                    <a:pt x="627" y="943"/>
                  </a:lnTo>
                  <a:lnTo>
                    <a:pt x="628" y="956"/>
                  </a:lnTo>
                  <a:lnTo>
                    <a:pt x="629" y="968"/>
                  </a:lnTo>
                  <a:lnTo>
                    <a:pt x="628" y="976"/>
                  </a:lnTo>
                  <a:lnTo>
                    <a:pt x="628" y="985"/>
                  </a:lnTo>
                  <a:lnTo>
                    <a:pt x="627" y="993"/>
                  </a:lnTo>
                  <a:lnTo>
                    <a:pt x="626" y="1000"/>
                  </a:lnTo>
                  <a:lnTo>
                    <a:pt x="624" y="1008"/>
                  </a:lnTo>
                  <a:lnTo>
                    <a:pt x="623" y="1012"/>
                  </a:lnTo>
                  <a:lnTo>
                    <a:pt x="622" y="1015"/>
                  </a:lnTo>
                  <a:lnTo>
                    <a:pt x="619" y="1022"/>
                  </a:lnTo>
                  <a:lnTo>
                    <a:pt x="616" y="1029"/>
                  </a:lnTo>
                  <a:lnTo>
                    <a:pt x="613" y="1036"/>
                  </a:lnTo>
                  <a:lnTo>
                    <a:pt x="609" y="1043"/>
                  </a:lnTo>
                  <a:lnTo>
                    <a:pt x="605" y="1049"/>
                  </a:lnTo>
                  <a:lnTo>
                    <a:pt x="601" y="1055"/>
                  </a:lnTo>
                  <a:lnTo>
                    <a:pt x="596" y="1061"/>
                  </a:lnTo>
                  <a:lnTo>
                    <a:pt x="590" y="1067"/>
                  </a:lnTo>
                  <a:lnTo>
                    <a:pt x="578" y="1078"/>
                  </a:lnTo>
                  <a:lnTo>
                    <a:pt x="572" y="1084"/>
                  </a:lnTo>
                  <a:lnTo>
                    <a:pt x="565" y="1089"/>
                  </a:lnTo>
                  <a:lnTo>
                    <a:pt x="550" y="1098"/>
                  </a:lnTo>
                  <a:lnTo>
                    <a:pt x="542" y="1103"/>
                  </a:lnTo>
                  <a:lnTo>
                    <a:pt x="534" y="1106"/>
                  </a:lnTo>
                  <a:lnTo>
                    <a:pt x="525" y="1110"/>
                  </a:lnTo>
                  <a:lnTo>
                    <a:pt x="517" y="1113"/>
                  </a:lnTo>
                  <a:lnTo>
                    <a:pt x="508" y="1115"/>
                  </a:lnTo>
                  <a:lnTo>
                    <a:pt x="499" y="1118"/>
                  </a:lnTo>
                  <a:lnTo>
                    <a:pt x="489" y="1120"/>
                  </a:lnTo>
                  <a:lnTo>
                    <a:pt x="480" y="1121"/>
                  </a:lnTo>
                  <a:lnTo>
                    <a:pt x="470" y="1122"/>
                  </a:lnTo>
                  <a:lnTo>
                    <a:pt x="459" y="1123"/>
                  </a:lnTo>
                  <a:lnTo>
                    <a:pt x="449" y="1124"/>
                  </a:lnTo>
                  <a:lnTo>
                    <a:pt x="438" y="1124"/>
                  </a:lnTo>
                  <a:lnTo>
                    <a:pt x="426" y="1123"/>
                  </a:lnTo>
                  <a:lnTo>
                    <a:pt x="414" y="1122"/>
                  </a:lnTo>
                  <a:lnTo>
                    <a:pt x="402" y="1120"/>
                  </a:lnTo>
                  <a:lnTo>
                    <a:pt x="391" y="1118"/>
                  </a:lnTo>
                  <a:lnTo>
                    <a:pt x="381" y="1115"/>
                  </a:lnTo>
                  <a:lnTo>
                    <a:pt x="371" y="1112"/>
                  </a:lnTo>
                  <a:lnTo>
                    <a:pt x="361" y="1109"/>
                  </a:lnTo>
                  <a:lnTo>
                    <a:pt x="352" y="1104"/>
                  </a:lnTo>
                  <a:lnTo>
                    <a:pt x="344" y="1100"/>
                  </a:lnTo>
                  <a:lnTo>
                    <a:pt x="336" y="1095"/>
                  </a:lnTo>
                  <a:lnTo>
                    <a:pt x="328" y="1090"/>
                  </a:lnTo>
                  <a:lnTo>
                    <a:pt x="321" y="1085"/>
                  </a:lnTo>
                  <a:lnTo>
                    <a:pt x="314" y="1079"/>
                  </a:lnTo>
                  <a:lnTo>
                    <a:pt x="308" y="1073"/>
                  </a:lnTo>
                  <a:lnTo>
                    <a:pt x="301" y="1067"/>
                  </a:lnTo>
                  <a:lnTo>
                    <a:pt x="296" y="1061"/>
                  </a:lnTo>
                  <a:lnTo>
                    <a:pt x="285" y="1048"/>
                  </a:lnTo>
                  <a:lnTo>
                    <a:pt x="275" y="1034"/>
                  </a:lnTo>
                  <a:lnTo>
                    <a:pt x="267" y="1021"/>
                  </a:lnTo>
                  <a:lnTo>
                    <a:pt x="259" y="1007"/>
                  </a:lnTo>
                  <a:lnTo>
                    <a:pt x="253" y="994"/>
                  </a:lnTo>
                  <a:lnTo>
                    <a:pt x="247" y="981"/>
                  </a:lnTo>
                  <a:lnTo>
                    <a:pt x="236" y="958"/>
                  </a:lnTo>
                  <a:lnTo>
                    <a:pt x="232" y="950"/>
                  </a:lnTo>
                  <a:lnTo>
                    <a:pt x="228" y="943"/>
                  </a:lnTo>
                  <a:lnTo>
                    <a:pt x="223" y="936"/>
                  </a:lnTo>
                  <a:lnTo>
                    <a:pt x="219" y="929"/>
                  </a:lnTo>
                  <a:lnTo>
                    <a:pt x="213" y="923"/>
                  </a:lnTo>
                  <a:lnTo>
                    <a:pt x="211" y="921"/>
                  </a:lnTo>
                  <a:lnTo>
                    <a:pt x="208" y="918"/>
                  </a:lnTo>
                  <a:lnTo>
                    <a:pt x="202" y="913"/>
                  </a:lnTo>
                  <a:lnTo>
                    <a:pt x="197" y="909"/>
                  </a:lnTo>
                  <a:lnTo>
                    <a:pt x="190" y="905"/>
                  </a:lnTo>
                  <a:lnTo>
                    <a:pt x="184" y="901"/>
                  </a:lnTo>
                  <a:lnTo>
                    <a:pt x="178" y="898"/>
                  </a:lnTo>
                  <a:lnTo>
                    <a:pt x="171" y="896"/>
                  </a:lnTo>
                  <a:lnTo>
                    <a:pt x="164" y="893"/>
                  </a:lnTo>
                  <a:lnTo>
                    <a:pt x="158" y="891"/>
                  </a:lnTo>
                  <a:lnTo>
                    <a:pt x="151" y="890"/>
                  </a:lnTo>
                  <a:lnTo>
                    <a:pt x="143" y="889"/>
                  </a:lnTo>
                  <a:lnTo>
                    <a:pt x="131" y="888"/>
                  </a:lnTo>
                  <a:lnTo>
                    <a:pt x="124" y="888"/>
                  </a:lnTo>
                  <a:lnTo>
                    <a:pt x="118" y="889"/>
                  </a:lnTo>
                  <a:lnTo>
                    <a:pt x="111" y="890"/>
                  </a:lnTo>
                  <a:lnTo>
                    <a:pt x="104" y="891"/>
                  </a:lnTo>
                  <a:lnTo>
                    <a:pt x="97" y="893"/>
                  </a:lnTo>
                  <a:lnTo>
                    <a:pt x="90" y="896"/>
                  </a:lnTo>
                  <a:lnTo>
                    <a:pt x="83" y="898"/>
                  </a:lnTo>
                  <a:lnTo>
                    <a:pt x="76" y="902"/>
                  </a:lnTo>
                  <a:lnTo>
                    <a:pt x="69" y="905"/>
                  </a:lnTo>
                  <a:lnTo>
                    <a:pt x="62" y="909"/>
                  </a:lnTo>
                  <a:lnTo>
                    <a:pt x="55" y="914"/>
                  </a:lnTo>
                  <a:lnTo>
                    <a:pt x="49" y="918"/>
                  </a:lnTo>
                  <a:lnTo>
                    <a:pt x="42" y="924"/>
                  </a:lnTo>
                  <a:lnTo>
                    <a:pt x="37" y="929"/>
                  </a:lnTo>
                  <a:lnTo>
                    <a:pt x="31" y="935"/>
                  </a:lnTo>
                  <a:lnTo>
                    <a:pt x="26" y="941"/>
                  </a:lnTo>
                  <a:lnTo>
                    <a:pt x="21" y="948"/>
                  </a:lnTo>
                  <a:lnTo>
                    <a:pt x="16" y="955"/>
                  </a:lnTo>
                  <a:lnTo>
                    <a:pt x="12" y="962"/>
                  </a:lnTo>
                  <a:lnTo>
                    <a:pt x="9" y="970"/>
                  </a:lnTo>
                  <a:lnTo>
                    <a:pt x="6" y="978"/>
                  </a:lnTo>
                  <a:lnTo>
                    <a:pt x="3" y="987"/>
                  </a:lnTo>
                  <a:lnTo>
                    <a:pt x="2" y="995"/>
                  </a:lnTo>
                  <a:lnTo>
                    <a:pt x="1" y="1004"/>
                  </a:lnTo>
                  <a:lnTo>
                    <a:pt x="0" y="1014"/>
                  </a:lnTo>
                  <a:lnTo>
                    <a:pt x="0" y="1024"/>
                  </a:lnTo>
                  <a:lnTo>
                    <a:pt x="1" y="1034"/>
                  </a:lnTo>
                  <a:lnTo>
                    <a:pt x="3" y="1044"/>
                  </a:lnTo>
                  <a:lnTo>
                    <a:pt x="6" y="1055"/>
                  </a:lnTo>
                  <a:lnTo>
                    <a:pt x="10" y="1066"/>
                  </a:lnTo>
                  <a:lnTo>
                    <a:pt x="14" y="1077"/>
                  </a:lnTo>
                  <a:lnTo>
                    <a:pt x="19" y="1088"/>
                  </a:lnTo>
                  <a:lnTo>
                    <a:pt x="24" y="1098"/>
                  </a:lnTo>
                  <a:lnTo>
                    <a:pt x="29" y="1109"/>
                  </a:lnTo>
                  <a:lnTo>
                    <a:pt x="35" y="1119"/>
                  </a:lnTo>
                  <a:lnTo>
                    <a:pt x="42" y="1129"/>
                  </a:lnTo>
                  <a:lnTo>
                    <a:pt x="49" y="1139"/>
                  </a:lnTo>
                  <a:lnTo>
                    <a:pt x="56" y="1148"/>
                  </a:lnTo>
                  <a:lnTo>
                    <a:pt x="64" y="1158"/>
                  </a:lnTo>
                  <a:lnTo>
                    <a:pt x="72" y="1167"/>
                  </a:lnTo>
                  <a:lnTo>
                    <a:pt x="81" y="1175"/>
                  </a:lnTo>
                  <a:lnTo>
                    <a:pt x="90" y="1184"/>
                  </a:lnTo>
                  <a:lnTo>
                    <a:pt x="99" y="1192"/>
                  </a:lnTo>
                  <a:lnTo>
                    <a:pt x="109" y="1200"/>
                  </a:lnTo>
                  <a:lnTo>
                    <a:pt x="130" y="1215"/>
                  </a:lnTo>
                  <a:lnTo>
                    <a:pt x="141" y="1221"/>
                  </a:lnTo>
                  <a:lnTo>
                    <a:pt x="152" y="1228"/>
                  </a:lnTo>
                  <a:lnTo>
                    <a:pt x="164" y="1234"/>
                  </a:lnTo>
                  <a:lnTo>
                    <a:pt x="176" y="1240"/>
                  </a:lnTo>
                  <a:lnTo>
                    <a:pt x="189" y="1245"/>
                  </a:lnTo>
                  <a:lnTo>
                    <a:pt x="202" y="1250"/>
                  </a:lnTo>
                  <a:lnTo>
                    <a:pt x="215" y="1254"/>
                  </a:lnTo>
                  <a:lnTo>
                    <a:pt x="229" y="1258"/>
                  </a:lnTo>
                  <a:lnTo>
                    <a:pt x="243" y="1262"/>
                  </a:lnTo>
                  <a:lnTo>
                    <a:pt x="257" y="1265"/>
                  </a:lnTo>
                  <a:lnTo>
                    <a:pt x="271" y="1268"/>
                  </a:lnTo>
                  <a:lnTo>
                    <a:pt x="286" y="1270"/>
                  </a:lnTo>
                  <a:lnTo>
                    <a:pt x="302" y="1272"/>
                  </a:lnTo>
                  <a:lnTo>
                    <a:pt x="317" y="1273"/>
                  </a:lnTo>
                  <a:lnTo>
                    <a:pt x="333" y="1274"/>
                  </a:lnTo>
                  <a:lnTo>
                    <a:pt x="350" y="1274"/>
                  </a:lnTo>
                  <a:lnTo>
                    <a:pt x="375" y="1274"/>
                  </a:lnTo>
                  <a:lnTo>
                    <a:pt x="400" y="1273"/>
                  </a:lnTo>
                  <a:lnTo>
                    <a:pt x="412" y="1272"/>
                  </a:lnTo>
                  <a:lnTo>
                    <a:pt x="424" y="1270"/>
                  </a:lnTo>
                  <a:lnTo>
                    <a:pt x="448" y="1267"/>
                  </a:lnTo>
                  <a:lnTo>
                    <a:pt x="472" y="1264"/>
                  </a:lnTo>
                  <a:lnTo>
                    <a:pt x="495" y="1259"/>
                  </a:lnTo>
                  <a:lnTo>
                    <a:pt x="517" y="1253"/>
                  </a:lnTo>
                  <a:lnTo>
                    <a:pt x="539" y="1247"/>
                  </a:lnTo>
                  <a:lnTo>
                    <a:pt x="561" y="1239"/>
                  </a:lnTo>
                  <a:lnTo>
                    <a:pt x="581" y="1231"/>
                  </a:lnTo>
                  <a:lnTo>
                    <a:pt x="602" y="1222"/>
                  </a:lnTo>
                  <a:lnTo>
                    <a:pt x="622" y="1212"/>
                  </a:lnTo>
                  <a:lnTo>
                    <a:pt x="641" y="1202"/>
                  </a:lnTo>
                  <a:lnTo>
                    <a:pt x="660" y="1190"/>
                  </a:lnTo>
                  <a:lnTo>
                    <a:pt x="678" y="1178"/>
                  </a:lnTo>
                  <a:lnTo>
                    <a:pt x="695" y="1164"/>
                  </a:lnTo>
                  <a:lnTo>
                    <a:pt x="713" y="1150"/>
                  </a:lnTo>
                  <a:lnTo>
                    <a:pt x="721" y="1143"/>
                  </a:lnTo>
                  <a:lnTo>
                    <a:pt x="730" y="1135"/>
                  </a:lnTo>
                  <a:lnTo>
                    <a:pt x="745" y="1120"/>
                  </a:lnTo>
                  <a:lnTo>
                    <a:pt x="759" y="1104"/>
                  </a:lnTo>
                  <a:lnTo>
                    <a:pt x="772" y="1087"/>
                  </a:lnTo>
                  <a:lnTo>
                    <a:pt x="778" y="1079"/>
                  </a:lnTo>
                  <a:lnTo>
                    <a:pt x="784" y="1071"/>
                  </a:lnTo>
                  <a:lnTo>
                    <a:pt x="795" y="1053"/>
                  </a:lnTo>
                  <a:lnTo>
                    <a:pt x="800" y="1045"/>
                  </a:lnTo>
                  <a:lnTo>
                    <a:pt x="805" y="1036"/>
                  </a:lnTo>
                  <a:lnTo>
                    <a:pt x="813" y="1017"/>
                  </a:lnTo>
                  <a:lnTo>
                    <a:pt x="817" y="1008"/>
                  </a:lnTo>
                  <a:lnTo>
                    <a:pt x="820" y="999"/>
                  </a:lnTo>
                  <a:lnTo>
                    <a:pt x="827" y="980"/>
                  </a:lnTo>
                  <a:lnTo>
                    <a:pt x="829" y="970"/>
                  </a:lnTo>
                  <a:lnTo>
                    <a:pt x="832" y="960"/>
                  </a:lnTo>
                  <a:lnTo>
                    <a:pt x="836" y="940"/>
                  </a:lnTo>
                  <a:lnTo>
                    <a:pt x="837" y="930"/>
                  </a:lnTo>
                  <a:lnTo>
                    <a:pt x="839" y="920"/>
                  </a:lnTo>
                  <a:lnTo>
                    <a:pt x="840" y="899"/>
                  </a:lnTo>
                  <a:lnTo>
                    <a:pt x="841" y="888"/>
                  </a:lnTo>
                  <a:lnTo>
                    <a:pt x="841" y="878"/>
                  </a:lnTo>
                  <a:lnTo>
                    <a:pt x="840" y="858"/>
                  </a:lnTo>
                  <a:lnTo>
                    <a:pt x="839" y="848"/>
                  </a:lnTo>
                  <a:lnTo>
                    <a:pt x="838" y="839"/>
                  </a:lnTo>
                  <a:lnTo>
                    <a:pt x="835" y="819"/>
                  </a:lnTo>
                  <a:lnTo>
                    <a:pt x="833" y="810"/>
                  </a:lnTo>
                  <a:lnTo>
                    <a:pt x="830" y="800"/>
                  </a:lnTo>
                  <a:lnTo>
                    <a:pt x="827" y="790"/>
                  </a:lnTo>
                  <a:lnTo>
                    <a:pt x="824" y="781"/>
                  </a:lnTo>
                  <a:lnTo>
                    <a:pt x="817" y="762"/>
                  </a:lnTo>
                  <a:lnTo>
                    <a:pt x="813" y="753"/>
                  </a:lnTo>
                  <a:lnTo>
                    <a:pt x="808" y="743"/>
                  </a:lnTo>
                  <a:lnTo>
                    <a:pt x="803" y="734"/>
                  </a:lnTo>
                  <a:lnTo>
                    <a:pt x="798" y="725"/>
                  </a:lnTo>
                  <a:lnTo>
                    <a:pt x="787" y="706"/>
                  </a:lnTo>
                  <a:lnTo>
                    <a:pt x="781" y="697"/>
                  </a:lnTo>
                  <a:lnTo>
                    <a:pt x="774" y="688"/>
                  </a:lnTo>
                  <a:lnTo>
                    <a:pt x="767" y="679"/>
                  </a:lnTo>
                  <a:lnTo>
                    <a:pt x="760" y="670"/>
                  </a:lnTo>
                  <a:lnTo>
                    <a:pt x="745" y="652"/>
                  </a:lnTo>
                  <a:lnTo>
                    <a:pt x="737" y="643"/>
                  </a:lnTo>
                  <a:lnTo>
                    <a:pt x="728" y="634"/>
                  </a:lnTo>
                  <a:lnTo>
                    <a:pt x="709" y="616"/>
                  </a:lnTo>
                  <a:lnTo>
                    <a:pt x="700" y="608"/>
                  </a:lnTo>
                  <a:lnTo>
                    <a:pt x="690" y="599"/>
                  </a:lnTo>
                  <a:lnTo>
                    <a:pt x="670" y="582"/>
                  </a:lnTo>
                  <a:lnTo>
                    <a:pt x="589" y="515"/>
                  </a:lnTo>
                  <a:lnTo>
                    <a:pt x="528" y="464"/>
                  </a:lnTo>
                  <a:lnTo>
                    <a:pt x="501" y="442"/>
                  </a:lnTo>
                  <a:lnTo>
                    <a:pt x="478" y="421"/>
                  </a:lnTo>
                  <a:lnTo>
                    <a:pt x="458" y="402"/>
                  </a:lnTo>
                  <a:lnTo>
                    <a:pt x="440" y="384"/>
                  </a:lnTo>
                  <a:lnTo>
                    <a:pt x="425" y="369"/>
                  </a:lnTo>
                  <a:lnTo>
                    <a:pt x="419" y="362"/>
                  </a:lnTo>
                  <a:lnTo>
                    <a:pt x="414" y="356"/>
                  </a:lnTo>
                  <a:lnTo>
                    <a:pt x="406" y="345"/>
                  </a:lnTo>
                  <a:lnTo>
                    <a:pt x="399" y="335"/>
                  </a:lnTo>
                  <a:lnTo>
                    <a:pt x="396" y="330"/>
                  </a:lnTo>
                  <a:lnTo>
                    <a:pt x="394" y="324"/>
                  </a:lnTo>
                  <a:lnTo>
                    <a:pt x="389" y="314"/>
                  </a:lnTo>
                  <a:lnTo>
                    <a:pt x="386" y="303"/>
                  </a:lnTo>
                  <a:lnTo>
                    <a:pt x="383" y="293"/>
                  </a:lnTo>
                  <a:lnTo>
                    <a:pt x="381" y="282"/>
                  </a:lnTo>
                  <a:lnTo>
                    <a:pt x="380" y="272"/>
                  </a:lnTo>
                  <a:lnTo>
                    <a:pt x="380" y="264"/>
                  </a:lnTo>
                  <a:lnTo>
                    <a:pt x="380" y="257"/>
                  </a:lnTo>
                  <a:lnTo>
                    <a:pt x="382" y="249"/>
                  </a:lnTo>
                  <a:lnTo>
                    <a:pt x="384" y="241"/>
                  </a:lnTo>
                  <a:lnTo>
                    <a:pt x="386" y="233"/>
                  </a:lnTo>
                  <a:lnTo>
                    <a:pt x="390" y="225"/>
                  </a:lnTo>
                  <a:lnTo>
                    <a:pt x="394" y="217"/>
                  </a:lnTo>
                  <a:lnTo>
                    <a:pt x="398" y="210"/>
                  </a:lnTo>
                  <a:lnTo>
                    <a:pt x="404" y="202"/>
                  </a:lnTo>
                  <a:lnTo>
                    <a:pt x="407" y="198"/>
                  </a:lnTo>
                  <a:lnTo>
                    <a:pt x="410" y="195"/>
                  </a:lnTo>
                  <a:lnTo>
                    <a:pt x="416" y="188"/>
                  </a:lnTo>
                  <a:lnTo>
                    <a:pt x="423" y="181"/>
                  </a:lnTo>
                  <a:lnTo>
                    <a:pt x="431" y="174"/>
                  </a:lnTo>
                  <a:lnTo>
                    <a:pt x="439" y="168"/>
                  </a:lnTo>
                  <a:lnTo>
                    <a:pt x="447" y="163"/>
                  </a:lnTo>
                  <a:lnTo>
                    <a:pt x="456" y="157"/>
                  </a:lnTo>
                  <a:lnTo>
                    <a:pt x="466" y="152"/>
                  </a:lnTo>
                  <a:lnTo>
                    <a:pt x="476" y="148"/>
                  </a:lnTo>
                  <a:lnTo>
                    <a:pt x="486" y="145"/>
                  </a:lnTo>
                  <a:lnTo>
                    <a:pt x="497" y="142"/>
                  </a:lnTo>
                  <a:lnTo>
                    <a:pt x="509" y="140"/>
                  </a:lnTo>
                  <a:lnTo>
                    <a:pt x="514" y="139"/>
                  </a:lnTo>
                  <a:lnTo>
                    <a:pt x="520" y="139"/>
                  </a:lnTo>
                  <a:lnTo>
                    <a:pt x="532" y="139"/>
                  </a:lnTo>
                  <a:lnTo>
                    <a:pt x="545" y="139"/>
                  </a:lnTo>
                  <a:lnTo>
                    <a:pt x="557" y="141"/>
                  </a:lnTo>
                  <a:lnTo>
                    <a:pt x="570" y="143"/>
                  </a:lnTo>
                  <a:lnTo>
                    <a:pt x="584" y="147"/>
                  </a:lnTo>
                  <a:lnTo>
                    <a:pt x="590" y="149"/>
                  </a:lnTo>
                  <a:lnTo>
                    <a:pt x="597" y="152"/>
                  </a:lnTo>
                  <a:lnTo>
                    <a:pt x="611" y="157"/>
                  </a:lnTo>
                  <a:lnTo>
                    <a:pt x="625" y="165"/>
                  </a:lnTo>
                  <a:lnTo>
                    <a:pt x="639" y="174"/>
                  </a:lnTo>
                  <a:lnTo>
                    <a:pt x="654" y="18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CE963451-635C-409F-93EC-C30A6419B7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2887" y="2291616"/>
              <a:ext cx="522380" cy="117366"/>
            </a:xfrm>
            <a:custGeom>
              <a:avLst/>
              <a:gdLst>
                <a:gd name="T0" fmla="*/ 355 w 2718"/>
                <a:gd name="T1" fmla="*/ 506 h 611"/>
                <a:gd name="T2" fmla="*/ 571 w 2718"/>
                <a:gd name="T3" fmla="*/ 436 h 611"/>
                <a:gd name="T4" fmla="*/ 776 w 2718"/>
                <a:gd name="T5" fmla="*/ 379 h 611"/>
                <a:gd name="T6" fmla="*/ 972 w 2718"/>
                <a:gd name="T7" fmla="*/ 334 h 611"/>
                <a:gd name="T8" fmla="*/ 1141 w 2718"/>
                <a:gd name="T9" fmla="*/ 303 h 611"/>
                <a:gd name="T10" fmla="*/ 1335 w 2718"/>
                <a:gd name="T11" fmla="*/ 278 h 611"/>
                <a:gd name="T12" fmla="*/ 1516 w 2718"/>
                <a:gd name="T13" fmla="*/ 265 h 611"/>
                <a:gd name="T14" fmla="*/ 1718 w 2718"/>
                <a:gd name="T15" fmla="*/ 262 h 611"/>
                <a:gd name="T16" fmla="*/ 1875 w 2718"/>
                <a:gd name="T17" fmla="*/ 270 h 611"/>
                <a:gd name="T18" fmla="*/ 2020 w 2718"/>
                <a:gd name="T19" fmla="*/ 286 h 611"/>
                <a:gd name="T20" fmla="*/ 2153 w 2718"/>
                <a:gd name="T21" fmla="*/ 309 h 611"/>
                <a:gd name="T22" fmla="*/ 2298 w 2718"/>
                <a:gd name="T23" fmla="*/ 345 h 611"/>
                <a:gd name="T24" fmla="*/ 2427 w 2718"/>
                <a:gd name="T25" fmla="*/ 387 h 611"/>
                <a:gd name="T26" fmla="*/ 2540 w 2718"/>
                <a:gd name="T27" fmla="*/ 433 h 611"/>
                <a:gd name="T28" fmla="*/ 2666 w 2718"/>
                <a:gd name="T29" fmla="*/ 500 h 611"/>
                <a:gd name="T30" fmla="*/ 2718 w 2718"/>
                <a:gd name="T31" fmla="*/ 526 h 611"/>
                <a:gd name="T32" fmla="*/ 2713 w 2718"/>
                <a:gd name="T33" fmla="*/ 509 h 611"/>
                <a:gd name="T34" fmla="*/ 2693 w 2718"/>
                <a:gd name="T35" fmla="*/ 478 h 611"/>
                <a:gd name="T36" fmla="*/ 2658 w 2718"/>
                <a:gd name="T37" fmla="*/ 440 h 611"/>
                <a:gd name="T38" fmla="*/ 2589 w 2718"/>
                <a:gd name="T39" fmla="*/ 383 h 611"/>
                <a:gd name="T40" fmla="*/ 2496 w 2718"/>
                <a:gd name="T41" fmla="*/ 323 h 611"/>
                <a:gd name="T42" fmla="*/ 2380 w 2718"/>
                <a:gd name="T43" fmla="*/ 262 h 611"/>
                <a:gd name="T44" fmla="*/ 2242 w 2718"/>
                <a:gd name="T45" fmla="*/ 204 h 611"/>
                <a:gd name="T46" fmla="*/ 2083 w 2718"/>
                <a:gd name="T47" fmla="*/ 153 h 611"/>
                <a:gd name="T48" fmla="*/ 1917 w 2718"/>
                <a:gd name="T49" fmla="*/ 115 h 611"/>
                <a:gd name="T50" fmla="*/ 1784 w 2718"/>
                <a:gd name="T51" fmla="*/ 97 h 611"/>
                <a:gd name="T52" fmla="*/ 1648 w 2718"/>
                <a:gd name="T53" fmla="*/ 87 h 611"/>
                <a:gd name="T54" fmla="*/ 1478 w 2718"/>
                <a:gd name="T55" fmla="*/ 87 h 611"/>
                <a:gd name="T56" fmla="*/ 1343 w 2718"/>
                <a:gd name="T57" fmla="*/ 96 h 611"/>
                <a:gd name="T58" fmla="*/ 1177 w 2718"/>
                <a:gd name="T59" fmla="*/ 114 h 611"/>
                <a:gd name="T60" fmla="*/ 1047 w 2718"/>
                <a:gd name="T61" fmla="*/ 135 h 611"/>
                <a:gd name="T62" fmla="*/ 893 w 2718"/>
                <a:gd name="T63" fmla="*/ 165 h 611"/>
                <a:gd name="T64" fmla="*/ 667 w 2718"/>
                <a:gd name="T65" fmla="*/ 220 h 611"/>
                <a:gd name="T66" fmla="*/ 477 w 2718"/>
                <a:gd name="T67" fmla="*/ 277 h 611"/>
                <a:gd name="T68" fmla="*/ 278 w 2718"/>
                <a:gd name="T69" fmla="*/ 345 h 611"/>
                <a:gd name="T70" fmla="*/ 252 w 2718"/>
                <a:gd name="T71" fmla="*/ 269 h 611"/>
                <a:gd name="T72" fmla="*/ 265 w 2718"/>
                <a:gd name="T73" fmla="*/ 153 h 611"/>
                <a:gd name="T74" fmla="*/ 263 w 2718"/>
                <a:gd name="T75" fmla="*/ 99 h 611"/>
                <a:gd name="T76" fmla="*/ 254 w 2718"/>
                <a:gd name="T77" fmla="*/ 62 h 611"/>
                <a:gd name="T78" fmla="*/ 237 w 2718"/>
                <a:gd name="T79" fmla="*/ 30 h 611"/>
                <a:gd name="T80" fmla="*/ 217 w 2718"/>
                <a:gd name="T81" fmla="*/ 12 h 611"/>
                <a:gd name="T82" fmla="*/ 192 w 2718"/>
                <a:gd name="T83" fmla="*/ 3 h 611"/>
                <a:gd name="T84" fmla="*/ 163 w 2718"/>
                <a:gd name="T85" fmla="*/ 1 h 611"/>
                <a:gd name="T86" fmla="*/ 132 w 2718"/>
                <a:gd name="T87" fmla="*/ 6 h 611"/>
                <a:gd name="T88" fmla="*/ 103 w 2718"/>
                <a:gd name="T89" fmla="*/ 20 h 611"/>
                <a:gd name="T90" fmla="*/ 76 w 2718"/>
                <a:gd name="T91" fmla="*/ 44 h 611"/>
                <a:gd name="T92" fmla="*/ 56 w 2718"/>
                <a:gd name="T93" fmla="*/ 79 h 611"/>
                <a:gd name="T94" fmla="*/ 43 w 2718"/>
                <a:gd name="T95" fmla="*/ 126 h 611"/>
                <a:gd name="T96" fmla="*/ 26 w 2718"/>
                <a:gd name="T97" fmla="*/ 308 h 611"/>
                <a:gd name="T98" fmla="*/ 0 w 2718"/>
                <a:gd name="T99" fmla="*/ 527 h 611"/>
                <a:gd name="T100" fmla="*/ 3 w 2718"/>
                <a:gd name="T101" fmla="*/ 570 h 611"/>
                <a:gd name="T102" fmla="*/ 14 w 2718"/>
                <a:gd name="T103" fmla="*/ 596 h 611"/>
                <a:gd name="T104" fmla="*/ 34 w 2718"/>
                <a:gd name="T105" fmla="*/ 609 h 611"/>
                <a:gd name="T106" fmla="*/ 61 w 2718"/>
                <a:gd name="T107" fmla="*/ 610 h 611"/>
                <a:gd name="T108" fmla="*/ 110 w 2718"/>
                <a:gd name="T109" fmla="*/ 598 h 611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718" h="611">
                  <a:moveTo>
                    <a:pt x="187" y="568"/>
                  </a:moveTo>
                  <a:lnTo>
                    <a:pt x="244" y="546"/>
                  </a:lnTo>
                  <a:lnTo>
                    <a:pt x="300" y="526"/>
                  </a:lnTo>
                  <a:lnTo>
                    <a:pt x="355" y="506"/>
                  </a:lnTo>
                  <a:lnTo>
                    <a:pt x="410" y="487"/>
                  </a:lnTo>
                  <a:lnTo>
                    <a:pt x="464" y="469"/>
                  </a:lnTo>
                  <a:lnTo>
                    <a:pt x="518" y="452"/>
                  </a:lnTo>
                  <a:lnTo>
                    <a:pt x="571" y="436"/>
                  </a:lnTo>
                  <a:lnTo>
                    <a:pt x="623" y="420"/>
                  </a:lnTo>
                  <a:lnTo>
                    <a:pt x="675" y="406"/>
                  </a:lnTo>
                  <a:lnTo>
                    <a:pt x="726" y="392"/>
                  </a:lnTo>
                  <a:lnTo>
                    <a:pt x="776" y="379"/>
                  </a:lnTo>
                  <a:lnTo>
                    <a:pt x="826" y="366"/>
                  </a:lnTo>
                  <a:lnTo>
                    <a:pt x="876" y="355"/>
                  </a:lnTo>
                  <a:lnTo>
                    <a:pt x="924" y="344"/>
                  </a:lnTo>
                  <a:lnTo>
                    <a:pt x="972" y="334"/>
                  </a:lnTo>
                  <a:lnTo>
                    <a:pt x="1020" y="325"/>
                  </a:lnTo>
                  <a:lnTo>
                    <a:pt x="1061" y="317"/>
                  </a:lnTo>
                  <a:lnTo>
                    <a:pt x="1101" y="310"/>
                  </a:lnTo>
                  <a:lnTo>
                    <a:pt x="1141" y="303"/>
                  </a:lnTo>
                  <a:lnTo>
                    <a:pt x="1181" y="297"/>
                  </a:lnTo>
                  <a:lnTo>
                    <a:pt x="1259" y="287"/>
                  </a:lnTo>
                  <a:lnTo>
                    <a:pt x="1297" y="282"/>
                  </a:lnTo>
                  <a:lnTo>
                    <a:pt x="1335" y="278"/>
                  </a:lnTo>
                  <a:lnTo>
                    <a:pt x="1409" y="271"/>
                  </a:lnTo>
                  <a:lnTo>
                    <a:pt x="1445" y="269"/>
                  </a:lnTo>
                  <a:lnTo>
                    <a:pt x="1481" y="266"/>
                  </a:lnTo>
                  <a:lnTo>
                    <a:pt x="1516" y="265"/>
                  </a:lnTo>
                  <a:lnTo>
                    <a:pt x="1551" y="263"/>
                  </a:lnTo>
                  <a:lnTo>
                    <a:pt x="1619" y="262"/>
                  </a:lnTo>
                  <a:lnTo>
                    <a:pt x="1686" y="261"/>
                  </a:lnTo>
                  <a:lnTo>
                    <a:pt x="1718" y="262"/>
                  </a:lnTo>
                  <a:lnTo>
                    <a:pt x="1751" y="263"/>
                  </a:lnTo>
                  <a:lnTo>
                    <a:pt x="1814" y="266"/>
                  </a:lnTo>
                  <a:lnTo>
                    <a:pt x="1844" y="268"/>
                  </a:lnTo>
                  <a:lnTo>
                    <a:pt x="1875" y="270"/>
                  </a:lnTo>
                  <a:lnTo>
                    <a:pt x="1934" y="276"/>
                  </a:lnTo>
                  <a:lnTo>
                    <a:pt x="1963" y="279"/>
                  </a:lnTo>
                  <a:lnTo>
                    <a:pt x="1992" y="282"/>
                  </a:lnTo>
                  <a:lnTo>
                    <a:pt x="2020" y="286"/>
                  </a:lnTo>
                  <a:lnTo>
                    <a:pt x="2047" y="290"/>
                  </a:lnTo>
                  <a:lnTo>
                    <a:pt x="2074" y="295"/>
                  </a:lnTo>
                  <a:lnTo>
                    <a:pt x="2101" y="299"/>
                  </a:lnTo>
                  <a:lnTo>
                    <a:pt x="2153" y="309"/>
                  </a:lnTo>
                  <a:lnTo>
                    <a:pt x="2203" y="320"/>
                  </a:lnTo>
                  <a:lnTo>
                    <a:pt x="2252" y="332"/>
                  </a:lnTo>
                  <a:lnTo>
                    <a:pt x="2275" y="338"/>
                  </a:lnTo>
                  <a:lnTo>
                    <a:pt x="2298" y="345"/>
                  </a:lnTo>
                  <a:lnTo>
                    <a:pt x="2343" y="358"/>
                  </a:lnTo>
                  <a:lnTo>
                    <a:pt x="2365" y="365"/>
                  </a:lnTo>
                  <a:lnTo>
                    <a:pt x="2386" y="372"/>
                  </a:lnTo>
                  <a:lnTo>
                    <a:pt x="2427" y="387"/>
                  </a:lnTo>
                  <a:lnTo>
                    <a:pt x="2467" y="402"/>
                  </a:lnTo>
                  <a:lnTo>
                    <a:pt x="2504" y="417"/>
                  </a:lnTo>
                  <a:lnTo>
                    <a:pt x="2522" y="425"/>
                  </a:lnTo>
                  <a:lnTo>
                    <a:pt x="2540" y="433"/>
                  </a:lnTo>
                  <a:lnTo>
                    <a:pt x="2574" y="450"/>
                  </a:lnTo>
                  <a:lnTo>
                    <a:pt x="2606" y="466"/>
                  </a:lnTo>
                  <a:lnTo>
                    <a:pt x="2638" y="483"/>
                  </a:lnTo>
                  <a:lnTo>
                    <a:pt x="2666" y="500"/>
                  </a:lnTo>
                  <a:lnTo>
                    <a:pt x="2680" y="508"/>
                  </a:lnTo>
                  <a:lnTo>
                    <a:pt x="2693" y="517"/>
                  </a:lnTo>
                  <a:lnTo>
                    <a:pt x="2718" y="534"/>
                  </a:lnTo>
                  <a:lnTo>
                    <a:pt x="2718" y="526"/>
                  </a:lnTo>
                  <a:lnTo>
                    <a:pt x="2717" y="523"/>
                  </a:lnTo>
                  <a:lnTo>
                    <a:pt x="2716" y="518"/>
                  </a:lnTo>
                  <a:lnTo>
                    <a:pt x="2715" y="514"/>
                  </a:lnTo>
                  <a:lnTo>
                    <a:pt x="2713" y="509"/>
                  </a:lnTo>
                  <a:lnTo>
                    <a:pt x="2710" y="505"/>
                  </a:lnTo>
                  <a:lnTo>
                    <a:pt x="2708" y="499"/>
                  </a:lnTo>
                  <a:lnTo>
                    <a:pt x="2701" y="489"/>
                  </a:lnTo>
                  <a:lnTo>
                    <a:pt x="2693" y="478"/>
                  </a:lnTo>
                  <a:lnTo>
                    <a:pt x="2683" y="466"/>
                  </a:lnTo>
                  <a:lnTo>
                    <a:pt x="2671" y="453"/>
                  </a:lnTo>
                  <a:lnTo>
                    <a:pt x="2665" y="447"/>
                  </a:lnTo>
                  <a:lnTo>
                    <a:pt x="2658" y="440"/>
                  </a:lnTo>
                  <a:lnTo>
                    <a:pt x="2643" y="426"/>
                  </a:lnTo>
                  <a:lnTo>
                    <a:pt x="2627" y="412"/>
                  </a:lnTo>
                  <a:lnTo>
                    <a:pt x="2608" y="398"/>
                  </a:lnTo>
                  <a:lnTo>
                    <a:pt x="2589" y="383"/>
                  </a:lnTo>
                  <a:lnTo>
                    <a:pt x="2568" y="368"/>
                  </a:lnTo>
                  <a:lnTo>
                    <a:pt x="2545" y="353"/>
                  </a:lnTo>
                  <a:lnTo>
                    <a:pt x="2521" y="338"/>
                  </a:lnTo>
                  <a:lnTo>
                    <a:pt x="2496" y="323"/>
                  </a:lnTo>
                  <a:lnTo>
                    <a:pt x="2469" y="307"/>
                  </a:lnTo>
                  <a:lnTo>
                    <a:pt x="2441" y="292"/>
                  </a:lnTo>
                  <a:lnTo>
                    <a:pt x="2411" y="277"/>
                  </a:lnTo>
                  <a:lnTo>
                    <a:pt x="2380" y="262"/>
                  </a:lnTo>
                  <a:lnTo>
                    <a:pt x="2348" y="247"/>
                  </a:lnTo>
                  <a:lnTo>
                    <a:pt x="2314" y="232"/>
                  </a:lnTo>
                  <a:lnTo>
                    <a:pt x="2279" y="218"/>
                  </a:lnTo>
                  <a:lnTo>
                    <a:pt x="2242" y="204"/>
                  </a:lnTo>
                  <a:lnTo>
                    <a:pt x="2204" y="190"/>
                  </a:lnTo>
                  <a:lnTo>
                    <a:pt x="2165" y="177"/>
                  </a:lnTo>
                  <a:lnTo>
                    <a:pt x="2125" y="165"/>
                  </a:lnTo>
                  <a:lnTo>
                    <a:pt x="2083" y="153"/>
                  </a:lnTo>
                  <a:lnTo>
                    <a:pt x="2040" y="142"/>
                  </a:lnTo>
                  <a:lnTo>
                    <a:pt x="1996" y="131"/>
                  </a:lnTo>
                  <a:lnTo>
                    <a:pt x="1950" y="122"/>
                  </a:lnTo>
                  <a:lnTo>
                    <a:pt x="1917" y="115"/>
                  </a:lnTo>
                  <a:lnTo>
                    <a:pt x="1884" y="110"/>
                  </a:lnTo>
                  <a:lnTo>
                    <a:pt x="1851" y="105"/>
                  </a:lnTo>
                  <a:lnTo>
                    <a:pt x="1817" y="100"/>
                  </a:lnTo>
                  <a:lnTo>
                    <a:pt x="1784" y="97"/>
                  </a:lnTo>
                  <a:lnTo>
                    <a:pt x="1750" y="93"/>
                  </a:lnTo>
                  <a:lnTo>
                    <a:pt x="1716" y="91"/>
                  </a:lnTo>
                  <a:lnTo>
                    <a:pt x="1682" y="89"/>
                  </a:lnTo>
                  <a:lnTo>
                    <a:pt x="1648" y="87"/>
                  </a:lnTo>
                  <a:lnTo>
                    <a:pt x="1614" y="86"/>
                  </a:lnTo>
                  <a:lnTo>
                    <a:pt x="1580" y="86"/>
                  </a:lnTo>
                  <a:lnTo>
                    <a:pt x="1546" y="86"/>
                  </a:lnTo>
                  <a:lnTo>
                    <a:pt x="1478" y="87"/>
                  </a:lnTo>
                  <a:lnTo>
                    <a:pt x="1444" y="89"/>
                  </a:lnTo>
                  <a:lnTo>
                    <a:pt x="1410" y="91"/>
                  </a:lnTo>
                  <a:lnTo>
                    <a:pt x="1377" y="93"/>
                  </a:lnTo>
                  <a:lnTo>
                    <a:pt x="1343" y="96"/>
                  </a:lnTo>
                  <a:lnTo>
                    <a:pt x="1309" y="99"/>
                  </a:lnTo>
                  <a:lnTo>
                    <a:pt x="1276" y="102"/>
                  </a:lnTo>
                  <a:lnTo>
                    <a:pt x="1210" y="110"/>
                  </a:lnTo>
                  <a:lnTo>
                    <a:pt x="1177" y="114"/>
                  </a:lnTo>
                  <a:lnTo>
                    <a:pt x="1143" y="119"/>
                  </a:lnTo>
                  <a:lnTo>
                    <a:pt x="1111" y="124"/>
                  </a:lnTo>
                  <a:lnTo>
                    <a:pt x="1079" y="129"/>
                  </a:lnTo>
                  <a:lnTo>
                    <a:pt x="1047" y="135"/>
                  </a:lnTo>
                  <a:lnTo>
                    <a:pt x="1015" y="140"/>
                  </a:lnTo>
                  <a:lnTo>
                    <a:pt x="984" y="146"/>
                  </a:lnTo>
                  <a:lnTo>
                    <a:pt x="953" y="152"/>
                  </a:lnTo>
                  <a:lnTo>
                    <a:pt x="893" y="165"/>
                  </a:lnTo>
                  <a:lnTo>
                    <a:pt x="833" y="178"/>
                  </a:lnTo>
                  <a:lnTo>
                    <a:pt x="776" y="192"/>
                  </a:lnTo>
                  <a:lnTo>
                    <a:pt x="721" y="206"/>
                  </a:lnTo>
                  <a:lnTo>
                    <a:pt x="667" y="220"/>
                  </a:lnTo>
                  <a:lnTo>
                    <a:pt x="616" y="235"/>
                  </a:lnTo>
                  <a:lnTo>
                    <a:pt x="567" y="249"/>
                  </a:lnTo>
                  <a:lnTo>
                    <a:pt x="520" y="263"/>
                  </a:lnTo>
                  <a:lnTo>
                    <a:pt x="477" y="277"/>
                  </a:lnTo>
                  <a:lnTo>
                    <a:pt x="436" y="290"/>
                  </a:lnTo>
                  <a:lnTo>
                    <a:pt x="397" y="303"/>
                  </a:lnTo>
                  <a:lnTo>
                    <a:pt x="331" y="326"/>
                  </a:lnTo>
                  <a:lnTo>
                    <a:pt x="278" y="345"/>
                  </a:lnTo>
                  <a:lnTo>
                    <a:pt x="239" y="360"/>
                  </a:lnTo>
                  <a:lnTo>
                    <a:pt x="242" y="338"/>
                  </a:lnTo>
                  <a:lnTo>
                    <a:pt x="245" y="316"/>
                  </a:lnTo>
                  <a:lnTo>
                    <a:pt x="252" y="269"/>
                  </a:lnTo>
                  <a:lnTo>
                    <a:pt x="259" y="222"/>
                  </a:lnTo>
                  <a:lnTo>
                    <a:pt x="262" y="199"/>
                  </a:lnTo>
                  <a:lnTo>
                    <a:pt x="264" y="175"/>
                  </a:lnTo>
                  <a:lnTo>
                    <a:pt x="265" y="153"/>
                  </a:lnTo>
                  <a:lnTo>
                    <a:pt x="266" y="131"/>
                  </a:lnTo>
                  <a:lnTo>
                    <a:pt x="265" y="120"/>
                  </a:lnTo>
                  <a:lnTo>
                    <a:pt x="264" y="110"/>
                  </a:lnTo>
                  <a:lnTo>
                    <a:pt x="263" y="99"/>
                  </a:lnTo>
                  <a:lnTo>
                    <a:pt x="262" y="89"/>
                  </a:lnTo>
                  <a:lnTo>
                    <a:pt x="260" y="80"/>
                  </a:lnTo>
                  <a:lnTo>
                    <a:pt x="257" y="71"/>
                  </a:lnTo>
                  <a:lnTo>
                    <a:pt x="254" y="62"/>
                  </a:lnTo>
                  <a:lnTo>
                    <a:pt x="251" y="53"/>
                  </a:lnTo>
                  <a:lnTo>
                    <a:pt x="247" y="45"/>
                  </a:lnTo>
                  <a:lnTo>
                    <a:pt x="242" y="37"/>
                  </a:lnTo>
                  <a:lnTo>
                    <a:pt x="237" y="30"/>
                  </a:lnTo>
                  <a:lnTo>
                    <a:pt x="231" y="23"/>
                  </a:lnTo>
                  <a:lnTo>
                    <a:pt x="227" y="19"/>
                  </a:lnTo>
                  <a:lnTo>
                    <a:pt x="222" y="16"/>
                  </a:lnTo>
                  <a:lnTo>
                    <a:pt x="217" y="12"/>
                  </a:lnTo>
                  <a:lnTo>
                    <a:pt x="211" y="9"/>
                  </a:lnTo>
                  <a:lnTo>
                    <a:pt x="205" y="7"/>
                  </a:lnTo>
                  <a:lnTo>
                    <a:pt x="199" y="5"/>
                  </a:lnTo>
                  <a:lnTo>
                    <a:pt x="192" y="3"/>
                  </a:lnTo>
                  <a:lnTo>
                    <a:pt x="185" y="2"/>
                  </a:lnTo>
                  <a:lnTo>
                    <a:pt x="178" y="1"/>
                  </a:lnTo>
                  <a:lnTo>
                    <a:pt x="171" y="0"/>
                  </a:lnTo>
                  <a:lnTo>
                    <a:pt x="163" y="1"/>
                  </a:lnTo>
                  <a:lnTo>
                    <a:pt x="155" y="1"/>
                  </a:lnTo>
                  <a:lnTo>
                    <a:pt x="148" y="2"/>
                  </a:lnTo>
                  <a:lnTo>
                    <a:pt x="140" y="4"/>
                  </a:lnTo>
                  <a:lnTo>
                    <a:pt x="132" y="6"/>
                  </a:lnTo>
                  <a:lnTo>
                    <a:pt x="125" y="9"/>
                  </a:lnTo>
                  <a:lnTo>
                    <a:pt x="117" y="12"/>
                  </a:lnTo>
                  <a:lnTo>
                    <a:pt x="110" y="16"/>
                  </a:lnTo>
                  <a:lnTo>
                    <a:pt x="103" y="20"/>
                  </a:lnTo>
                  <a:lnTo>
                    <a:pt x="96" y="25"/>
                  </a:lnTo>
                  <a:lnTo>
                    <a:pt x="89" y="31"/>
                  </a:lnTo>
                  <a:lnTo>
                    <a:pt x="82" y="37"/>
                  </a:lnTo>
                  <a:lnTo>
                    <a:pt x="76" y="44"/>
                  </a:lnTo>
                  <a:lnTo>
                    <a:pt x="70" y="52"/>
                  </a:lnTo>
                  <a:lnTo>
                    <a:pt x="65" y="60"/>
                  </a:lnTo>
                  <a:lnTo>
                    <a:pt x="60" y="69"/>
                  </a:lnTo>
                  <a:lnTo>
                    <a:pt x="56" y="79"/>
                  </a:lnTo>
                  <a:lnTo>
                    <a:pt x="52" y="89"/>
                  </a:lnTo>
                  <a:lnTo>
                    <a:pt x="48" y="101"/>
                  </a:lnTo>
                  <a:lnTo>
                    <a:pt x="46" y="113"/>
                  </a:lnTo>
                  <a:lnTo>
                    <a:pt x="43" y="126"/>
                  </a:lnTo>
                  <a:lnTo>
                    <a:pt x="42" y="139"/>
                  </a:lnTo>
                  <a:lnTo>
                    <a:pt x="39" y="180"/>
                  </a:lnTo>
                  <a:lnTo>
                    <a:pt x="35" y="221"/>
                  </a:lnTo>
                  <a:lnTo>
                    <a:pt x="26" y="308"/>
                  </a:lnTo>
                  <a:lnTo>
                    <a:pt x="15" y="401"/>
                  </a:lnTo>
                  <a:lnTo>
                    <a:pt x="3" y="498"/>
                  </a:lnTo>
                  <a:lnTo>
                    <a:pt x="1" y="513"/>
                  </a:lnTo>
                  <a:lnTo>
                    <a:pt x="0" y="527"/>
                  </a:lnTo>
                  <a:lnTo>
                    <a:pt x="0" y="539"/>
                  </a:lnTo>
                  <a:lnTo>
                    <a:pt x="0" y="551"/>
                  </a:lnTo>
                  <a:lnTo>
                    <a:pt x="1" y="561"/>
                  </a:lnTo>
                  <a:lnTo>
                    <a:pt x="3" y="570"/>
                  </a:lnTo>
                  <a:lnTo>
                    <a:pt x="5" y="578"/>
                  </a:lnTo>
                  <a:lnTo>
                    <a:pt x="7" y="585"/>
                  </a:lnTo>
                  <a:lnTo>
                    <a:pt x="11" y="591"/>
                  </a:lnTo>
                  <a:lnTo>
                    <a:pt x="14" y="596"/>
                  </a:lnTo>
                  <a:lnTo>
                    <a:pt x="19" y="601"/>
                  </a:lnTo>
                  <a:lnTo>
                    <a:pt x="23" y="604"/>
                  </a:lnTo>
                  <a:lnTo>
                    <a:pt x="29" y="607"/>
                  </a:lnTo>
                  <a:lnTo>
                    <a:pt x="34" y="609"/>
                  </a:lnTo>
                  <a:lnTo>
                    <a:pt x="40" y="610"/>
                  </a:lnTo>
                  <a:lnTo>
                    <a:pt x="47" y="611"/>
                  </a:lnTo>
                  <a:lnTo>
                    <a:pt x="54" y="611"/>
                  </a:lnTo>
                  <a:lnTo>
                    <a:pt x="61" y="610"/>
                  </a:lnTo>
                  <a:lnTo>
                    <a:pt x="68" y="609"/>
                  </a:lnTo>
                  <a:lnTo>
                    <a:pt x="76" y="608"/>
                  </a:lnTo>
                  <a:lnTo>
                    <a:pt x="93" y="603"/>
                  </a:lnTo>
                  <a:lnTo>
                    <a:pt x="110" y="598"/>
                  </a:lnTo>
                  <a:lnTo>
                    <a:pt x="129" y="591"/>
                  </a:lnTo>
                  <a:lnTo>
                    <a:pt x="148" y="583"/>
                  </a:lnTo>
                  <a:lnTo>
                    <a:pt x="187" y="568"/>
                  </a:lnTo>
                  <a:close/>
                </a:path>
              </a:pathLst>
            </a:custGeom>
            <a:solidFill>
              <a:srgbClr val="FF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04976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7_SIGMA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23E7F51-3CEB-4714-BF11-E6C5DDC76FC8}"/>
              </a:ext>
            </a:extLst>
          </p:cNvPr>
          <p:cNvSpPr/>
          <p:nvPr/>
        </p:nvSpPr>
        <p:spPr>
          <a:xfrm>
            <a:off x="6557320" y="0"/>
            <a:ext cx="5634681" cy="6858000"/>
          </a:xfrm>
          <a:prstGeom prst="rect">
            <a:avLst/>
          </a:prstGeom>
          <a:solidFill>
            <a:schemeClr val="bg1">
              <a:lumMod val="85000"/>
              <a:alpha val="4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240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8A660DA-1C2B-42EF-97AB-1753B066A194}"/>
              </a:ext>
            </a:extLst>
          </p:cNvPr>
          <p:cNvSpPr/>
          <p:nvPr/>
        </p:nvSpPr>
        <p:spPr>
          <a:xfrm>
            <a:off x="0" y="6057875"/>
            <a:ext cx="12192000" cy="547340"/>
          </a:xfrm>
          <a:prstGeom prst="rect">
            <a:avLst/>
          </a:prstGeom>
          <a:solidFill>
            <a:srgbClr val="7A9A0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6000" rIns="96000" rtlCol="0" anchor="ctr"/>
          <a:lstStyle/>
          <a:p>
            <a:pPr lvl="0" algn="ctr" defTabSz="1219170"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44635FF0-89A9-476D-9BD4-BE80E1AFFD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03792" y="3171326"/>
            <a:ext cx="4691968" cy="2203511"/>
          </a:xfrm>
          <a:prstGeom prst="rect">
            <a:avLst/>
          </a:prstGeom>
        </p:spPr>
        <p:txBody>
          <a:bodyPr anchor="t"/>
          <a:lstStyle>
            <a:lvl1pPr algn="ctr"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ES_tradnl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BA28B442-1C14-4E72-9BA1-52E7B0D0C2D7}"/>
              </a:ext>
            </a:extLst>
          </p:cNvPr>
          <p:cNvGrpSpPr>
            <a:grpSpLocks noChangeAspect="1"/>
          </p:cNvGrpSpPr>
          <p:nvPr/>
        </p:nvGrpSpPr>
        <p:grpSpPr>
          <a:xfrm>
            <a:off x="8168144" y="1341807"/>
            <a:ext cx="2563264" cy="1457520"/>
            <a:chOff x="1541463" y="2291616"/>
            <a:chExt cx="833732" cy="474074"/>
          </a:xfrm>
          <a:effectLst/>
        </p:grpSpPr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id="{4BA65CFB-77C5-46E6-904D-2BC245B4C2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632" y="2438564"/>
              <a:ext cx="665563" cy="327126"/>
            </a:xfrm>
            <a:custGeom>
              <a:avLst/>
              <a:gdLst>
                <a:gd name="T0" fmla="*/ 2937 w 3463"/>
                <a:gd name="T1" fmla="*/ 123 h 1703"/>
                <a:gd name="T2" fmla="*/ 2655 w 3463"/>
                <a:gd name="T3" fmla="*/ 476 h 1703"/>
                <a:gd name="T4" fmla="*/ 2529 w 3463"/>
                <a:gd name="T5" fmla="*/ 752 h 1703"/>
                <a:gd name="T6" fmla="*/ 2571 w 3463"/>
                <a:gd name="T7" fmla="*/ 266 h 1703"/>
                <a:gd name="T8" fmla="*/ 2529 w 3463"/>
                <a:gd name="T9" fmla="*/ 44 h 1703"/>
                <a:gd name="T10" fmla="*/ 2296 w 3463"/>
                <a:gd name="T11" fmla="*/ 64 h 1703"/>
                <a:gd name="T12" fmla="*/ 2102 w 3463"/>
                <a:gd name="T13" fmla="*/ 101 h 1703"/>
                <a:gd name="T14" fmla="*/ 1962 w 3463"/>
                <a:gd name="T15" fmla="*/ 15 h 1703"/>
                <a:gd name="T16" fmla="*/ 1673 w 3463"/>
                <a:gd name="T17" fmla="*/ 210 h 1703"/>
                <a:gd name="T18" fmla="*/ 1605 w 3463"/>
                <a:gd name="T19" fmla="*/ 37 h 1703"/>
                <a:gd name="T20" fmla="*/ 1447 w 3463"/>
                <a:gd name="T21" fmla="*/ 60 h 1703"/>
                <a:gd name="T22" fmla="*/ 1235 w 3463"/>
                <a:gd name="T23" fmla="*/ 79 h 1703"/>
                <a:gd name="T24" fmla="*/ 1019 w 3463"/>
                <a:gd name="T25" fmla="*/ 31 h 1703"/>
                <a:gd name="T26" fmla="*/ 703 w 3463"/>
                <a:gd name="T27" fmla="*/ 139 h 1703"/>
                <a:gd name="T28" fmla="*/ 437 w 3463"/>
                <a:gd name="T29" fmla="*/ 471 h 1703"/>
                <a:gd name="T30" fmla="*/ 271 w 3463"/>
                <a:gd name="T31" fmla="*/ 734 h 1703"/>
                <a:gd name="T32" fmla="*/ 307 w 3463"/>
                <a:gd name="T33" fmla="*/ 221 h 1703"/>
                <a:gd name="T34" fmla="*/ 261 w 3463"/>
                <a:gd name="T35" fmla="*/ 17 h 1703"/>
                <a:gd name="T36" fmla="*/ 105 w 3463"/>
                <a:gd name="T37" fmla="*/ 30 h 1703"/>
                <a:gd name="T38" fmla="*/ 21 w 3463"/>
                <a:gd name="T39" fmla="*/ 927 h 1703"/>
                <a:gd name="T40" fmla="*/ 185 w 3463"/>
                <a:gd name="T41" fmla="*/ 961 h 1703"/>
                <a:gd name="T42" fmla="*/ 393 w 3463"/>
                <a:gd name="T43" fmla="*/ 839 h 1703"/>
                <a:gd name="T44" fmla="*/ 223 w 3463"/>
                <a:gd name="T45" fmla="*/ 1153 h 1703"/>
                <a:gd name="T46" fmla="*/ 140 w 3463"/>
                <a:gd name="T47" fmla="*/ 1447 h 1703"/>
                <a:gd name="T48" fmla="*/ 283 w 3463"/>
                <a:gd name="T49" fmla="*/ 1659 h 1703"/>
                <a:gd name="T50" fmla="*/ 629 w 3463"/>
                <a:gd name="T51" fmla="*/ 1676 h 1703"/>
                <a:gd name="T52" fmla="*/ 963 w 3463"/>
                <a:gd name="T53" fmla="*/ 1455 h 1703"/>
                <a:gd name="T54" fmla="*/ 1128 w 3463"/>
                <a:gd name="T55" fmla="*/ 1112 h 1703"/>
                <a:gd name="T56" fmla="*/ 1403 w 3463"/>
                <a:gd name="T57" fmla="*/ 251 h 1703"/>
                <a:gd name="T58" fmla="*/ 1401 w 3463"/>
                <a:gd name="T59" fmla="*/ 955 h 1703"/>
                <a:gd name="T60" fmla="*/ 1556 w 3463"/>
                <a:gd name="T61" fmla="*/ 963 h 1703"/>
                <a:gd name="T62" fmla="*/ 1633 w 3463"/>
                <a:gd name="T63" fmla="*/ 552 h 1703"/>
                <a:gd name="T64" fmla="*/ 1846 w 3463"/>
                <a:gd name="T65" fmla="*/ 233 h 1703"/>
                <a:gd name="T66" fmla="*/ 1874 w 3463"/>
                <a:gd name="T67" fmla="*/ 338 h 1703"/>
                <a:gd name="T68" fmla="*/ 1867 w 3463"/>
                <a:gd name="T69" fmla="*/ 962 h 1703"/>
                <a:gd name="T70" fmla="*/ 2040 w 3463"/>
                <a:gd name="T71" fmla="*/ 947 h 1703"/>
                <a:gd name="T72" fmla="*/ 2125 w 3463"/>
                <a:gd name="T73" fmla="*/ 476 h 1703"/>
                <a:gd name="T74" fmla="*/ 2330 w 3463"/>
                <a:gd name="T75" fmla="*/ 229 h 1703"/>
                <a:gd name="T76" fmla="*/ 2278 w 3463"/>
                <a:gd name="T77" fmla="*/ 756 h 1703"/>
                <a:gd name="T78" fmla="*/ 2335 w 3463"/>
                <a:gd name="T79" fmla="*/ 975 h 1703"/>
                <a:gd name="T80" fmla="*/ 2562 w 3463"/>
                <a:gd name="T81" fmla="*/ 909 h 1703"/>
                <a:gd name="T82" fmla="*/ 2691 w 3463"/>
                <a:gd name="T83" fmla="*/ 966 h 1703"/>
                <a:gd name="T84" fmla="*/ 2940 w 3463"/>
                <a:gd name="T85" fmla="*/ 936 h 1703"/>
                <a:gd name="T86" fmla="*/ 3135 w 3463"/>
                <a:gd name="T87" fmla="*/ 907 h 1703"/>
                <a:gd name="T88" fmla="*/ 3243 w 3463"/>
                <a:gd name="T89" fmla="*/ 991 h 1703"/>
                <a:gd name="T90" fmla="*/ 3351 w 3463"/>
                <a:gd name="T91" fmla="*/ 889 h 1703"/>
                <a:gd name="T92" fmla="*/ 3452 w 3463"/>
                <a:gd name="T93" fmla="*/ 82 h 1703"/>
                <a:gd name="T94" fmla="*/ 917 w 3463"/>
                <a:gd name="T95" fmla="*/ 950 h 1703"/>
                <a:gd name="T96" fmla="*/ 791 w 3463"/>
                <a:gd name="T97" fmla="*/ 1460 h 1703"/>
                <a:gd name="T98" fmla="*/ 565 w 3463"/>
                <a:gd name="T99" fmla="*/ 1554 h 1703"/>
                <a:gd name="T100" fmla="*/ 373 w 3463"/>
                <a:gd name="T101" fmla="*/ 1411 h 1703"/>
                <a:gd name="T102" fmla="*/ 461 w 3463"/>
                <a:gd name="T103" fmla="*/ 1066 h 1703"/>
                <a:gd name="T104" fmla="*/ 738 w 3463"/>
                <a:gd name="T105" fmla="*/ 916 h 1703"/>
                <a:gd name="T106" fmla="*/ 950 w 3463"/>
                <a:gd name="T107" fmla="*/ 445 h 1703"/>
                <a:gd name="T108" fmla="*/ 703 w 3463"/>
                <a:gd name="T109" fmla="*/ 743 h 1703"/>
                <a:gd name="T110" fmla="*/ 630 w 3463"/>
                <a:gd name="T111" fmla="*/ 641 h 1703"/>
                <a:gd name="T112" fmla="*/ 748 w 3463"/>
                <a:gd name="T113" fmla="*/ 291 h 1703"/>
                <a:gd name="T114" fmla="*/ 998 w 3463"/>
                <a:gd name="T115" fmla="*/ 229 h 1703"/>
                <a:gd name="T116" fmla="*/ 3056 w 3463"/>
                <a:gd name="T117" fmla="*/ 628 h 1703"/>
                <a:gd name="T118" fmla="*/ 2862 w 3463"/>
                <a:gd name="T119" fmla="*/ 759 h 1703"/>
                <a:gd name="T120" fmla="*/ 2896 w 3463"/>
                <a:gd name="T121" fmla="*/ 416 h 1703"/>
                <a:gd name="T122" fmla="*/ 3071 w 3463"/>
                <a:gd name="T123" fmla="*/ 214 h 1703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463" h="1703">
                  <a:moveTo>
                    <a:pt x="3244" y="27"/>
                  </a:moveTo>
                  <a:lnTo>
                    <a:pt x="3228" y="28"/>
                  </a:lnTo>
                  <a:lnTo>
                    <a:pt x="3212" y="29"/>
                  </a:lnTo>
                  <a:lnTo>
                    <a:pt x="3197" y="30"/>
                  </a:lnTo>
                  <a:lnTo>
                    <a:pt x="3181" y="32"/>
                  </a:lnTo>
                  <a:lnTo>
                    <a:pt x="3166" y="34"/>
                  </a:lnTo>
                  <a:lnTo>
                    <a:pt x="3151" y="37"/>
                  </a:lnTo>
                  <a:lnTo>
                    <a:pt x="3135" y="40"/>
                  </a:lnTo>
                  <a:lnTo>
                    <a:pt x="3120" y="43"/>
                  </a:lnTo>
                  <a:lnTo>
                    <a:pt x="3106" y="47"/>
                  </a:lnTo>
                  <a:lnTo>
                    <a:pt x="3091" y="51"/>
                  </a:lnTo>
                  <a:lnTo>
                    <a:pt x="3076" y="55"/>
                  </a:lnTo>
                  <a:lnTo>
                    <a:pt x="3062" y="60"/>
                  </a:lnTo>
                  <a:lnTo>
                    <a:pt x="3033" y="71"/>
                  </a:lnTo>
                  <a:lnTo>
                    <a:pt x="3019" y="78"/>
                  </a:lnTo>
                  <a:lnTo>
                    <a:pt x="3005" y="84"/>
                  </a:lnTo>
                  <a:lnTo>
                    <a:pt x="2991" y="91"/>
                  </a:lnTo>
                  <a:lnTo>
                    <a:pt x="2977" y="98"/>
                  </a:lnTo>
                  <a:lnTo>
                    <a:pt x="2950" y="114"/>
                  </a:lnTo>
                  <a:lnTo>
                    <a:pt x="2937" y="123"/>
                  </a:lnTo>
                  <a:lnTo>
                    <a:pt x="2924" y="132"/>
                  </a:lnTo>
                  <a:lnTo>
                    <a:pt x="2911" y="141"/>
                  </a:lnTo>
                  <a:lnTo>
                    <a:pt x="2898" y="150"/>
                  </a:lnTo>
                  <a:lnTo>
                    <a:pt x="2885" y="160"/>
                  </a:lnTo>
                  <a:lnTo>
                    <a:pt x="2873" y="171"/>
                  </a:lnTo>
                  <a:lnTo>
                    <a:pt x="2848" y="193"/>
                  </a:lnTo>
                  <a:lnTo>
                    <a:pt x="2836" y="205"/>
                  </a:lnTo>
                  <a:lnTo>
                    <a:pt x="2824" y="217"/>
                  </a:lnTo>
                  <a:lnTo>
                    <a:pt x="2800" y="242"/>
                  </a:lnTo>
                  <a:lnTo>
                    <a:pt x="2783" y="261"/>
                  </a:lnTo>
                  <a:lnTo>
                    <a:pt x="2767" y="281"/>
                  </a:lnTo>
                  <a:lnTo>
                    <a:pt x="2751" y="302"/>
                  </a:lnTo>
                  <a:lnTo>
                    <a:pt x="2737" y="322"/>
                  </a:lnTo>
                  <a:lnTo>
                    <a:pt x="2722" y="343"/>
                  </a:lnTo>
                  <a:lnTo>
                    <a:pt x="2709" y="364"/>
                  </a:lnTo>
                  <a:lnTo>
                    <a:pt x="2696" y="386"/>
                  </a:lnTo>
                  <a:lnTo>
                    <a:pt x="2685" y="408"/>
                  </a:lnTo>
                  <a:lnTo>
                    <a:pt x="2674" y="430"/>
                  </a:lnTo>
                  <a:lnTo>
                    <a:pt x="2664" y="453"/>
                  </a:lnTo>
                  <a:lnTo>
                    <a:pt x="2655" y="476"/>
                  </a:lnTo>
                  <a:lnTo>
                    <a:pt x="2647" y="499"/>
                  </a:lnTo>
                  <a:lnTo>
                    <a:pt x="2643" y="511"/>
                  </a:lnTo>
                  <a:lnTo>
                    <a:pt x="2639" y="523"/>
                  </a:lnTo>
                  <a:lnTo>
                    <a:pt x="2632" y="547"/>
                  </a:lnTo>
                  <a:lnTo>
                    <a:pt x="2627" y="571"/>
                  </a:lnTo>
                  <a:lnTo>
                    <a:pt x="2621" y="596"/>
                  </a:lnTo>
                  <a:lnTo>
                    <a:pt x="2618" y="608"/>
                  </a:lnTo>
                  <a:lnTo>
                    <a:pt x="2612" y="625"/>
                  </a:lnTo>
                  <a:lnTo>
                    <a:pt x="2604" y="645"/>
                  </a:lnTo>
                  <a:lnTo>
                    <a:pt x="2600" y="656"/>
                  </a:lnTo>
                  <a:lnTo>
                    <a:pt x="2594" y="667"/>
                  </a:lnTo>
                  <a:lnTo>
                    <a:pt x="2588" y="678"/>
                  </a:lnTo>
                  <a:lnTo>
                    <a:pt x="2582" y="690"/>
                  </a:lnTo>
                  <a:lnTo>
                    <a:pt x="2575" y="701"/>
                  </a:lnTo>
                  <a:lnTo>
                    <a:pt x="2567" y="712"/>
                  </a:lnTo>
                  <a:lnTo>
                    <a:pt x="2558" y="723"/>
                  </a:lnTo>
                  <a:lnTo>
                    <a:pt x="2549" y="734"/>
                  </a:lnTo>
                  <a:lnTo>
                    <a:pt x="2544" y="739"/>
                  </a:lnTo>
                  <a:lnTo>
                    <a:pt x="2539" y="743"/>
                  </a:lnTo>
                  <a:lnTo>
                    <a:pt x="2529" y="752"/>
                  </a:lnTo>
                  <a:lnTo>
                    <a:pt x="2525" y="755"/>
                  </a:lnTo>
                  <a:lnTo>
                    <a:pt x="2522" y="757"/>
                  </a:lnTo>
                  <a:lnTo>
                    <a:pt x="2520" y="758"/>
                  </a:lnTo>
                  <a:lnTo>
                    <a:pt x="2517" y="759"/>
                  </a:lnTo>
                  <a:lnTo>
                    <a:pt x="2515" y="759"/>
                  </a:lnTo>
                  <a:lnTo>
                    <a:pt x="2513" y="759"/>
                  </a:lnTo>
                  <a:lnTo>
                    <a:pt x="2512" y="759"/>
                  </a:lnTo>
                  <a:lnTo>
                    <a:pt x="2510" y="758"/>
                  </a:lnTo>
                  <a:lnTo>
                    <a:pt x="2508" y="756"/>
                  </a:lnTo>
                  <a:lnTo>
                    <a:pt x="2507" y="754"/>
                  </a:lnTo>
                  <a:lnTo>
                    <a:pt x="2506" y="751"/>
                  </a:lnTo>
                  <a:lnTo>
                    <a:pt x="2506" y="748"/>
                  </a:lnTo>
                  <a:lnTo>
                    <a:pt x="2505" y="738"/>
                  </a:lnTo>
                  <a:lnTo>
                    <a:pt x="2506" y="729"/>
                  </a:lnTo>
                  <a:lnTo>
                    <a:pt x="2509" y="711"/>
                  </a:lnTo>
                  <a:lnTo>
                    <a:pt x="2516" y="658"/>
                  </a:lnTo>
                  <a:lnTo>
                    <a:pt x="2537" y="508"/>
                  </a:lnTo>
                  <a:lnTo>
                    <a:pt x="2566" y="300"/>
                  </a:lnTo>
                  <a:lnTo>
                    <a:pt x="2569" y="283"/>
                  </a:lnTo>
                  <a:lnTo>
                    <a:pt x="2571" y="266"/>
                  </a:lnTo>
                  <a:lnTo>
                    <a:pt x="2574" y="234"/>
                  </a:lnTo>
                  <a:lnTo>
                    <a:pt x="2576" y="218"/>
                  </a:lnTo>
                  <a:lnTo>
                    <a:pt x="2576" y="204"/>
                  </a:lnTo>
                  <a:lnTo>
                    <a:pt x="2577" y="176"/>
                  </a:lnTo>
                  <a:lnTo>
                    <a:pt x="2577" y="163"/>
                  </a:lnTo>
                  <a:lnTo>
                    <a:pt x="2576" y="150"/>
                  </a:lnTo>
                  <a:lnTo>
                    <a:pt x="2575" y="138"/>
                  </a:lnTo>
                  <a:lnTo>
                    <a:pt x="2573" y="127"/>
                  </a:lnTo>
                  <a:lnTo>
                    <a:pt x="2571" y="117"/>
                  </a:lnTo>
                  <a:lnTo>
                    <a:pt x="2568" y="107"/>
                  </a:lnTo>
                  <a:lnTo>
                    <a:pt x="2565" y="98"/>
                  </a:lnTo>
                  <a:lnTo>
                    <a:pt x="2562" y="89"/>
                  </a:lnTo>
                  <a:lnTo>
                    <a:pt x="2558" y="81"/>
                  </a:lnTo>
                  <a:lnTo>
                    <a:pt x="2554" y="74"/>
                  </a:lnTo>
                  <a:lnTo>
                    <a:pt x="2551" y="70"/>
                  </a:lnTo>
                  <a:lnTo>
                    <a:pt x="2549" y="67"/>
                  </a:lnTo>
                  <a:lnTo>
                    <a:pt x="2545" y="60"/>
                  </a:lnTo>
                  <a:lnTo>
                    <a:pt x="2540" y="55"/>
                  </a:lnTo>
                  <a:lnTo>
                    <a:pt x="2535" y="49"/>
                  </a:lnTo>
                  <a:lnTo>
                    <a:pt x="2529" y="44"/>
                  </a:lnTo>
                  <a:lnTo>
                    <a:pt x="2524" y="40"/>
                  </a:lnTo>
                  <a:lnTo>
                    <a:pt x="2513" y="33"/>
                  </a:lnTo>
                  <a:lnTo>
                    <a:pt x="2507" y="29"/>
                  </a:lnTo>
                  <a:lnTo>
                    <a:pt x="2502" y="27"/>
                  </a:lnTo>
                  <a:lnTo>
                    <a:pt x="2490" y="22"/>
                  </a:lnTo>
                  <a:lnTo>
                    <a:pt x="2479" y="19"/>
                  </a:lnTo>
                  <a:lnTo>
                    <a:pt x="2468" y="16"/>
                  </a:lnTo>
                  <a:lnTo>
                    <a:pt x="2458" y="15"/>
                  </a:lnTo>
                  <a:lnTo>
                    <a:pt x="2448" y="14"/>
                  </a:lnTo>
                  <a:lnTo>
                    <a:pt x="2440" y="14"/>
                  </a:lnTo>
                  <a:lnTo>
                    <a:pt x="2426" y="14"/>
                  </a:lnTo>
                  <a:lnTo>
                    <a:pt x="2412" y="16"/>
                  </a:lnTo>
                  <a:lnTo>
                    <a:pt x="2398" y="18"/>
                  </a:lnTo>
                  <a:lnTo>
                    <a:pt x="2384" y="22"/>
                  </a:lnTo>
                  <a:lnTo>
                    <a:pt x="2370" y="26"/>
                  </a:lnTo>
                  <a:lnTo>
                    <a:pt x="2355" y="32"/>
                  </a:lnTo>
                  <a:lnTo>
                    <a:pt x="2340" y="38"/>
                  </a:lnTo>
                  <a:lnTo>
                    <a:pt x="2326" y="46"/>
                  </a:lnTo>
                  <a:lnTo>
                    <a:pt x="2311" y="54"/>
                  </a:lnTo>
                  <a:lnTo>
                    <a:pt x="2296" y="64"/>
                  </a:lnTo>
                  <a:lnTo>
                    <a:pt x="2280" y="74"/>
                  </a:lnTo>
                  <a:lnTo>
                    <a:pt x="2265" y="86"/>
                  </a:lnTo>
                  <a:lnTo>
                    <a:pt x="2249" y="98"/>
                  </a:lnTo>
                  <a:lnTo>
                    <a:pt x="2234" y="112"/>
                  </a:lnTo>
                  <a:lnTo>
                    <a:pt x="2218" y="126"/>
                  </a:lnTo>
                  <a:lnTo>
                    <a:pt x="2202" y="142"/>
                  </a:lnTo>
                  <a:lnTo>
                    <a:pt x="2189" y="155"/>
                  </a:lnTo>
                  <a:lnTo>
                    <a:pt x="2177" y="168"/>
                  </a:lnTo>
                  <a:lnTo>
                    <a:pt x="2165" y="181"/>
                  </a:lnTo>
                  <a:lnTo>
                    <a:pt x="2153" y="195"/>
                  </a:lnTo>
                  <a:lnTo>
                    <a:pt x="2130" y="224"/>
                  </a:lnTo>
                  <a:lnTo>
                    <a:pt x="2108" y="253"/>
                  </a:lnTo>
                  <a:lnTo>
                    <a:pt x="2113" y="182"/>
                  </a:lnTo>
                  <a:lnTo>
                    <a:pt x="2113" y="168"/>
                  </a:lnTo>
                  <a:lnTo>
                    <a:pt x="2112" y="155"/>
                  </a:lnTo>
                  <a:lnTo>
                    <a:pt x="2111" y="143"/>
                  </a:lnTo>
                  <a:lnTo>
                    <a:pt x="2109" y="131"/>
                  </a:lnTo>
                  <a:lnTo>
                    <a:pt x="2107" y="120"/>
                  </a:lnTo>
                  <a:lnTo>
                    <a:pt x="2105" y="110"/>
                  </a:lnTo>
                  <a:lnTo>
                    <a:pt x="2102" y="101"/>
                  </a:lnTo>
                  <a:lnTo>
                    <a:pt x="2098" y="92"/>
                  </a:lnTo>
                  <a:lnTo>
                    <a:pt x="2095" y="83"/>
                  </a:lnTo>
                  <a:lnTo>
                    <a:pt x="2091" y="76"/>
                  </a:lnTo>
                  <a:lnTo>
                    <a:pt x="2087" y="69"/>
                  </a:lnTo>
                  <a:lnTo>
                    <a:pt x="2082" y="62"/>
                  </a:lnTo>
                  <a:lnTo>
                    <a:pt x="2078" y="56"/>
                  </a:lnTo>
                  <a:lnTo>
                    <a:pt x="2073" y="51"/>
                  </a:lnTo>
                  <a:lnTo>
                    <a:pt x="2068" y="46"/>
                  </a:lnTo>
                  <a:lnTo>
                    <a:pt x="2062" y="41"/>
                  </a:lnTo>
                  <a:lnTo>
                    <a:pt x="2057" y="37"/>
                  </a:lnTo>
                  <a:lnTo>
                    <a:pt x="2052" y="33"/>
                  </a:lnTo>
                  <a:lnTo>
                    <a:pt x="2041" y="27"/>
                  </a:lnTo>
                  <a:lnTo>
                    <a:pt x="2035" y="24"/>
                  </a:lnTo>
                  <a:lnTo>
                    <a:pt x="2030" y="22"/>
                  </a:lnTo>
                  <a:lnTo>
                    <a:pt x="2019" y="19"/>
                  </a:lnTo>
                  <a:lnTo>
                    <a:pt x="2009" y="16"/>
                  </a:lnTo>
                  <a:lnTo>
                    <a:pt x="1999" y="15"/>
                  </a:lnTo>
                  <a:lnTo>
                    <a:pt x="1990" y="14"/>
                  </a:lnTo>
                  <a:lnTo>
                    <a:pt x="1982" y="14"/>
                  </a:lnTo>
                  <a:lnTo>
                    <a:pt x="1962" y="15"/>
                  </a:lnTo>
                  <a:lnTo>
                    <a:pt x="1952" y="16"/>
                  </a:lnTo>
                  <a:lnTo>
                    <a:pt x="1941" y="17"/>
                  </a:lnTo>
                  <a:lnTo>
                    <a:pt x="1931" y="19"/>
                  </a:lnTo>
                  <a:lnTo>
                    <a:pt x="1921" y="22"/>
                  </a:lnTo>
                  <a:lnTo>
                    <a:pt x="1901" y="28"/>
                  </a:lnTo>
                  <a:lnTo>
                    <a:pt x="1891" y="31"/>
                  </a:lnTo>
                  <a:lnTo>
                    <a:pt x="1880" y="36"/>
                  </a:lnTo>
                  <a:lnTo>
                    <a:pt x="1870" y="40"/>
                  </a:lnTo>
                  <a:lnTo>
                    <a:pt x="1860" y="45"/>
                  </a:lnTo>
                  <a:lnTo>
                    <a:pt x="1839" y="57"/>
                  </a:lnTo>
                  <a:lnTo>
                    <a:pt x="1819" y="70"/>
                  </a:lnTo>
                  <a:lnTo>
                    <a:pt x="1798" y="85"/>
                  </a:lnTo>
                  <a:lnTo>
                    <a:pt x="1778" y="101"/>
                  </a:lnTo>
                  <a:lnTo>
                    <a:pt x="1767" y="110"/>
                  </a:lnTo>
                  <a:lnTo>
                    <a:pt x="1757" y="119"/>
                  </a:lnTo>
                  <a:lnTo>
                    <a:pt x="1746" y="129"/>
                  </a:lnTo>
                  <a:lnTo>
                    <a:pt x="1736" y="140"/>
                  </a:lnTo>
                  <a:lnTo>
                    <a:pt x="1715" y="161"/>
                  </a:lnTo>
                  <a:lnTo>
                    <a:pt x="1694" y="185"/>
                  </a:lnTo>
                  <a:lnTo>
                    <a:pt x="1673" y="210"/>
                  </a:lnTo>
                  <a:lnTo>
                    <a:pt x="1662" y="224"/>
                  </a:lnTo>
                  <a:lnTo>
                    <a:pt x="1651" y="238"/>
                  </a:lnTo>
                  <a:lnTo>
                    <a:pt x="1652" y="232"/>
                  </a:lnTo>
                  <a:lnTo>
                    <a:pt x="1657" y="160"/>
                  </a:lnTo>
                  <a:lnTo>
                    <a:pt x="1656" y="148"/>
                  </a:lnTo>
                  <a:lnTo>
                    <a:pt x="1656" y="136"/>
                  </a:lnTo>
                  <a:lnTo>
                    <a:pt x="1654" y="125"/>
                  </a:lnTo>
                  <a:lnTo>
                    <a:pt x="1653" y="115"/>
                  </a:lnTo>
                  <a:lnTo>
                    <a:pt x="1650" y="105"/>
                  </a:lnTo>
                  <a:lnTo>
                    <a:pt x="1648" y="96"/>
                  </a:lnTo>
                  <a:lnTo>
                    <a:pt x="1645" y="88"/>
                  </a:lnTo>
                  <a:lnTo>
                    <a:pt x="1641" y="80"/>
                  </a:lnTo>
                  <a:lnTo>
                    <a:pt x="1638" y="73"/>
                  </a:lnTo>
                  <a:lnTo>
                    <a:pt x="1634" y="66"/>
                  </a:lnTo>
                  <a:lnTo>
                    <a:pt x="1629" y="60"/>
                  </a:lnTo>
                  <a:lnTo>
                    <a:pt x="1625" y="55"/>
                  </a:lnTo>
                  <a:lnTo>
                    <a:pt x="1620" y="49"/>
                  </a:lnTo>
                  <a:lnTo>
                    <a:pt x="1615" y="45"/>
                  </a:lnTo>
                  <a:lnTo>
                    <a:pt x="1610" y="41"/>
                  </a:lnTo>
                  <a:lnTo>
                    <a:pt x="1605" y="37"/>
                  </a:lnTo>
                  <a:lnTo>
                    <a:pt x="1600" y="33"/>
                  </a:lnTo>
                  <a:lnTo>
                    <a:pt x="1595" y="30"/>
                  </a:lnTo>
                  <a:lnTo>
                    <a:pt x="1589" y="28"/>
                  </a:lnTo>
                  <a:lnTo>
                    <a:pt x="1584" y="25"/>
                  </a:lnTo>
                  <a:lnTo>
                    <a:pt x="1574" y="22"/>
                  </a:lnTo>
                  <a:lnTo>
                    <a:pt x="1568" y="20"/>
                  </a:lnTo>
                  <a:lnTo>
                    <a:pt x="1563" y="19"/>
                  </a:lnTo>
                  <a:lnTo>
                    <a:pt x="1554" y="17"/>
                  </a:lnTo>
                  <a:lnTo>
                    <a:pt x="1545" y="17"/>
                  </a:lnTo>
                  <a:lnTo>
                    <a:pt x="1531" y="16"/>
                  </a:lnTo>
                  <a:lnTo>
                    <a:pt x="1526" y="17"/>
                  </a:lnTo>
                  <a:lnTo>
                    <a:pt x="1520" y="19"/>
                  </a:lnTo>
                  <a:lnTo>
                    <a:pt x="1514" y="21"/>
                  </a:lnTo>
                  <a:lnTo>
                    <a:pt x="1507" y="24"/>
                  </a:lnTo>
                  <a:lnTo>
                    <a:pt x="1500" y="27"/>
                  </a:lnTo>
                  <a:lnTo>
                    <a:pt x="1492" y="31"/>
                  </a:lnTo>
                  <a:lnTo>
                    <a:pt x="1475" y="41"/>
                  </a:lnTo>
                  <a:lnTo>
                    <a:pt x="1466" y="47"/>
                  </a:lnTo>
                  <a:lnTo>
                    <a:pt x="1456" y="53"/>
                  </a:lnTo>
                  <a:lnTo>
                    <a:pt x="1447" y="60"/>
                  </a:lnTo>
                  <a:lnTo>
                    <a:pt x="1436" y="67"/>
                  </a:lnTo>
                  <a:lnTo>
                    <a:pt x="1416" y="83"/>
                  </a:lnTo>
                  <a:lnTo>
                    <a:pt x="1394" y="100"/>
                  </a:lnTo>
                  <a:lnTo>
                    <a:pt x="1372" y="118"/>
                  </a:lnTo>
                  <a:lnTo>
                    <a:pt x="1349" y="137"/>
                  </a:lnTo>
                  <a:lnTo>
                    <a:pt x="1305" y="177"/>
                  </a:lnTo>
                  <a:lnTo>
                    <a:pt x="1282" y="197"/>
                  </a:lnTo>
                  <a:lnTo>
                    <a:pt x="1261" y="217"/>
                  </a:lnTo>
                  <a:lnTo>
                    <a:pt x="1241" y="236"/>
                  </a:lnTo>
                  <a:lnTo>
                    <a:pt x="1222" y="255"/>
                  </a:lnTo>
                  <a:lnTo>
                    <a:pt x="1239" y="130"/>
                  </a:lnTo>
                  <a:lnTo>
                    <a:pt x="1240" y="123"/>
                  </a:lnTo>
                  <a:lnTo>
                    <a:pt x="1241" y="117"/>
                  </a:lnTo>
                  <a:lnTo>
                    <a:pt x="1241" y="111"/>
                  </a:lnTo>
                  <a:lnTo>
                    <a:pt x="1241" y="105"/>
                  </a:lnTo>
                  <a:lnTo>
                    <a:pt x="1241" y="99"/>
                  </a:lnTo>
                  <a:lnTo>
                    <a:pt x="1240" y="94"/>
                  </a:lnTo>
                  <a:lnTo>
                    <a:pt x="1239" y="89"/>
                  </a:lnTo>
                  <a:lnTo>
                    <a:pt x="1237" y="84"/>
                  </a:lnTo>
                  <a:lnTo>
                    <a:pt x="1235" y="79"/>
                  </a:lnTo>
                  <a:lnTo>
                    <a:pt x="1233" y="75"/>
                  </a:lnTo>
                  <a:lnTo>
                    <a:pt x="1230" y="70"/>
                  </a:lnTo>
                  <a:lnTo>
                    <a:pt x="1226" y="66"/>
                  </a:lnTo>
                  <a:lnTo>
                    <a:pt x="1223" y="62"/>
                  </a:lnTo>
                  <a:lnTo>
                    <a:pt x="1218" y="59"/>
                  </a:lnTo>
                  <a:lnTo>
                    <a:pt x="1213" y="55"/>
                  </a:lnTo>
                  <a:lnTo>
                    <a:pt x="1208" y="52"/>
                  </a:lnTo>
                  <a:lnTo>
                    <a:pt x="1196" y="47"/>
                  </a:lnTo>
                  <a:lnTo>
                    <a:pt x="1190" y="44"/>
                  </a:lnTo>
                  <a:lnTo>
                    <a:pt x="1182" y="42"/>
                  </a:lnTo>
                  <a:lnTo>
                    <a:pt x="1166" y="38"/>
                  </a:lnTo>
                  <a:lnTo>
                    <a:pt x="1148" y="35"/>
                  </a:lnTo>
                  <a:lnTo>
                    <a:pt x="1128" y="32"/>
                  </a:lnTo>
                  <a:lnTo>
                    <a:pt x="1117" y="31"/>
                  </a:lnTo>
                  <a:lnTo>
                    <a:pt x="1105" y="31"/>
                  </a:lnTo>
                  <a:lnTo>
                    <a:pt x="1093" y="30"/>
                  </a:lnTo>
                  <a:lnTo>
                    <a:pt x="1080" y="30"/>
                  </a:lnTo>
                  <a:lnTo>
                    <a:pt x="1052" y="30"/>
                  </a:lnTo>
                  <a:lnTo>
                    <a:pt x="1036" y="30"/>
                  </a:lnTo>
                  <a:lnTo>
                    <a:pt x="1019" y="31"/>
                  </a:lnTo>
                  <a:lnTo>
                    <a:pt x="1003" y="32"/>
                  </a:lnTo>
                  <a:lnTo>
                    <a:pt x="987" y="33"/>
                  </a:lnTo>
                  <a:lnTo>
                    <a:pt x="971" y="35"/>
                  </a:lnTo>
                  <a:lnTo>
                    <a:pt x="955" y="38"/>
                  </a:lnTo>
                  <a:lnTo>
                    <a:pt x="923" y="44"/>
                  </a:lnTo>
                  <a:lnTo>
                    <a:pt x="908" y="47"/>
                  </a:lnTo>
                  <a:lnTo>
                    <a:pt x="892" y="51"/>
                  </a:lnTo>
                  <a:lnTo>
                    <a:pt x="877" y="55"/>
                  </a:lnTo>
                  <a:lnTo>
                    <a:pt x="862" y="60"/>
                  </a:lnTo>
                  <a:lnTo>
                    <a:pt x="847" y="65"/>
                  </a:lnTo>
                  <a:lnTo>
                    <a:pt x="832" y="71"/>
                  </a:lnTo>
                  <a:lnTo>
                    <a:pt x="817" y="77"/>
                  </a:lnTo>
                  <a:lnTo>
                    <a:pt x="802" y="83"/>
                  </a:lnTo>
                  <a:lnTo>
                    <a:pt x="788" y="90"/>
                  </a:lnTo>
                  <a:lnTo>
                    <a:pt x="773" y="97"/>
                  </a:lnTo>
                  <a:lnTo>
                    <a:pt x="759" y="105"/>
                  </a:lnTo>
                  <a:lnTo>
                    <a:pt x="745" y="113"/>
                  </a:lnTo>
                  <a:lnTo>
                    <a:pt x="731" y="121"/>
                  </a:lnTo>
                  <a:lnTo>
                    <a:pt x="717" y="130"/>
                  </a:lnTo>
                  <a:lnTo>
                    <a:pt x="703" y="139"/>
                  </a:lnTo>
                  <a:lnTo>
                    <a:pt x="690" y="149"/>
                  </a:lnTo>
                  <a:lnTo>
                    <a:pt x="676" y="159"/>
                  </a:lnTo>
                  <a:lnTo>
                    <a:pt x="663" y="170"/>
                  </a:lnTo>
                  <a:lnTo>
                    <a:pt x="637" y="192"/>
                  </a:lnTo>
                  <a:lnTo>
                    <a:pt x="624" y="204"/>
                  </a:lnTo>
                  <a:lnTo>
                    <a:pt x="611" y="216"/>
                  </a:lnTo>
                  <a:lnTo>
                    <a:pt x="598" y="228"/>
                  </a:lnTo>
                  <a:lnTo>
                    <a:pt x="586" y="241"/>
                  </a:lnTo>
                  <a:lnTo>
                    <a:pt x="570" y="259"/>
                  </a:lnTo>
                  <a:lnTo>
                    <a:pt x="555" y="277"/>
                  </a:lnTo>
                  <a:lnTo>
                    <a:pt x="540" y="295"/>
                  </a:lnTo>
                  <a:lnTo>
                    <a:pt x="526" y="314"/>
                  </a:lnTo>
                  <a:lnTo>
                    <a:pt x="512" y="332"/>
                  </a:lnTo>
                  <a:lnTo>
                    <a:pt x="500" y="351"/>
                  </a:lnTo>
                  <a:lnTo>
                    <a:pt x="488" y="371"/>
                  </a:lnTo>
                  <a:lnTo>
                    <a:pt x="476" y="390"/>
                  </a:lnTo>
                  <a:lnTo>
                    <a:pt x="465" y="410"/>
                  </a:lnTo>
                  <a:lnTo>
                    <a:pt x="455" y="430"/>
                  </a:lnTo>
                  <a:lnTo>
                    <a:pt x="446" y="451"/>
                  </a:lnTo>
                  <a:lnTo>
                    <a:pt x="437" y="471"/>
                  </a:lnTo>
                  <a:lnTo>
                    <a:pt x="429" y="492"/>
                  </a:lnTo>
                  <a:lnTo>
                    <a:pt x="421" y="513"/>
                  </a:lnTo>
                  <a:lnTo>
                    <a:pt x="418" y="524"/>
                  </a:lnTo>
                  <a:lnTo>
                    <a:pt x="415" y="535"/>
                  </a:lnTo>
                  <a:lnTo>
                    <a:pt x="408" y="557"/>
                  </a:lnTo>
                  <a:lnTo>
                    <a:pt x="397" y="580"/>
                  </a:lnTo>
                  <a:lnTo>
                    <a:pt x="383" y="606"/>
                  </a:lnTo>
                  <a:lnTo>
                    <a:pt x="375" y="619"/>
                  </a:lnTo>
                  <a:lnTo>
                    <a:pt x="367" y="632"/>
                  </a:lnTo>
                  <a:lnTo>
                    <a:pt x="358" y="645"/>
                  </a:lnTo>
                  <a:lnTo>
                    <a:pt x="349" y="658"/>
                  </a:lnTo>
                  <a:lnTo>
                    <a:pt x="340" y="670"/>
                  </a:lnTo>
                  <a:lnTo>
                    <a:pt x="329" y="683"/>
                  </a:lnTo>
                  <a:lnTo>
                    <a:pt x="319" y="694"/>
                  </a:lnTo>
                  <a:lnTo>
                    <a:pt x="313" y="700"/>
                  </a:lnTo>
                  <a:lnTo>
                    <a:pt x="308" y="705"/>
                  </a:lnTo>
                  <a:lnTo>
                    <a:pt x="296" y="716"/>
                  </a:lnTo>
                  <a:lnTo>
                    <a:pt x="284" y="725"/>
                  </a:lnTo>
                  <a:lnTo>
                    <a:pt x="278" y="730"/>
                  </a:lnTo>
                  <a:lnTo>
                    <a:pt x="271" y="734"/>
                  </a:lnTo>
                  <a:lnTo>
                    <a:pt x="265" y="738"/>
                  </a:lnTo>
                  <a:lnTo>
                    <a:pt x="258" y="741"/>
                  </a:lnTo>
                  <a:lnTo>
                    <a:pt x="255" y="743"/>
                  </a:lnTo>
                  <a:lnTo>
                    <a:pt x="251" y="743"/>
                  </a:lnTo>
                  <a:lnTo>
                    <a:pt x="248" y="743"/>
                  </a:lnTo>
                  <a:lnTo>
                    <a:pt x="246" y="742"/>
                  </a:lnTo>
                  <a:lnTo>
                    <a:pt x="244" y="741"/>
                  </a:lnTo>
                  <a:lnTo>
                    <a:pt x="242" y="740"/>
                  </a:lnTo>
                  <a:lnTo>
                    <a:pt x="241" y="738"/>
                  </a:lnTo>
                  <a:lnTo>
                    <a:pt x="240" y="736"/>
                  </a:lnTo>
                  <a:lnTo>
                    <a:pt x="239" y="733"/>
                  </a:lnTo>
                  <a:lnTo>
                    <a:pt x="238" y="729"/>
                  </a:lnTo>
                  <a:lnTo>
                    <a:pt x="238" y="725"/>
                  </a:lnTo>
                  <a:lnTo>
                    <a:pt x="238" y="719"/>
                  </a:lnTo>
                  <a:lnTo>
                    <a:pt x="239" y="714"/>
                  </a:lnTo>
                  <a:lnTo>
                    <a:pt x="259" y="575"/>
                  </a:lnTo>
                  <a:lnTo>
                    <a:pt x="286" y="391"/>
                  </a:lnTo>
                  <a:lnTo>
                    <a:pt x="298" y="301"/>
                  </a:lnTo>
                  <a:lnTo>
                    <a:pt x="303" y="259"/>
                  </a:lnTo>
                  <a:lnTo>
                    <a:pt x="307" y="221"/>
                  </a:lnTo>
                  <a:lnTo>
                    <a:pt x="311" y="188"/>
                  </a:lnTo>
                  <a:lnTo>
                    <a:pt x="313" y="161"/>
                  </a:lnTo>
                  <a:lnTo>
                    <a:pt x="314" y="149"/>
                  </a:lnTo>
                  <a:lnTo>
                    <a:pt x="314" y="140"/>
                  </a:lnTo>
                  <a:lnTo>
                    <a:pt x="314" y="132"/>
                  </a:lnTo>
                  <a:lnTo>
                    <a:pt x="314" y="127"/>
                  </a:lnTo>
                  <a:lnTo>
                    <a:pt x="312" y="114"/>
                  </a:lnTo>
                  <a:lnTo>
                    <a:pt x="310" y="98"/>
                  </a:lnTo>
                  <a:lnTo>
                    <a:pt x="305" y="79"/>
                  </a:lnTo>
                  <a:lnTo>
                    <a:pt x="302" y="69"/>
                  </a:lnTo>
                  <a:lnTo>
                    <a:pt x="300" y="65"/>
                  </a:lnTo>
                  <a:lnTo>
                    <a:pt x="298" y="60"/>
                  </a:lnTo>
                  <a:lnTo>
                    <a:pt x="293" y="50"/>
                  </a:lnTo>
                  <a:lnTo>
                    <a:pt x="287" y="41"/>
                  </a:lnTo>
                  <a:lnTo>
                    <a:pt x="283" y="37"/>
                  </a:lnTo>
                  <a:lnTo>
                    <a:pt x="279" y="32"/>
                  </a:lnTo>
                  <a:lnTo>
                    <a:pt x="275" y="28"/>
                  </a:lnTo>
                  <a:lnTo>
                    <a:pt x="271" y="24"/>
                  </a:lnTo>
                  <a:lnTo>
                    <a:pt x="266" y="21"/>
                  </a:lnTo>
                  <a:lnTo>
                    <a:pt x="261" y="17"/>
                  </a:lnTo>
                  <a:lnTo>
                    <a:pt x="256" y="14"/>
                  </a:lnTo>
                  <a:lnTo>
                    <a:pt x="250" y="11"/>
                  </a:lnTo>
                  <a:lnTo>
                    <a:pt x="243" y="9"/>
                  </a:lnTo>
                  <a:lnTo>
                    <a:pt x="237" y="6"/>
                  </a:lnTo>
                  <a:lnTo>
                    <a:pt x="230" y="4"/>
                  </a:lnTo>
                  <a:lnTo>
                    <a:pt x="222" y="3"/>
                  </a:lnTo>
                  <a:lnTo>
                    <a:pt x="212" y="1"/>
                  </a:lnTo>
                  <a:lnTo>
                    <a:pt x="203" y="1"/>
                  </a:lnTo>
                  <a:lnTo>
                    <a:pt x="193" y="0"/>
                  </a:lnTo>
                  <a:lnTo>
                    <a:pt x="184" y="1"/>
                  </a:lnTo>
                  <a:lnTo>
                    <a:pt x="175" y="2"/>
                  </a:lnTo>
                  <a:lnTo>
                    <a:pt x="167" y="3"/>
                  </a:lnTo>
                  <a:lnTo>
                    <a:pt x="159" y="5"/>
                  </a:lnTo>
                  <a:lnTo>
                    <a:pt x="151" y="7"/>
                  </a:lnTo>
                  <a:lnTo>
                    <a:pt x="137" y="12"/>
                  </a:lnTo>
                  <a:lnTo>
                    <a:pt x="130" y="15"/>
                  </a:lnTo>
                  <a:lnTo>
                    <a:pt x="124" y="18"/>
                  </a:lnTo>
                  <a:lnTo>
                    <a:pt x="118" y="21"/>
                  </a:lnTo>
                  <a:lnTo>
                    <a:pt x="113" y="24"/>
                  </a:lnTo>
                  <a:lnTo>
                    <a:pt x="105" y="30"/>
                  </a:lnTo>
                  <a:lnTo>
                    <a:pt x="105" y="35"/>
                  </a:lnTo>
                  <a:lnTo>
                    <a:pt x="105" y="44"/>
                  </a:lnTo>
                  <a:lnTo>
                    <a:pt x="103" y="72"/>
                  </a:lnTo>
                  <a:lnTo>
                    <a:pt x="99" y="113"/>
                  </a:lnTo>
                  <a:lnTo>
                    <a:pt x="93" y="165"/>
                  </a:lnTo>
                  <a:lnTo>
                    <a:pt x="76" y="293"/>
                  </a:lnTo>
                  <a:lnTo>
                    <a:pt x="56" y="439"/>
                  </a:lnTo>
                  <a:lnTo>
                    <a:pt x="18" y="710"/>
                  </a:lnTo>
                  <a:lnTo>
                    <a:pt x="5" y="801"/>
                  </a:lnTo>
                  <a:lnTo>
                    <a:pt x="1" y="829"/>
                  </a:lnTo>
                  <a:lnTo>
                    <a:pt x="0" y="840"/>
                  </a:lnTo>
                  <a:lnTo>
                    <a:pt x="0" y="852"/>
                  </a:lnTo>
                  <a:lnTo>
                    <a:pt x="1" y="862"/>
                  </a:lnTo>
                  <a:lnTo>
                    <a:pt x="2" y="872"/>
                  </a:lnTo>
                  <a:lnTo>
                    <a:pt x="4" y="882"/>
                  </a:lnTo>
                  <a:lnTo>
                    <a:pt x="6" y="891"/>
                  </a:lnTo>
                  <a:lnTo>
                    <a:pt x="8" y="899"/>
                  </a:lnTo>
                  <a:lnTo>
                    <a:pt x="14" y="914"/>
                  </a:lnTo>
                  <a:lnTo>
                    <a:pt x="17" y="921"/>
                  </a:lnTo>
                  <a:lnTo>
                    <a:pt x="21" y="927"/>
                  </a:lnTo>
                  <a:lnTo>
                    <a:pt x="25" y="933"/>
                  </a:lnTo>
                  <a:lnTo>
                    <a:pt x="29" y="938"/>
                  </a:lnTo>
                  <a:lnTo>
                    <a:pt x="33" y="943"/>
                  </a:lnTo>
                  <a:lnTo>
                    <a:pt x="37" y="947"/>
                  </a:lnTo>
                  <a:lnTo>
                    <a:pt x="42" y="951"/>
                  </a:lnTo>
                  <a:lnTo>
                    <a:pt x="47" y="955"/>
                  </a:lnTo>
                  <a:lnTo>
                    <a:pt x="56" y="961"/>
                  </a:lnTo>
                  <a:lnTo>
                    <a:pt x="66" y="965"/>
                  </a:lnTo>
                  <a:lnTo>
                    <a:pt x="71" y="967"/>
                  </a:lnTo>
                  <a:lnTo>
                    <a:pt x="75" y="969"/>
                  </a:lnTo>
                  <a:lnTo>
                    <a:pt x="80" y="970"/>
                  </a:lnTo>
                  <a:lnTo>
                    <a:pt x="84" y="972"/>
                  </a:lnTo>
                  <a:lnTo>
                    <a:pt x="93" y="973"/>
                  </a:lnTo>
                  <a:lnTo>
                    <a:pt x="101" y="974"/>
                  </a:lnTo>
                  <a:lnTo>
                    <a:pt x="113" y="975"/>
                  </a:lnTo>
                  <a:lnTo>
                    <a:pt x="128" y="974"/>
                  </a:lnTo>
                  <a:lnTo>
                    <a:pt x="142" y="973"/>
                  </a:lnTo>
                  <a:lnTo>
                    <a:pt x="156" y="970"/>
                  </a:lnTo>
                  <a:lnTo>
                    <a:pt x="171" y="966"/>
                  </a:lnTo>
                  <a:lnTo>
                    <a:pt x="185" y="961"/>
                  </a:lnTo>
                  <a:lnTo>
                    <a:pt x="199" y="955"/>
                  </a:lnTo>
                  <a:lnTo>
                    <a:pt x="214" y="947"/>
                  </a:lnTo>
                  <a:lnTo>
                    <a:pt x="228" y="939"/>
                  </a:lnTo>
                  <a:lnTo>
                    <a:pt x="242" y="929"/>
                  </a:lnTo>
                  <a:lnTo>
                    <a:pt x="250" y="924"/>
                  </a:lnTo>
                  <a:lnTo>
                    <a:pt x="257" y="918"/>
                  </a:lnTo>
                  <a:lnTo>
                    <a:pt x="272" y="906"/>
                  </a:lnTo>
                  <a:lnTo>
                    <a:pt x="286" y="893"/>
                  </a:lnTo>
                  <a:lnTo>
                    <a:pt x="294" y="886"/>
                  </a:lnTo>
                  <a:lnTo>
                    <a:pt x="301" y="878"/>
                  </a:lnTo>
                  <a:lnTo>
                    <a:pt x="316" y="863"/>
                  </a:lnTo>
                  <a:lnTo>
                    <a:pt x="331" y="846"/>
                  </a:lnTo>
                  <a:lnTo>
                    <a:pt x="346" y="828"/>
                  </a:lnTo>
                  <a:lnTo>
                    <a:pt x="367" y="802"/>
                  </a:lnTo>
                  <a:lnTo>
                    <a:pt x="384" y="780"/>
                  </a:lnTo>
                  <a:lnTo>
                    <a:pt x="386" y="800"/>
                  </a:lnTo>
                  <a:lnTo>
                    <a:pt x="387" y="810"/>
                  </a:lnTo>
                  <a:lnTo>
                    <a:pt x="389" y="820"/>
                  </a:lnTo>
                  <a:lnTo>
                    <a:pt x="391" y="829"/>
                  </a:lnTo>
                  <a:lnTo>
                    <a:pt x="393" y="839"/>
                  </a:lnTo>
                  <a:lnTo>
                    <a:pt x="396" y="848"/>
                  </a:lnTo>
                  <a:lnTo>
                    <a:pt x="400" y="858"/>
                  </a:lnTo>
                  <a:lnTo>
                    <a:pt x="403" y="867"/>
                  </a:lnTo>
                  <a:lnTo>
                    <a:pt x="408" y="877"/>
                  </a:lnTo>
                  <a:lnTo>
                    <a:pt x="413" y="886"/>
                  </a:lnTo>
                  <a:lnTo>
                    <a:pt x="418" y="895"/>
                  </a:lnTo>
                  <a:lnTo>
                    <a:pt x="425" y="904"/>
                  </a:lnTo>
                  <a:lnTo>
                    <a:pt x="432" y="913"/>
                  </a:lnTo>
                  <a:lnTo>
                    <a:pt x="439" y="921"/>
                  </a:lnTo>
                  <a:lnTo>
                    <a:pt x="447" y="930"/>
                  </a:lnTo>
                  <a:lnTo>
                    <a:pt x="413" y="959"/>
                  </a:lnTo>
                  <a:lnTo>
                    <a:pt x="380" y="987"/>
                  </a:lnTo>
                  <a:lnTo>
                    <a:pt x="349" y="1015"/>
                  </a:lnTo>
                  <a:lnTo>
                    <a:pt x="320" y="1042"/>
                  </a:lnTo>
                  <a:lnTo>
                    <a:pt x="293" y="1070"/>
                  </a:lnTo>
                  <a:lnTo>
                    <a:pt x="267" y="1098"/>
                  </a:lnTo>
                  <a:lnTo>
                    <a:pt x="255" y="1112"/>
                  </a:lnTo>
                  <a:lnTo>
                    <a:pt x="244" y="1125"/>
                  </a:lnTo>
                  <a:lnTo>
                    <a:pt x="233" y="1139"/>
                  </a:lnTo>
                  <a:lnTo>
                    <a:pt x="223" y="1153"/>
                  </a:lnTo>
                  <a:lnTo>
                    <a:pt x="213" y="1167"/>
                  </a:lnTo>
                  <a:lnTo>
                    <a:pt x="203" y="1180"/>
                  </a:lnTo>
                  <a:lnTo>
                    <a:pt x="194" y="1194"/>
                  </a:lnTo>
                  <a:lnTo>
                    <a:pt x="186" y="1208"/>
                  </a:lnTo>
                  <a:lnTo>
                    <a:pt x="179" y="1222"/>
                  </a:lnTo>
                  <a:lnTo>
                    <a:pt x="171" y="1236"/>
                  </a:lnTo>
                  <a:lnTo>
                    <a:pt x="165" y="1250"/>
                  </a:lnTo>
                  <a:lnTo>
                    <a:pt x="159" y="1264"/>
                  </a:lnTo>
                  <a:lnTo>
                    <a:pt x="154" y="1278"/>
                  </a:lnTo>
                  <a:lnTo>
                    <a:pt x="149" y="1293"/>
                  </a:lnTo>
                  <a:lnTo>
                    <a:pt x="145" y="1307"/>
                  </a:lnTo>
                  <a:lnTo>
                    <a:pt x="142" y="1322"/>
                  </a:lnTo>
                  <a:lnTo>
                    <a:pt x="139" y="1336"/>
                  </a:lnTo>
                  <a:lnTo>
                    <a:pt x="137" y="1351"/>
                  </a:lnTo>
                  <a:lnTo>
                    <a:pt x="136" y="1366"/>
                  </a:lnTo>
                  <a:lnTo>
                    <a:pt x="135" y="1381"/>
                  </a:lnTo>
                  <a:lnTo>
                    <a:pt x="135" y="1398"/>
                  </a:lnTo>
                  <a:lnTo>
                    <a:pt x="136" y="1415"/>
                  </a:lnTo>
                  <a:lnTo>
                    <a:pt x="137" y="1431"/>
                  </a:lnTo>
                  <a:lnTo>
                    <a:pt x="140" y="1447"/>
                  </a:lnTo>
                  <a:lnTo>
                    <a:pt x="141" y="1454"/>
                  </a:lnTo>
                  <a:lnTo>
                    <a:pt x="143" y="1462"/>
                  </a:lnTo>
                  <a:lnTo>
                    <a:pt x="146" y="1477"/>
                  </a:lnTo>
                  <a:lnTo>
                    <a:pt x="151" y="1492"/>
                  </a:lnTo>
                  <a:lnTo>
                    <a:pt x="156" y="1507"/>
                  </a:lnTo>
                  <a:lnTo>
                    <a:pt x="161" y="1521"/>
                  </a:lnTo>
                  <a:lnTo>
                    <a:pt x="168" y="1534"/>
                  </a:lnTo>
                  <a:lnTo>
                    <a:pt x="175" y="1548"/>
                  </a:lnTo>
                  <a:lnTo>
                    <a:pt x="183" y="1561"/>
                  </a:lnTo>
                  <a:lnTo>
                    <a:pt x="192" y="1574"/>
                  </a:lnTo>
                  <a:lnTo>
                    <a:pt x="201" y="1586"/>
                  </a:lnTo>
                  <a:lnTo>
                    <a:pt x="211" y="1598"/>
                  </a:lnTo>
                  <a:lnTo>
                    <a:pt x="222" y="1610"/>
                  </a:lnTo>
                  <a:lnTo>
                    <a:pt x="234" y="1621"/>
                  </a:lnTo>
                  <a:lnTo>
                    <a:pt x="245" y="1631"/>
                  </a:lnTo>
                  <a:lnTo>
                    <a:pt x="251" y="1636"/>
                  </a:lnTo>
                  <a:lnTo>
                    <a:pt x="258" y="1641"/>
                  </a:lnTo>
                  <a:lnTo>
                    <a:pt x="270" y="1650"/>
                  </a:lnTo>
                  <a:lnTo>
                    <a:pt x="277" y="1654"/>
                  </a:lnTo>
                  <a:lnTo>
                    <a:pt x="283" y="1659"/>
                  </a:lnTo>
                  <a:lnTo>
                    <a:pt x="297" y="1666"/>
                  </a:lnTo>
                  <a:lnTo>
                    <a:pt x="310" y="1673"/>
                  </a:lnTo>
                  <a:lnTo>
                    <a:pt x="324" y="1679"/>
                  </a:lnTo>
                  <a:lnTo>
                    <a:pt x="339" y="1685"/>
                  </a:lnTo>
                  <a:lnTo>
                    <a:pt x="354" y="1690"/>
                  </a:lnTo>
                  <a:lnTo>
                    <a:pt x="369" y="1694"/>
                  </a:lnTo>
                  <a:lnTo>
                    <a:pt x="385" y="1697"/>
                  </a:lnTo>
                  <a:lnTo>
                    <a:pt x="401" y="1700"/>
                  </a:lnTo>
                  <a:lnTo>
                    <a:pt x="417" y="1702"/>
                  </a:lnTo>
                  <a:lnTo>
                    <a:pt x="434" y="1703"/>
                  </a:lnTo>
                  <a:lnTo>
                    <a:pt x="451" y="1703"/>
                  </a:lnTo>
                  <a:lnTo>
                    <a:pt x="483" y="1702"/>
                  </a:lnTo>
                  <a:lnTo>
                    <a:pt x="500" y="1701"/>
                  </a:lnTo>
                  <a:lnTo>
                    <a:pt x="516" y="1700"/>
                  </a:lnTo>
                  <a:lnTo>
                    <a:pt x="548" y="1695"/>
                  </a:lnTo>
                  <a:lnTo>
                    <a:pt x="565" y="1692"/>
                  </a:lnTo>
                  <a:lnTo>
                    <a:pt x="581" y="1689"/>
                  </a:lnTo>
                  <a:lnTo>
                    <a:pt x="597" y="1685"/>
                  </a:lnTo>
                  <a:lnTo>
                    <a:pt x="613" y="1681"/>
                  </a:lnTo>
                  <a:lnTo>
                    <a:pt x="629" y="1676"/>
                  </a:lnTo>
                  <a:lnTo>
                    <a:pt x="645" y="1671"/>
                  </a:lnTo>
                  <a:lnTo>
                    <a:pt x="676" y="1659"/>
                  </a:lnTo>
                  <a:lnTo>
                    <a:pt x="692" y="1652"/>
                  </a:lnTo>
                  <a:lnTo>
                    <a:pt x="708" y="1645"/>
                  </a:lnTo>
                  <a:lnTo>
                    <a:pt x="723" y="1637"/>
                  </a:lnTo>
                  <a:lnTo>
                    <a:pt x="739" y="1629"/>
                  </a:lnTo>
                  <a:lnTo>
                    <a:pt x="754" y="1621"/>
                  </a:lnTo>
                  <a:lnTo>
                    <a:pt x="770" y="1612"/>
                  </a:lnTo>
                  <a:lnTo>
                    <a:pt x="785" y="1602"/>
                  </a:lnTo>
                  <a:lnTo>
                    <a:pt x="800" y="1592"/>
                  </a:lnTo>
                  <a:lnTo>
                    <a:pt x="816" y="1582"/>
                  </a:lnTo>
                  <a:lnTo>
                    <a:pt x="831" y="1571"/>
                  </a:lnTo>
                  <a:lnTo>
                    <a:pt x="846" y="1560"/>
                  </a:lnTo>
                  <a:lnTo>
                    <a:pt x="861" y="1548"/>
                  </a:lnTo>
                  <a:lnTo>
                    <a:pt x="891" y="1523"/>
                  </a:lnTo>
                  <a:lnTo>
                    <a:pt x="906" y="1510"/>
                  </a:lnTo>
                  <a:lnTo>
                    <a:pt x="921" y="1497"/>
                  </a:lnTo>
                  <a:lnTo>
                    <a:pt x="935" y="1483"/>
                  </a:lnTo>
                  <a:lnTo>
                    <a:pt x="950" y="1468"/>
                  </a:lnTo>
                  <a:lnTo>
                    <a:pt x="963" y="1455"/>
                  </a:lnTo>
                  <a:lnTo>
                    <a:pt x="975" y="1442"/>
                  </a:lnTo>
                  <a:lnTo>
                    <a:pt x="986" y="1428"/>
                  </a:lnTo>
                  <a:lnTo>
                    <a:pt x="998" y="1414"/>
                  </a:lnTo>
                  <a:lnTo>
                    <a:pt x="1008" y="1400"/>
                  </a:lnTo>
                  <a:lnTo>
                    <a:pt x="1018" y="1385"/>
                  </a:lnTo>
                  <a:lnTo>
                    <a:pt x="1028" y="1371"/>
                  </a:lnTo>
                  <a:lnTo>
                    <a:pt x="1037" y="1356"/>
                  </a:lnTo>
                  <a:lnTo>
                    <a:pt x="1046" y="1341"/>
                  </a:lnTo>
                  <a:lnTo>
                    <a:pt x="1055" y="1325"/>
                  </a:lnTo>
                  <a:lnTo>
                    <a:pt x="1063" y="1310"/>
                  </a:lnTo>
                  <a:lnTo>
                    <a:pt x="1070" y="1294"/>
                  </a:lnTo>
                  <a:lnTo>
                    <a:pt x="1078" y="1278"/>
                  </a:lnTo>
                  <a:lnTo>
                    <a:pt x="1085" y="1262"/>
                  </a:lnTo>
                  <a:lnTo>
                    <a:pt x="1098" y="1230"/>
                  </a:lnTo>
                  <a:lnTo>
                    <a:pt x="1103" y="1213"/>
                  </a:lnTo>
                  <a:lnTo>
                    <a:pt x="1109" y="1195"/>
                  </a:lnTo>
                  <a:lnTo>
                    <a:pt x="1114" y="1176"/>
                  </a:lnTo>
                  <a:lnTo>
                    <a:pt x="1119" y="1156"/>
                  </a:lnTo>
                  <a:lnTo>
                    <a:pt x="1123" y="1135"/>
                  </a:lnTo>
                  <a:lnTo>
                    <a:pt x="1128" y="1112"/>
                  </a:lnTo>
                  <a:lnTo>
                    <a:pt x="1135" y="1064"/>
                  </a:lnTo>
                  <a:lnTo>
                    <a:pt x="1142" y="1014"/>
                  </a:lnTo>
                  <a:lnTo>
                    <a:pt x="1149" y="961"/>
                  </a:lnTo>
                  <a:lnTo>
                    <a:pt x="1155" y="905"/>
                  </a:lnTo>
                  <a:lnTo>
                    <a:pt x="1161" y="849"/>
                  </a:lnTo>
                  <a:lnTo>
                    <a:pt x="1168" y="768"/>
                  </a:lnTo>
                  <a:lnTo>
                    <a:pt x="1174" y="692"/>
                  </a:lnTo>
                  <a:lnTo>
                    <a:pt x="1186" y="561"/>
                  </a:lnTo>
                  <a:lnTo>
                    <a:pt x="1194" y="471"/>
                  </a:lnTo>
                  <a:lnTo>
                    <a:pt x="1198" y="438"/>
                  </a:lnTo>
                  <a:lnTo>
                    <a:pt x="1213" y="419"/>
                  </a:lnTo>
                  <a:lnTo>
                    <a:pt x="1222" y="409"/>
                  </a:lnTo>
                  <a:lnTo>
                    <a:pt x="1231" y="399"/>
                  </a:lnTo>
                  <a:lnTo>
                    <a:pt x="1253" y="377"/>
                  </a:lnTo>
                  <a:lnTo>
                    <a:pt x="1279" y="352"/>
                  </a:lnTo>
                  <a:lnTo>
                    <a:pt x="1294" y="339"/>
                  </a:lnTo>
                  <a:lnTo>
                    <a:pt x="1310" y="326"/>
                  </a:lnTo>
                  <a:lnTo>
                    <a:pt x="1343" y="298"/>
                  </a:lnTo>
                  <a:lnTo>
                    <a:pt x="1382" y="267"/>
                  </a:lnTo>
                  <a:lnTo>
                    <a:pt x="1403" y="251"/>
                  </a:lnTo>
                  <a:lnTo>
                    <a:pt x="1425" y="235"/>
                  </a:lnTo>
                  <a:lnTo>
                    <a:pt x="1426" y="235"/>
                  </a:lnTo>
                  <a:lnTo>
                    <a:pt x="1420" y="320"/>
                  </a:lnTo>
                  <a:lnTo>
                    <a:pt x="1414" y="367"/>
                  </a:lnTo>
                  <a:lnTo>
                    <a:pt x="1368" y="781"/>
                  </a:lnTo>
                  <a:lnTo>
                    <a:pt x="1364" y="825"/>
                  </a:lnTo>
                  <a:lnTo>
                    <a:pt x="1363" y="843"/>
                  </a:lnTo>
                  <a:lnTo>
                    <a:pt x="1363" y="856"/>
                  </a:lnTo>
                  <a:lnTo>
                    <a:pt x="1363" y="869"/>
                  </a:lnTo>
                  <a:lnTo>
                    <a:pt x="1364" y="877"/>
                  </a:lnTo>
                  <a:lnTo>
                    <a:pt x="1365" y="885"/>
                  </a:lnTo>
                  <a:lnTo>
                    <a:pt x="1367" y="894"/>
                  </a:lnTo>
                  <a:lnTo>
                    <a:pt x="1370" y="904"/>
                  </a:lnTo>
                  <a:lnTo>
                    <a:pt x="1371" y="909"/>
                  </a:lnTo>
                  <a:lnTo>
                    <a:pt x="1373" y="914"/>
                  </a:lnTo>
                  <a:lnTo>
                    <a:pt x="1378" y="923"/>
                  </a:lnTo>
                  <a:lnTo>
                    <a:pt x="1383" y="933"/>
                  </a:lnTo>
                  <a:lnTo>
                    <a:pt x="1389" y="942"/>
                  </a:lnTo>
                  <a:lnTo>
                    <a:pt x="1396" y="950"/>
                  </a:lnTo>
                  <a:lnTo>
                    <a:pt x="1401" y="955"/>
                  </a:lnTo>
                  <a:lnTo>
                    <a:pt x="1405" y="958"/>
                  </a:lnTo>
                  <a:lnTo>
                    <a:pt x="1410" y="962"/>
                  </a:lnTo>
                  <a:lnTo>
                    <a:pt x="1415" y="966"/>
                  </a:lnTo>
                  <a:lnTo>
                    <a:pt x="1421" y="969"/>
                  </a:lnTo>
                  <a:lnTo>
                    <a:pt x="1427" y="972"/>
                  </a:lnTo>
                  <a:lnTo>
                    <a:pt x="1433" y="974"/>
                  </a:lnTo>
                  <a:lnTo>
                    <a:pt x="1439" y="976"/>
                  </a:lnTo>
                  <a:lnTo>
                    <a:pt x="1447" y="978"/>
                  </a:lnTo>
                  <a:lnTo>
                    <a:pt x="1454" y="980"/>
                  </a:lnTo>
                  <a:lnTo>
                    <a:pt x="1464" y="981"/>
                  </a:lnTo>
                  <a:lnTo>
                    <a:pt x="1474" y="982"/>
                  </a:lnTo>
                  <a:lnTo>
                    <a:pt x="1484" y="982"/>
                  </a:lnTo>
                  <a:lnTo>
                    <a:pt x="1494" y="981"/>
                  </a:lnTo>
                  <a:lnTo>
                    <a:pt x="1503" y="980"/>
                  </a:lnTo>
                  <a:lnTo>
                    <a:pt x="1512" y="978"/>
                  </a:lnTo>
                  <a:lnTo>
                    <a:pt x="1520" y="976"/>
                  </a:lnTo>
                  <a:lnTo>
                    <a:pt x="1529" y="974"/>
                  </a:lnTo>
                  <a:lnTo>
                    <a:pt x="1536" y="971"/>
                  </a:lnTo>
                  <a:lnTo>
                    <a:pt x="1543" y="968"/>
                  </a:lnTo>
                  <a:lnTo>
                    <a:pt x="1556" y="963"/>
                  </a:lnTo>
                  <a:lnTo>
                    <a:pt x="1565" y="957"/>
                  </a:lnTo>
                  <a:lnTo>
                    <a:pt x="1572" y="952"/>
                  </a:lnTo>
                  <a:lnTo>
                    <a:pt x="1571" y="950"/>
                  </a:lnTo>
                  <a:lnTo>
                    <a:pt x="1571" y="947"/>
                  </a:lnTo>
                  <a:lnTo>
                    <a:pt x="1571" y="936"/>
                  </a:lnTo>
                  <a:lnTo>
                    <a:pt x="1571" y="922"/>
                  </a:lnTo>
                  <a:lnTo>
                    <a:pt x="1573" y="904"/>
                  </a:lnTo>
                  <a:lnTo>
                    <a:pt x="1575" y="883"/>
                  </a:lnTo>
                  <a:lnTo>
                    <a:pt x="1578" y="860"/>
                  </a:lnTo>
                  <a:lnTo>
                    <a:pt x="1584" y="810"/>
                  </a:lnTo>
                  <a:lnTo>
                    <a:pt x="1590" y="761"/>
                  </a:lnTo>
                  <a:lnTo>
                    <a:pt x="1596" y="719"/>
                  </a:lnTo>
                  <a:lnTo>
                    <a:pt x="1602" y="679"/>
                  </a:lnTo>
                  <a:lnTo>
                    <a:pt x="1604" y="661"/>
                  </a:lnTo>
                  <a:lnTo>
                    <a:pt x="1607" y="643"/>
                  </a:lnTo>
                  <a:lnTo>
                    <a:pt x="1611" y="625"/>
                  </a:lnTo>
                  <a:lnTo>
                    <a:pt x="1616" y="607"/>
                  </a:lnTo>
                  <a:lnTo>
                    <a:pt x="1621" y="589"/>
                  </a:lnTo>
                  <a:lnTo>
                    <a:pt x="1626" y="570"/>
                  </a:lnTo>
                  <a:lnTo>
                    <a:pt x="1633" y="552"/>
                  </a:lnTo>
                  <a:lnTo>
                    <a:pt x="1640" y="533"/>
                  </a:lnTo>
                  <a:lnTo>
                    <a:pt x="1648" y="514"/>
                  </a:lnTo>
                  <a:lnTo>
                    <a:pt x="1656" y="495"/>
                  </a:lnTo>
                  <a:lnTo>
                    <a:pt x="1665" y="476"/>
                  </a:lnTo>
                  <a:lnTo>
                    <a:pt x="1675" y="457"/>
                  </a:lnTo>
                  <a:lnTo>
                    <a:pt x="1686" y="438"/>
                  </a:lnTo>
                  <a:lnTo>
                    <a:pt x="1697" y="418"/>
                  </a:lnTo>
                  <a:lnTo>
                    <a:pt x="1709" y="398"/>
                  </a:lnTo>
                  <a:lnTo>
                    <a:pt x="1722" y="379"/>
                  </a:lnTo>
                  <a:lnTo>
                    <a:pt x="1737" y="355"/>
                  </a:lnTo>
                  <a:lnTo>
                    <a:pt x="1752" y="334"/>
                  </a:lnTo>
                  <a:lnTo>
                    <a:pt x="1766" y="315"/>
                  </a:lnTo>
                  <a:lnTo>
                    <a:pt x="1779" y="298"/>
                  </a:lnTo>
                  <a:lnTo>
                    <a:pt x="1792" y="283"/>
                  </a:lnTo>
                  <a:lnTo>
                    <a:pt x="1804" y="269"/>
                  </a:lnTo>
                  <a:lnTo>
                    <a:pt x="1814" y="258"/>
                  </a:lnTo>
                  <a:lnTo>
                    <a:pt x="1824" y="249"/>
                  </a:lnTo>
                  <a:lnTo>
                    <a:pt x="1833" y="241"/>
                  </a:lnTo>
                  <a:lnTo>
                    <a:pt x="1842" y="235"/>
                  </a:lnTo>
                  <a:lnTo>
                    <a:pt x="1846" y="233"/>
                  </a:lnTo>
                  <a:lnTo>
                    <a:pt x="1849" y="231"/>
                  </a:lnTo>
                  <a:lnTo>
                    <a:pt x="1856" y="228"/>
                  </a:lnTo>
                  <a:lnTo>
                    <a:pt x="1859" y="227"/>
                  </a:lnTo>
                  <a:lnTo>
                    <a:pt x="1861" y="227"/>
                  </a:lnTo>
                  <a:lnTo>
                    <a:pt x="1864" y="227"/>
                  </a:lnTo>
                  <a:lnTo>
                    <a:pt x="1866" y="227"/>
                  </a:lnTo>
                  <a:lnTo>
                    <a:pt x="1868" y="228"/>
                  </a:lnTo>
                  <a:lnTo>
                    <a:pt x="1870" y="229"/>
                  </a:lnTo>
                  <a:lnTo>
                    <a:pt x="1872" y="230"/>
                  </a:lnTo>
                  <a:lnTo>
                    <a:pt x="1873" y="232"/>
                  </a:lnTo>
                  <a:lnTo>
                    <a:pt x="1874" y="234"/>
                  </a:lnTo>
                  <a:lnTo>
                    <a:pt x="1875" y="237"/>
                  </a:lnTo>
                  <a:lnTo>
                    <a:pt x="1877" y="244"/>
                  </a:lnTo>
                  <a:lnTo>
                    <a:pt x="1877" y="248"/>
                  </a:lnTo>
                  <a:lnTo>
                    <a:pt x="1878" y="253"/>
                  </a:lnTo>
                  <a:lnTo>
                    <a:pt x="1878" y="263"/>
                  </a:lnTo>
                  <a:lnTo>
                    <a:pt x="1878" y="275"/>
                  </a:lnTo>
                  <a:lnTo>
                    <a:pt x="1878" y="287"/>
                  </a:lnTo>
                  <a:lnTo>
                    <a:pt x="1876" y="313"/>
                  </a:lnTo>
                  <a:lnTo>
                    <a:pt x="1874" y="338"/>
                  </a:lnTo>
                  <a:lnTo>
                    <a:pt x="1872" y="360"/>
                  </a:lnTo>
                  <a:lnTo>
                    <a:pt x="1870" y="380"/>
                  </a:lnTo>
                  <a:lnTo>
                    <a:pt x="1825" y="784"/>
                  </a:lnTo>
                  <a:lnTo>
                    <a:pt x="1823" y="811"/>
                  </a:lnTo>
                  <a:lnTo>
                    <a:pt x="1821" y="837"/>
                  </a:lnTo>
                  <a:lnTo>
                    <a:pt x="1820" y="856"/>
                  </a:lnTo>
                  <a:lnTo>
                    <a:pt x="1821" y="869"/>
                  </a:lnTo>
                  <a:lnTo>
                    <a:pt x="1821" y="877"/>
                  </a:lnTo>
                  <a:lnTo>
                    <a:pt x="1823" y="885"/>
                  </a:lnTo>
                  <a:lnTo>
                    <a:pt x="1825" y="894"/>
                  </a:lnTo>
                  <a:lnTo>
                    <a:pt x="1827" y="904"/>
                  </a:lnTo>
                  <a:lnTo>
                    <a:pt x="1829" y="909"/>
                  </a:lnTo>
                  <a:lnTo>
                    <a:pt x="1831" y="914"/>
                  </a:lnTo>
                  <a:lnTo>
                    <a:pt x="1835" y="923"/>
                  </a:lnTo>
                  <a:lnTo>
                    <a:pt x="1840" y="933"/>
                  </a:lnTo>
                  <a:lnTo>
                    <a:pt x="1846" y="942"/>
                  </a:lnTo>
                  <a:lnTo>
                    <a:pt x="1854" y="950"/>
                  </a:lnTo>
                  <a:lnTo>
                    <a:pt x="1858" y="955"/>
                  </a:lnTo>
                  <a:lnTo>
                    <a:pt x="1863" y="958"/>
                  </a:lnTo>
                  <a:lnTo>
                    <a:pt x="1867" y="962"/>
                  </a:lnTo>
                  <a:lnTo>
                    <a:pt x="1873" y="966"/>
                  </a:lnTo>
                  <a:lnTo>
                    <a:pt x="1878" y="969"/>
                  </a:lnTo>
                  <a:lnTo>
                    <a:pt x="1884" y="972"/>
                  </a:lnTo>
                  <a:lnTo>
                    <a:pt x="1890" y="974"/>
                  </a:lnTo>
                  <a:lnTo>
                    <a:pt x="1897" y="976"/>
                  </a:lnTo>
                  <a:lnTo>
                    <a:pt x="1904" y="978"/>
                  </a:lnTo>
                  <a:lnTo>
                    <a:pt x="1911" y="980"/>
                  </a:lnTo>
                  <a:lnTo>
                    <a:pt x="1922" y="981"/>
                  </a:lnTo>
                  <a:lnTo>
                    <a:pt x="1932" y="982"/>
                  </a:lnTo>
                  <a:lnTo>
                    <a:pt x="1943" y="982"/>
                  </a:lnTo>
                  <a:lnTo>
                    <a:pt x="1953" y="981"/>
                  </a:lnTo>
                  <a:lnTo>
                    <a:pt x="1963" y="979"/>
                  </a:lnTo>
                  <a:lnTo>
                    <a:pt x="1973" y="977"/>
                  </a:lnTo>
                  <a:lnTo>
                    <a:pt x="1982" y="975"/>
                  </a:lnTo>
                  <a:lnTo>
                    <a:pt x="1991" y="972"/>
                  </a:lnTo>
                  <a:lnTo>
                    <a:pt x="2007" y="966"/>
                  </a:lnTo>
                  <a:lnTo>
                    <a:pt x="2021" y="959"/>
                  </a:lnTo>
                  <a:lnTo>
                    <a:pt x="2032" y="953"/>
                  </a:lnTo>
                  <a:lnTo>
                    <a:pt x="2036" y="950"/>
                  </a:lnTo>
                  <a:lnTo>
                    <a:pt x="2040" y="947"/>
                  </a:lnTo>
                  <a:lnTo>
                    <a:pt x="2038" y="940"/>
                  </a:lnTo>
                  <a:lnTo>
                    <a:pt x="2038" y="928"/>
                  </a:lnTo>
                  <a:lnTo>
                    <a:pt x="2038" y="913"/>
                  </a:lnTo>
                  <a:lnTo>
                    <a:pt x="2039" y="895"/>
                  </a:lnTo>
                  <a:lnTo>
                    <a:pt x="2042" y="851"/>
                  </a:lnTo>
                  <a:lnTo>
                    <a:pt x="2047" y="804"/>
                  </a:lnTo>
                  <a:lnTo>
                    <a:pt x="2052" y="757"/>
                  </a:lnTo>
                  <a:lnTo>
                    <a:pt x="2056" y="717"/>
                  </a:lnTo>
                  <a:lnTo>
                    <a:pt x="2061" y="679"/>
                  </a:lnTo>
                  <a:lnTo>
                    <a:pt x="2063" y="661"/>
                  </a:lnTo>
                  <a:lnTo>
                    <a:pt x="2066" y="643"/>
                  </a:lnTo>
                  <a:lnTo>
                    <a:pt x="2070" y="625"/>
                  </a:lnTo>
                  <a:lnTo>
                    <a:pt x="2074" y="607"/>
                  </a:lnTo>
                  <a:lnTo>
                    <a:pt x="2080" y="589"/>
                  </a:lnTo>
                  <a:lnTo>
                    <a:pt x="2085" y="571"/>
                  </a:lnTo>
                  <a:lnTo>
                    <a:pt x="2092" y="552"/>
                  </a:lnTo>
                  <a:lnTo>
                    <a:pt x="2099" y="533"/>
                  </a:lnTo>
                  <a:lnTo>
                    <a:pt x="2107" y="515"/>
                  </a:lnTo>
                  <a:lnTo>
                    <a:pt x="2116" y="496"/>
                  </a:lnTo>
                  <a:lnTo>
                    <a:pt x="2125" y="476"/>
                  </a:lnTo>
                  <a:lnTo>
                    <a:pt x="2135" y="457"/>
                  </a:lnTo>
                  <a:lnTo>
                    <a:pt x="2146" y="438"/>
                  </a:lnTo>
                  <a:lnTo>
                    <a:pt x="2158" y="418"/>
                  </a:lnTo>
                  <a:lnTo>
                    <a:pt x="2170" y="399"/>
                  </a:lnTo>
                  <a:lnTo>
                    <a:pt x="2182" y="379"/>
                  </a:lnTo>
                  <a:lnTo>
                    <a:pt x="2198" y="356"/>
                  </a:lnTo>
                  <a:lnTo>
                    <a:pt x="2213" y="335"/>
                  </a:lnTo>
                  <a:lnTo>
                    <a:pt x="2228" y="316"/>
                  </a:lnTo>
                  <a:lnTo>
                    <a:pt x="2241" y="299"/>
                  </a:lnTo>
                  <a:lnTo>
                    <a:pt x="2254" y="284"/>
                  </a:lnTo>
                  <a:lnTo>
                    <a:pt x="2266" y="271"/>
                  </a:lnTo>
                  <a:lnTo>
                    <a:pt x="2276" y="260"/>
                  </a:lnTo>
                  <a:lnTo>
                    <a:pt x="2287" y="251"/>
                  </a:lnTo>
                  <a:lnTo>
                    <a:pt x="2296" y="244"/>
                  </a:lnTo>
                  <a:lnTo>
                    <a:pt x="2305" y="238"/>
                  </a:lnTo>
                  <a:lnTo>
                    <a:pt x="2308" y="235"/>
                  </a:lnTo>
                  <a:lnTo>
                    <a:pt x="2312" y="233"/>
                  </a:lnTo>
                  <a:lnTo>
                    <a:pt x="2319" y="231"/>
                  </a:lnTo>
                  <a:lnTo>
                    <a:pt x="2325" y="229"/>
                  </a:lnTo>
                  <a:lnTo>
                    <a:pt x="2330" y="229"/>
                  </a:lnTo>
                  <a:lnTo>
                    <a:pt x="2335" y="230"/>
                  </a:lnTo>
                  <a:lnTo>
                    <a:pt x="2337" y="231"/>
                  </a:lnTo>
                  <a:lnTo>
                    <a:pt x="2338" y="232"/>
                  </a:lnTo>
                  <a:lnTo>
                    <a:pt x="2340" y="234"/>
                  </a:lnTo>
                  <a:lnTo>
                    <a:pt x="2341" y="236"/>
                  </a:lnTo>
                  <a:lnTo>
                    <a:pt x="2342" y="240"/>
                  </a:lnTo>
                  <a:lnTo>
                    <a:pt x="2342" y="244"/>
                  </a:lnTo>
                  <a:lnTo>
                    <a:pt x="2343" y="254"/>
                  </a:lnTo>
                  <a:lnTo>
                    <a:pt x="2343" y="267"/>
                  </a:lnTo>
                  <a:lnTo>
                    <a:pt x="2342" y="281"/>
                  </a:lnTo>
                  <a:lnTo>
                    <a:pt x="2341" y="297"/>
                  </a:lnTo>
                  <a:lnTo>
                    <a:pt x="2338" y="330"/>
                  </a:lnTo>
                  <a:lnTo>
                    <a:pt x="2334" y="363"/>
                  </a:lnTo>
                  <a:lnTo>
                    <a:pt x="2330" y="391"/>
                  </a:lnTo>
                  <a:lnTo>
                    <a:pt x="2326" y="418"/>
                  </a:lnTo>
                  <a:lnTo>
                    <a:pt x="2293" y="634"/>
                  </a:lnTo>
                  <a:lnTo>
                    <a:pt x="2289" y="668"/>
                  </a:lnTo>
                  <a:lnTo>
                    <a:pt x="2284" y="700"/>
                  </a:lnTo>
                  <a:lnTo>
                    <a:pt x="2281" y="729"/>
                  </a:lnTo>
                  <a:lnTo>
                    <a:pt x="2278" y="756"/>
                  </a:lnTo>
                  <a:lnTo>
                    <a:pt x="2276" y="780"/>
                  </a:lnTo>
                  <a:lnTo>
                    <a:pt x="2274" y="803"/>
                  </a:lnTo>
                  <a:lnTo>
                    <a:pt x="2273" y="823"/>
                  </a:lnTo>
                  <a:lnTo>
                    <a:pt x="2273" y="841"/>
                  </a:lnTo>
                  <a:lnTo>
                    <a:pt x="2273" y="854"/>
                  </a:lnTo>
                  <a:lnTo>
                    <a:pt x="2274" y="866"/>
                  </a:lnTo>
                  <a:lnTo>
                    <a:pt x="2275" y="877"/>
                  </a:lnTo>
                  <a:lnTo>
                    <a:pt x="2277" y="888"/>
                  </a:lnTo>
                  <a:lnTo>
                    <a:pt x="2279" y="898"/>
                  </a:lnTo>
                  <a:lnTo>
                    <a:pt x="2282" y="907"/>
                  </a:lnTo>
                  <a:lnTo>
                    <a:pt x="2288" y="923"/>
                  </a:lnTo>
                  <a:lnTo>
                    <a:pt x="2292" y="931"/>
                  </a:lnTo>
                  <a:lnTo>
                    <a:pt x="2296" y="938"/>
                  </a:lnTo>
                  <a:lnTo>
                    <a:pt x="2300" y="944"/>
                  </a:lnTo>
                  <a:lnTo>
                    <a:pt x="2305" y="950"/>
                  </a:lnTo>
                  <a:lnTo>
                    <a:pt x="2307" y="953"/>
                  </a:lnTo>
                  <a:lnTo>
                    <a:pt x="2309" y="955"/>
                  </a:lnTo>
                  <a:lnTo>
                    <a:pt x="2314" y="960"/>
                  </a:lnTo>
                  <a:lnTo>
                    <a:pt x="2324" y="969"/>
                  </a:lnTo>
                  <a:lnTo>
                    <a:pt x="2335" y="975"/>
                  </a:lnTo>
                  <a:lnTo>
                    <a:pt x="2345" y="981"/>
                  </a:lnTo>
                  <a:lnTo>
                    <a:pt x="2356" y="985"/>
                  </a:lnTo>
                  <a:lnTo>
                    <a:pt x="2366" y="988"/>
                  </a:lnTo>
                  <a:lnTo>
                    <a:pt x="2375" y="989"/>
                  </a:lnTo>
                  <a:lnTo>
                    <a:pt x="2384" y="991"/>
                  </a:lnTo>
                  <a:lnTo>
                    <a:pt x="2398" y="991"/>
                  </a:lnTo>
                  <a:lnTo>
                    <a:pt x="2408" y="991"/>
                  </a:lnTo>
                  <a:lnTo>
                    <a:pt x="2418" y="990"/>
                  </a:lnTo>
                  <a:lnTo>
                    <a:pt x="2429" y="988"/>
                  </a:lnTo>
                  <a:lnTo>
                    <a:pt x="2439" y="985"/>
                  </a:lnTo>
                  <a:lnTo>
                    <a:pt x="2450" y="981"/>
                  </a:lnTo>
                  <a:lnTo>
                    <a:pt x="2462" y="977"/>
                  </a:lnTo>
                  <a:lnTo>
                    <a:pt x="2473" y="971"/>
                  </a:lnTo>
                  <a:lnTo>
                    <a:pt x="2485" y="965"/>
                  </a:lnTo>
                  <a:lnTo>
                    <a:pt x="2497" y="958"/>
                  </a:lnTo>
                  <a:lnTo>
                    <a:pt x="2509" y="950"/>
                  </a:lnTo>
                  <a:lnTo>
                    <a:pt x="2522" y="941"/>
                  </a:lnTo>
                  <a:lnTo>
                    <a:pt x="2535" y="931"/>
                  </a:lnTo>
                  <a:lnTo>
                    <a:pt x="2548" y="921"/>
                  </a:lnTo>
                  <a:lnTo>
                    <a:pt x="2562" y="909"/>
                  </a:lnTo>
                  <a:lnTo>
                    <a:pt x="2576" y="897"/>
                  </a:lnTo>
                  <a:lnTo>
                    <a:pt x="2590" y="883"/>
                  </a:lnTo>
                  <a:lnTo>
                    <a:pt x="2606" y="868"/>
                  </a:lnTo>
                  <a:lnTo>
                    <a:pt x="2620" y="854"/>
                  </a:lnTo>
                  <a:lnTo>
                    <a:pt x="2622" y="865"/>
                  </a:lnTo>
                  <a:lnTo>
                    <a:pt x="2626" y="875"/>
                  </a:lnTo>
                  <a:lnTo>
                    <a:pt x="2629" y="884"/>
                  </a:lnTo>
                  <a:lnTo>
                    <a:pt x="2633" y="893"/>
                  </a:lnTo>
                  <a:lnTo>
                    <a:pt x="2637" y="902"/>
                  </a:lnTo>
                  <a:lnTo>
                    <a:pt x="2641" y="910"/>
                  </a:lnTo>
                  <a:lnTo>
                    <a:pt x="2645" y="918"/>
                  </a:lnTo>
                  <a:lnTo>
                    <a:pt x="2650" y="925"/>
                  </a:lnTo>
                  <a:lnTo>
                    <a:pt x="2654" y="931"/>
                  </a:lnTo>
                  <a:lnTo>
                    <a:pt x="2659" y="938"/>
                  </a:lnTo>
                  <a:lnTo>
                    <a:pt x="2664" y="943"/>
                  </a:lnTo>
                  <a:lnTo>
                    <a:pt x="2669" y="949"/>
                  </a:lnTo>
                  <a:lnTo>
                    <a:pt x="2675" y="954"/>
                  </a:lnTo>
                  <a:lnTo>
                    <a:pt x="2680" y="958"/>
                  </a:lnTo>
                  <a:lnTo>
                    <a:pt x="2686" y="963"/>
                  </a:lnTo>
                  <a:lnTo>
                    <a:pt x="2691" y="966"/>
                  </a:lnTo>
                  <a:lnTo>
                    <a:pt x="2702" y="973"/>
                  </a:lnTo>
                  <a:lnTo>
                    <a:pt x="2714" y="979"/>
                  </a:lnTo>
                  <a:lnTo>
                    <a:pt x="2719" y="981"/>
                  </a:lnTo>
                  <a:lnTo>
                    <a:pt x="2725" y="983"/>
                  </a:lnTo>
                  <a:lnTo>
                    <a:pt x="2737" y="986"/>
                  </a:lnTo>
                  <a:lnTo>
                    <a:pt x="2748" y="989"/>
                  </a:lnTo>
                  <a:lnTo>
                    <a:pt x="2759" y="990"/>
                  </a:lnTo>
                  <a:lnTo>
                    <a:pt x="2770" y="991"/>
                  </a:lnTo>
                  <a:lnTo>
                    <a:pt x="2779" y="991"/>
                  </a:lnTo>
                  <a:lnTo>
                    <a:pt x="2793" y="991"/>
                  </a:lnTo>
                  <a:lnTo>
                    <a:pt x="2807" y="990"/>
                  </a:lnTo>
                  <a:lnTo>
                    <a:pt x="2821" y="987"/>
                  </a:lnTo>
                  <a:lnTo>
                    <a:pt x="2835" y="984"/>
                  </a:lnTo>
                  <a:lnTo>
                    <a:pt x="2850" y="980"/>
                  </a:lnTo>
                  <a:lnTo>
                    <a:pt x="2864" y="975"/>
                  </a:lnTo>
                  <a:lnTo>
                    <a:pt x="2879" y="969"/>
                  </a:lnTo>
                  <a:lnTo>
                    <a:pt x="2894" y="962"/>
                  </a:lnTo>
                  <a:lnTo>
                    <a:pt x="2909" y="954"/>
                  </a:lnTo>
                  <a:lnTo>
                    <a:pt x="2925" y="946"/>
                  </a:lnTo>
                  <a:lnTo>
                    <a:pt x="2940" y="936"/>
                  </a:lnTo>
                  <a:lnTo>
                    <a:pt x="2956" y="925"/>
                  </a:lnTo>
                  <a:lnTo>
                    <a:pt x="2973" y="914"/>
                  </a:lnTo>
                  <a:lnTo>
                    <a:pt x="2989" y="901"/>
                  </a:lnTo>
                  <a:lnTo>
                    <a:pt x="3006" y="888"/>
                  </a:lnTo>
                  <a:lnTo>
                    <a:pt x="3023" y="873"/>
                  </a:lnTo>
                  <a:lnTo>
                    <a:pt x="3038" y="860"/>
                  </a:lnTo>
                  <a:lnTo>
                    <a:pt x="3053" y="846"/>
                  </a:lnTo>
                  <a:lnTo>
                    <a:pt x="3067" y="832"/>
                  </a:lnTo>
                  <a:lnTo>
                    <a:pt x="3082" y="817"/>
                  </a:lnTo>
                  <a:lnTo>
                    <a:pt x="3096" y="801"/>
                  </a:lnTo>
                  <a:lnTo>
                    <a:pt x="3111" y="786"/>
                  </a:lnTo>
                  <a:lnTo>
                    <a:pt x="3125" y="769"/>
                  </a:lnTo>
                  <a:lnTo>
                    <a:pt x="3139" y="753"/>
                  </a:lnTo>
                  <a:lnTo>
                    <a:pt x="3136" y="775"/>
                  </a:lnTo>
                  <a:lnTo>
                    <a:pt x="3130" y="856"/>
                  </a:lnTo>
                  <a:lnTo>
                    <a:pt x="3130" y="867"/>
                  </a:lnTo>
                  <a:lnTo>
                    <a:pt x="3131" y="878"/>
                  </a:lnTo>
                  <a:lnTo>
                    <a:pt x="3132" y="888"/>
                  </a:lnTo>
                  <a:lnTo>
                    <a:pt x="3133" y="898"/>
                  </a:lnTo>
                  <a:lnTo>
                    <a:pt x="3135" y="907"/>
                  </a:lnTo>
                  <a:lnTo>
                    <a:pt x="3138" y="915"/>
                  </a:lnTo>
                  <a:lnTo>
                    <a:pt x="3140" y="923"/>
                  </a:lnTo>
                  <a:lnTo>
                    <a:pt x="3144" y="930"/>
                  </a:lnTo>
                  <a:lnTo>
                    <a:pt x="3147" y="937"/>
                  </a:lnTo>
                  <a:lnTo>
                    <a:pt x="3150" y="943"/>
                  </a:lnTo>
                  <a:lnTo>
                    <a:pt x="3154" y="949"/>
                  </a:lnTo>
                  <a:lnTo>
                    <a:pt x="3158" y="954"/>
                  </a:lnTo>
                  <a:lnTo>
                    <a:pt x="3163" y="959"/>
                  </a:lnTo>
                  <a:lnTo>
                    <a:pt x="3167" y="963"/>
                  </a:lnTo>
                  <a:lnTo>
                    <a:pt x="3172" y="967"/>
                  </a:lnTo>
                  <a:lnTo>
                    <a:pt x="3176" y="971"/>
                  </a:lnTo>
                  <a:lnTo>
                    <a:pt x="3186" y="977"/>
                  </a:lnTo>
                  <a:lnTo>
                    <a:pt x="3195" y="982"/>
                  </a:lnTo>
                  <a:lnTo>
                    <a:pt x="3200" y="984"/>
                  </a:lnTo>
                  <a:lnTo>
                    <a:pt x="3205" y="985"/>
                  </a:lnTo>
                  <a:lnTo>
                    <a:pt x="3209" y="987"/>
                  </a:lnTo>
                  <a:lnTo>
                    <a:pt x="3214" y="988"/>
                  </a:lnTo>
                  <a:lnTo>
                    <a:pt x="3223" y="990"/>
                  </a:lnTo>
                  <a:lnTo>
                    <a:pt x="3230" y="991"/>
                  </a:lnTo>
                  <a:lnTo>
                    <a:pt x="3243" y="991"/>
                  </a:lnTo>
                  <a:lnTo>
                    <a:pt x="3257" y="991"/>
                  </a:lnTo>
                  <a:lnTo>
                    <a:pt x="3272" y="989"/>
                  </a:lnTo>
                  <a:lnTo>
                    <a:pt x="3279" y="987"/>
                  </a:lnTo>
                  <a:lnTo>
                    <a:pt x="3286" y="985"/>
                  </a:lnTo>
                  <a:lnTo>
                    <a:pt x="3293" y="983"/>
                  </a:lnTo>
                  <a:lnTo>
                    <a:pt x="3300" y="980"/>
                  </a:lnTo>
                  <a:lnTo>
                    <a:pt x="3314" y="974"/>
                  </a:lnTo>
                  <a:lnTo>
                    <a:pt x="3321" y="971"/>
                  </a:lnTo>
                  <a:lnTo>
                    <a:pt x="3328" y="967"/>
                  </a:lnTo>
                  <a:lnTo>
                    <a:pt x="3335" y="963"/>
                  </a:lnTo>
                  <a:lnTo>
                    <a:pt x="3342" y="959"/>
                  </a:lnTo>
                  <a:lnTo>
                    <a:pt x="3357" y="949"/>
                  </a:lnTo>
                  <a:lnTo>
                    <a:pt x="3356" y="948"/>
                  </a:lnTo>
                  <a:lnTo>
                    <a:pt x="3354" y="946"/>
                  </a:lnTo>
                  <a:lnTo>
                    <a:pt x="3353" y="944"/>
                  </a:lnTo>
                  <a:lnTo>
                    <a:pt x="3352" y="940"/>
                  </a:lnTo>
                  <a:lnTo>
                    <a:pt x="3351" y="936"/>
                  </a:lnTo>
                  <a:lnTo>
                    <a:pt x="3350" y="924"/>
                  </a:lnTo>
                  <a:lnTo>
                    <a:pt x="3350" y="908"/>
                  </a:lnTo>
                  <a:lnTo>
                    <a:pt x="3351" y="889"/>
                  </a:lnTo>
                  <a:lnTo>
                    <a:pt x="3352" y="866"/>
                  </a:lnTo>
                  <a:lnTo>
                    <a:pt x="3357" y="813"/>
                  </a:lnTo>
                  <a:lnTo>
                    <a:pt x="3361" y="783"/>
                  </a:lnTo>
                  <a:lnTo>
                    <a:pt x="3365" y="751"/>
                  </a:lnTo>
                  <a:lnTo>
                    <a:pt x="3374" y="682"/>
                  </a:lnTo>
                  <a:lnTo>
                    <a:pt x="3384" y="608"/>
                  </a:lnTo>
                  <a:lnTo>
                    <a:pt x="3395" y="532"/>
                  </a:lnTo>
                  <a:lnTo>
                    <a:pt x="3419" y="383"/>
                  </a:lnTo>
                  <a:lnTo>
                    <a:pt x="3440" y="254"/>
                  </a:lnTo>
                  <a:lnTo>
                    <a:pt x="3461" y="128"/>
                  </a:lnTo>
                  <a:lnTo>
                    <a:pt x="3462" y="127"/>
                  </a:lnTo>
                  <a:lnTo>
                    <a:pt x="3462" y="122"/>
                  </a:lnTo>
                  <a:lnTo>
                    <a:pt x="3463" y="118"/>
                  </a:lnTo>
                  <a:lnTo>
                    <a:pt x="3463" y="110"/>
                  </a:lnTo>
                  <a:lnTo>
                    <a:pt x="3462" y="106"/>
                  </a:lnTo>
                  <a:lnTo>
                    <a:pt x="3461" y="102"/>
                  </a:lnTo>
                  <a:lnTo>
                    <a:pt x="3461" y="98"/>
                  </a:lnTo>
                  <a:lnTo>
                    <a:pt x="3459" y="95"/>
                  </a:lnTo>
                  <a:lnTo>
                    <a:pt x="3456" y="88"/>
                  </a:lnTo>
                  <a:lnTo>
                    <a:pt x="3452" y="82"/>
                  </a:lnTo>
                  <a:lnTo>
                    <a:pt x="3447" y="76"/>
                  </a:lnTo>
                  <a:lnTo>
                    <a:pt x="3441" y="70"/>
                  </a:lnTo>
                  <a:lnTo>
                    <a:pt x="3435" y="65"/>
                  </a:lnTo>
                  <a:lnTo>
                    <a:pt x="3432" y="63"/>
                  </a:lnTo>
                  <a:lnTo>
                    <a:pt x="3428" y="61"/>
                  </a:lnTo>
                  <a:lnTo>
                    <a:pt x="3420" y="57"/>
                  </a:lnTo>
                  <a:lnTo>
                    <a:pt x="3412" y="53"/>
                  </a:lnTo>
                  <a:lnTo>
                    <a:pt x="3404" y="49"/>
                  </a:lnTo>
                  <a:lnTo>
                    <a:pt x="3395" y="46"/>
                  </a:lnTo>
                  <a:lnTo>
                    <a:pt x="3376" y="41"/>
                  </a:lnTo>
                  <a:lnTo>
                    <a:pt x="3357" y="36"/>
                  </a:lnTo>
                  <a:lnTo>
                    <a:pt x="3337" y="33"/>
                  </a:lnTo>
                  <a:lnTo>
                    <a:pt x="3317" y="30"/>
                  </a:lnTo>
                  <a:lnTo>
                    <a:pt x="3299" y="29"/>
                  </a:lnTo>
                  <a:lnTo>
                    <a:pt x="3282" y="28"/>
                  </a:lnTo>
                  <a:lnTo>
                    <a:pt x="3267" y="27"/>
                  </a:lnTo>
                  <a:lnTo>
                    <a:pt x="3244" y="27"/>
                  </a:lnTo>
                  <a:close/>
                  <a:moveTo>
                    <a:pt x="929" y="821"/>
                  </a:moveTo>
                  <a:lnTo>
                    <a:pt x="923" y="888"/>
                  </a:lnTo>
                  <a:lnTo>
                    <a:pt x="917" y="950"/>
                  </a:lnTo>
                  <a:lnTo>
                    <a:pt x="910" y="1009"/>
                  </a:lnTo>
                  <a:lnTo>
                    <a:pt x="904" y="1063"/>
                  </a:lnTo>
                  <a:lnTo>
                    <a:pt x="897" y="1114"/>
                  </a:lnTo>
                  <a:lnTo>
                    <a:pt x="890" y="1160"/>
                  </a:lnTo>
                  <a:lnTo>
                    <a:pt x="882" y="1202"/>
                  </a:lnTo>
                  <a:lnTo>
                    <a:pt x="875" y="1240"/>
                  </a:lnTo>
                  <a:lnTo>
                    <a:pt x="868" y="1275"/>
                  </a:lnTo>
                  <a:lnTo>
                    <a:pt x="861" y="1306"/>
                  </a:lnTo>
                  <a:lnTo>
                    <a:pt x="854" y="1333"/>
                  </a:lnTo>
                  <a:lnTo>
                    <a:pt x="847" y="1357"/>
                  </a:lnTo>
                  <a:lnTo>
                    <a:pt x="843" y="1368"/>
                  </a:lnTo>
                  <a:lnTo>
                    <a:pt x="840" y="1378"/>
                  </a:lnTo>
                  <a:lnTo>
                    <a:pt x="833" y="1395"/>
                  </a:lnTo>
                  <a:lnTo>
                    <a:pt x="830" y="1403"/>
                  </a:lnTo>
                  <a:lnTo>
                    <a:pt x="826" y="1410"/>
                  </a:lnTo>
                  <a:lnTo>
                    <a:pt x="823" y="1415"/>
                  </a:lnTo>
                  <a:lnTo>
                    <a:pt x="820" y="1421"/>
                  </a:lnTo>
                  <a:lnTo>
                    <a:pt x="809" y="1437"/>
                  </a:lnTo>
                  <a:lnTo>
                    <a:pt x="798" y="1452"/>
                  </a:lnTo>
                  <a:lnTo>
                    <a:pt x="791" y="1460"/>
                  </a:lnTo>
                  <a:lnTo>
                    <a:pt x="785" y="1467"/>
                  </a:lnTo>
                  <a:lnTo>
                    <a:pt x="779" y="1473"/>
                  </a:lnTo>
                  <a:lnTo>
                    <a:pt x="773" y="1480"/>
                  </a:lnTo>
                  <a:lnTo>
                    <a:pt x="766" y="1486"/>
                  </a:lnTo>
                  <a:lnTo>
                    <a:pt x="760" y="1492"/>
                  </a:lnTo>
                  <a:lnTo>
                    <a:pt x="746" y="1503"/>
                  </a:lnTo>
                  <a:lnTo>
                    <a:pt x="732" y="1513"/>
                  </a:lnTo>
                  <a:lnTo>
                    <a:pt x="724" y="1517"/>
                  </a:lnTo>
                  <a:lnTo>
                    <a:pt x="717" y="1522"/>
                  </a:lnTo>
                  <a:lnTo>
                    <a:pt x="701" y="1529"/>
                  </a:lnTo>
                  <a:lnTo>
                    <a:pt x="694" y="1533"/>
                  </a:lnTo>
                  <a:lnTo>
                    <a:pt x="686" y="1536"/>
                  </a:lnTo>
                  <a:lnTo>
                    <a:pt x="669" y="1542"/>
                  </a:lnTo>
                  <a:lnTo>
                    <a:pt x="661" y="1544"/>
                  </a:lnTo>
                  <a:lnTo>
                    <a:pt x="652" y="1546"/>
                  </a:lnTo>
                  <a:lnTo>
                    <a:pt x="635" y="1550"/>
                  </a:lnTo>
                  <a:lnTo>
                    <a:pt x="616" y="1552"/>
                  </a:lnTo>
                  <a:lnTo>
                    <a:pt x="598" y="1554"/>
                  </a:lnTo>
                  <a:lnTo>
                    <a:pt x="578" y="1554"/>
                  </a:lnTo>
                  <a:lnTo>
                    <a:pt x="565" y="1554"/>
                  </a:lnTo>
                  <a:lnTo>
                    <a:pt x="549" y="1552"/>
                  </a:lnTo>
                  <a:lnTo>
                    <a:pt x="541" y="1550"/>
                  </a:lnTo>
                  <a:lnTo>
                    <a:pt x="533" y="1548"/>
                  </a:lnTo>
                  <a:lnTo>
                    <a:pt x="515" y="1543"/>
                  </a:lnTo>
                  <a:lnTo>
                    <a:pt x="506" y="1540"/>
                  </a:lnTo>
                  <a:lnTo>
                    <a:pt x="496" y="1536"/>
                  </a:lnTo>
                  <a:lnTo>
                    <a:pt x="478" y="1527"/>
                  </a:lnTo>
                  <a:lnTo>
                    <a:pt x="468" y="1522"/>
                  </a:lnTo>
                  <a:lnTo>
                    <a:pt x="459" y="1516"/>
                  </a:lnTo>
                  <a:lnTo>
                    <a:pt x="450" y="1509"/>
                  </a:lnTo>
                  <a:lnTo>
                    <a:pt x="441" y="1503"/>
                  </a:lnTo>
                  <a:lnTo>
                    <a:pt x="432" y="1495"/>
                  </a:lnTo>
                  <a:lnTo>
                    <a:pt x="423" y="1487"/>
                  </a:lnTo>
                  <a:lnTo>
                    <a:pt x="415" y="1478"/>
                  </a:lnTo>
                  <a:lnTo>
                    <a:pt x="407" y="1469"/>
                  </a:lnTo>
                  <a:lnTo>
                    <a:pt x="399" y="1459"/>
                  </a:lnTo>
                  <a:lnTo>
                    <a:pt x="392" y="1448"/>
                  </a:lnTo>
                  <a:lnTo>
                    <a:pt x="385" y="1436"/>
                  </a:lnTo>
                  <a:lnTo>
                    <a:pt x="379" y="1424"/>
                  </a:lnTo>
                  <a:lnTo>
                    <a:pt x="373" y="1411"/>
                  </a:lnTo>
                  <a:lnTo>
                    <a:pt x="368" y="1398"/>
                  </a:lnTo>
                  <a:lnTo>
                    <a:pt x="364" y="1383"/>
                  </a:lnTo>
                  <a:lnTo>
                    <a:pt x="360" y="1368"/>
                  </a:lnTo>
                  <a:lnTo>
                    <a:pt x="357" y="1352"/>
                  </a:lnTo>
                  <a:lnTo>
                    <a:pt x="355" y="1335"/>
                  </a:lnTo>
                  <a:lnTo>
                    <a:pt x="353" y="1317"/>
                  </a:lnTo>
                  <a:lnTo>
                    <a:pt x="353" y="1299"/>
                  </a:lnTo>
                  <a:lnTo>
                    <a:pt x="354" y="1281"/>
                  </a:lnTo>
                  <a:lnTo>
                    <a:pt x="356" y="1264"/>
                  </a:lnTo>
                  <a:lnTo>
                    <a:pt x="360" y="1246"/>
                  </a:lnTo>
                  <a:lnTo>
                    <a:pt x="365" y="1227"/>
                  </a:lnTo>
                  <a:lnTo>
                    <a:pt x="372" y="1209"/>
                  </a:lnTo>
                  <a:lnTo>
                    <a:pt x="380" y="1189"/>
                  </a:lnTo>
                  <a:lnTo>
                    <a:pt x="390" y="1170"/>
                  </a:lnTo>
                  <a:lnTo>
                    <a:pt x="401" y="1150"/>
                  </a:lnTo>
                  <a:lnTo>
                    <a:pt x="414" y="1130"/>
                  </a:lnTo>
                  <a:lnTo>
                    <a:pt x="428" y="1109"/>
                  </a:lnTo>
                  <a:lnTo>
                    <a:pt x="444" y="1088"/>
                  </a:lnTo>
                  <a:lnTo>
                    <a:pt x="452" y="1077"/>
                  </a:lnTo>
                  <a:lnTo>
                    <a:pt x="461" y="1066"/>
                  </a:lnTo>
                  <a:lnTo>
                    <a:pt x="470" y="1055"/>
                  </a:lnTo>
                  <a:lnTo>
                    <a:pt x="479" y="1044"/>
                  </a:lnTo>
                  <a:lnTo>
                    <a:pt x="499" y="1022"/>
                  </a:lnTo>
                  <a:lnTo>
                    <a:pt x="520" y="1000"/>
                  </a:lnTo>
                  <a:lnTo>
                    <a:pt x="542" y="977"/>
                  </a:lnTo>
                  <a:lnTo>
                    <a:pt x="551" y="978"/>
                  </a:lnTo>
                  <a:lnTo>
                    <a:pt x="573" y="977"/>
                  </a:lnTo>
                  <a:lnTo>
                    <a:pt x="585" y="976"/>
                  </a:lnTo>
                  <a:lnTo>
                    <a:pt x="596" y="974"/>
                  </a:lnTo>
                  <a:lnTo>
                    <a:pt x="608" y="972"/>
                  </a:lnTo>
                  <a:lnTo>
                    <a:pt x="619" y="970"/>
                  </a:lnTo>
                  <a:lnTo>
                    <a:pt x="643" y="963"/>
                  </a:lnTo>
                  <a:lnTo>
                    <a:pt x="654" y="959"/>
                  </a:lnTo>
                  <a:lnTo>
                    <a:pt x="666" y="954"/>
                  </a:lnTo>
                  <a:lnTo>
                    <a:pt x="678" y="949"/>
                  </a:lnTo>
                  <a:lnTo>
                    <a:pt x="690" y="944"/>
                  </a:lnTo>
                  <a:lnTo>
                    <a:pt x="702" y="937"/>
                  </a:lnTo>
                  <a:lnTo>
                    <a:pt x="714" y="931"/>
                  </a:lnTo>
                  <a:lnTo>
                    <a:pt x="726" y="924"/>
                  </a:lnTo>
                  <a:lnTo>
                    <a:pt x="738" y="916"/>
                  </a:lnTo>
                  <a:lnTo>
                    <a:pt x="762" y="900"/>
                  </a:lnTo>
                  <a:lnTo>
                    <a:pt x="786" y="881"/>
                  </a:lnTo>
                  <a:lnTo>
                    <a:pt x="799" y="871"/>
                  </a:lnTo>
                  <a:lnTo>
                    <a:pt x="811" y="861"/>
                  </a:lnTo>
                  <a:lnTo>
                    <a:pt x="836" y="839"/>
                  </a:lnTo>
                  <a:lnTo>
                    <a:pt x="861" y="814"/>
                  </a:lnTo>
                  <a:lnTo>
                    <a:pt x="886" y="788"/>
                  </a:lnTo>
                  <a:lnTo>
                    <a:pt x="899" y="774"/>
                  </a:lnTo>
                  <a:lnTo>
                    <a:pt x="912" y="760"/>
                  </a:lnTo>
                  <a:lnTo>
                    <a:pt x="925" y="745"/>
                  </a:lnTo>
                  <a:lnTo>
                    <a:pt x="938" y="729"/>
                  </a:lnTo>
                  <a:lnTo>
                    <a:pt x="929" y="821"/>
                  </a:lnTo>
                  <a:close/>
                  <a:moveTo>
                    <a:pt x="987" y="304"/>
                  </a:moveTo>
                  <a:lnTo>
                    <a:pt x="986" y="316"/>
                  </a:lnTo>
                  <a:lnTo>
                    <a:pt x="984" y="328"/>
                  </a:lnTo>
                  <a:lnTo>
                    <a:pt x="979" y="352"/>
                  </a:lnTo>
                  <a:lnTo>
                    <a:pt x="973" y="376"/>
                  </a:lnTo>
                  <a:lnTo>
                    <a:pt x="967" y="399"/>
                  </a:lnTo>
                  <a:lnTo>
                    <a:pt x="959" y="423"/>
                  </a:lnTo>
                  <a:lnTo>
                    <a:pt x="950" y="445"/>
                  </a:lnTo>
                  <a:lnTo>
                    <a:pt x="941" y="468"/>
                  </a:lnTo>
                  <a:lnTo>
                    <a:pt x="930" y="490"/>
                  </a:lnTo>
                  <a:lnTo>
                    <a:pt x="924" y="501"/>
                  </a:lnTo>
                  <a:lnTo>
                    <a:pt x="918" y="512"/>
                  </a:lnTo>
                  <a:lnTo>
                    <a:pt x="906" y="534"/>
                  </a:lnTo>
                  <a:lnTo>
                    <a:pt x="899" y="544"/>
                  </a:lnTo>
                  <a:lnTo>
                    <a:pt x="892" y="555"/>
                  </a:lnTo>
                  <a:lnTo>
                    <a:pt x="877" y="576"/>
                  </a:lnTo>
                  <a:lnTo>
                    <a:pt x="862" y="596"/>
                  </a:lnTo>
                  <a:lnTo>
                    <a:pt x="845" y="616"/>
                  </a:lnTo>
                  <a:lnTo>
                    <a:pt x="828" y="636"/>
                  </a:lnTo>
                  <a:lnTo>
                    <a:pt x="810" y="656"/>
                  </a:lnTo>
                  <a:lnTo>
                    <a:pt x="793" y="672"/>
                  </a:lnTo>
                  <a:lnTo>
                    <a:pt x="778" y="687"/>
                  </a:lnTo>
                  <a:lnTo>
                    <a:pt x="763" y="699"/>
                  </a:lnTo>
                  <a:lnTo>
                    <a:pt x="750" y="711"/>
                  </a:lnTo>
                  <a:lnTo>
                    <a:pt x="737" y="721"/>
                  </a:lnTo>
                  <a:lnTo>
                    <a:pt x="725" y="729"/>
                  </a:lnTo>
                  <a:lnTo>
                    <a:pt x="714" y="736"/>
                  </a:lnTo>
                  <a:lnTo>
                    <a:pt x="703" y="743"/>
                  </a:lnTo>
                  <a:lnTo>
                    <a:pt x="694" y="748"/>
                  </a:lnTo>
                  <a:lnTo>
                    <a:pt x="685" y="752"/>
                  </a:lnTo>
                  <a:lnTo>
                    <a:pt x="677" y="755"/>
                  </a:lnTo>
                  <a:lnTo>
                    <a:pt x="670" y="757"/>
                  </a:lnTo>
                  <a:lnTo>
                    <a:pt x="663" y="759"/>
                  </a:lnTo>
                  <a:lnTo>
                    <a:pt x="657" y="760"/>
                  </a:lnTo>
                  <a:lnTo>
                    <a:pt x="648" y="761"/>
                  </a:lnTo>
                  <a:lnTo>
                    <a:pt x="644" y="760"/>
                  </a:lnTo>
                  <a:lnTo>
                    <a:pt x="641" y="759"/>
                  </a:lnTo>
                  <a:lnTo>
                    <a:pt x="639" y="756"/>
                  </a:lnTo>
                  <a:lnTo>
                    <a:pt x="636" y="753"/>
                  </a:lnTo>
                  <a:lnTo>
                    <a:pt x="634" y="749"/>
                  </a:lnTo>
                  <a:lnTo>
                    <a:pt x="633" y="744"/>
                  </a:lnTo>
                  <a:lnTo>
                    <a:pt x="630" y="734"/>
                  </a:lnTo>
                  <a:lnTo>
                    <a:pt x="629" y="729"/>
                  </a:lnTo>
                  <a:lnTo>
                    <a:pt x="629" y="723"/>
                  </a:lnTo>
                  <a:lnTo>
                    <a:pt x="628" y="712"/>
                  </a:lnTo>
                  <a:lnTo>
                    <a:pt x="628" y="692"/>
                  </a:lnTo>
                  <a:lnTo>
                    <a:pt x="629" y="667"/>
                  </a:lnTo>
                  <a:lnTo>
                    <a:pt x="630" y="641"/>
                  </a:lnTo>
                  <a:lnTo>
                    <a:pt x="632" y="616"/>
                  </a:lnTo>
                  <a:lnTo>
                    <a:pt x="635" y="592"/>
                  </a:lnTo>
                  <a:lnTo>
                    <a:pt x="638" y="568"/>
                  </a:lnTo>
                  <a:lnTo>
                    <a:pt x="642" y="545"/>
                  </a:lnTo>
                  <a:lnTo>
                    <a:pt x="647" y="522"/>
                  </a:lnTo>
                  <a:lnTo>
                    <a:pt x="649" y="510"/>
                  </a:lnTo>
                  <a:lnTo>
                    <a:pt x="652" y="499"/>
                  </a:lnTo>
                  <a:lnTo>
                    <a:pt x="657" y="478"/>
                  </a:lnTo>
                  <a:lnTo>
                    <a:pt x="664" y="456"/>
                  </a:lnTo>
                  <a:lnTo>
                    <a:pt x="671" y="436"/>
                  </a:lnTo>
                  <a:lnTo>
                    <a:pt x="678" y="415"/>
                  </a:lnTo>
                  <a:lnTo>
                    <a:pt x="682" y="406"/>
                  </a:lnTo>
                  <a:lnTo>
                    <a:pt x="687" y="396"/>
                  </a:lnTo>
                  <a:lnTo>
                    <a:pt x="695" y="377"/>
                  </a:lnTo>
                  <a:lnTo>
                    <a:pt x="705" y="358"/>
                  </a:lnTo>
                  <a:lnTo>
                    <a:pt x="715" y="341"/>
                  </a:lnTo>
                  <a:lnTo>
                    <a:pt x="724" y="325"/>
                  </a:lnTo>
                  <a:lnTo>
                    <a:pt x="734" y="311"/>
                  </a:lnTo>
                  <a:lnTo>
                    <a:pt x="744" y="297"/>
                  </a:lnTo>
                  <a:lnTo>
                    <a:pt x="748" y="291"/>
                  </a:lnTo>
                  <a:lnTo>
                    <a:pt x="753" y="285"/>
                  </a:lnTo>
                  <a:lnTo>
                    <a:pt x="763" y="274"/>
                  </a:lnTo>
                  <a:lnTo>
                    <a:pt x="774" y="263"/>
                  </a:lnTo>
                  <a:lnTo>
                    <a:pt x="784" y="254"/>
                  </a:lnTo>
                  <a:lnTo>
                    <a:pt x="795" y="246"/>
                  </a:lnTo>
                  <a:lnTo>
                    <a:pt x="805" y="238"/>
                  </a:lnTo>
                  <a:lnTo>
                    <a:pt x="816" y="232"/>
                  </a:lnTo>
                  <a:lnTo>
                    <a:pt x="827" y="227"/>
                  </a:lnTo>
                  <a:lnTo>
                    <a:pt x="838" y="222"/>
                  </a:lnTo>
                  <a:lnTo>
                    <a:pt x="850" y="219"/>
                  </a:lnTo>
                  <a:lnTo>
                    <a:pt x="861" y="216"/>
                  </a:lnTo>
                  <a:lnTo>
                    <a:pt x="873" y="214"/>
                  </a:lnTo>
                  <a:lnTo>
                    <a:pt x="885" y="213"/>
                  </a:lnTo>
                  <a:lnTo>
                    <a:pt x="901" y="213"/>
                  </a:lnTo>
                  <a:lnTo>
                    <a:pt x="917" y="214"/>
                  </a:lnTo>
                  <a:lnTo>
                    <a:pt x="933" y="215"/>
                  </a:lnTo>
                  <a:lnTo>
                    <a:pt x="948" y="217"/>
                  </a:lnTo>
                  <a:lnTo>
                    <a:pt x="962" y="220"/>
                  </a:lnTo>
                  <a:lnTo>
                    <a:pt x="975" y="223"/>
                  </a:lnTo>
                  <a:lnTo>
                    <a:pt x="998" y="229"/>
                  </a:lnTo>
                  <a:lnTo>
                    <a:pt x="991" y="277"/>
                  </a:lnTo>
                  <a:lnTo>
                    <a:pt x="987" y="304"/>
                  </a:lnTo>
                  <a:close/>
                  <a:moveTo>
                    <a:pt x="3204" y="299"/>
                  </a:moveTo>
                  <a:lnTo>
                    <a:pt x="3200" y="325"/>
                  </a:lnTo>
                  <a:lnTo>
                    <a:pt x="3195" y="350"/>
                  </a:lnTo>
                  <a:lnTo>
                    <a:pt x="3192" y="362"/>
                  </a:lnTo>
                  <a:lnTo>
                    <a:pt x="3189" y="374"/>
                  </a:lnTo>
                  <a:lnTo>
                    <a:pt x="3182" y="399"/>
                  </a:lnTo>
                  <a:lnTo>
                    <a:pt x="3174" y="422"/>
                  </a:lnTo>
                  <a:lnTo>
                    <a:pt x="3165" y="446"/>
                  </a:lnTo>
                  <a:lnTo>
                    <a:pt x="3156" y="469"/>
                  </a:lnTo>
                  <a:lnTo>
                    <a:pt x="3145" y="491"/>
                  </a:lnTo>
                  <a:lnTo>
                    <a:pt x="3134" y="513"/>
                  </a:lnTo>
                  <a:lnTo>
                    <a:pt x="3122" y="535"/>
                  </a:lnTo>
                  <a:lnTo>
                    <a:pt x="3109" y="557"/>
                  </a:lnTo>
                  <a:lnTo>
                    <a:pt x="3095" y="577"/>
                  </a:lnTo>
                  <a:lnTo>
                    <a:pt x="3080" y="598"/>
                  </a:lnTo>
                  <a:lnTo>
                    <a:pt x="3072" y="608"/>
                  </a:lnTo>
                  <a:lnTo>
                    <a:pt x="3064" y="618"/>
                  </a:lnTo>
                  <a:lnTo>
                    <a:pt x="3056" y="628"/>
                  </a:lnTo>
                  <a:lnTo>
                    <a:pt x="3048" y="638"/>
                  </a:lnTo>
                  <a:lnTo>
                    <a:pt x="3031" y="657"/>
                  </a:lnTo>
                  <a:lnTo>
                    <a:pt x="3015" y="673"/>
                  </a:lnTo>
                  <a:lnTo>
                    <a:pt x="3000" y="688"/>
                  </a:lnTo>
                  <a:lnTo>
                    <a:pt x="2986" y="701"/>
                  </a:lnTo>
                  <a:lnTo>
                    <a:pt x="2972" y="712"/>
                  </a:lnTo>
                  <a:lnTo>
                    <a:pt x="2960" y="722"/>
                  </a:lnTo>
                  <a:lnTo>
                    <a:pt x="2948" y="731"/>
                  </a:lnTo>
                  <a:lnTo>
                    <a:pt x="2937" y="738"/>
                  </a:lnTo>
                  <a:lnTo>
                    <a:pt x="2927" y="744"/>
                  </a:lnTo>
                  <a:lnTo>
                    <a:pt x="2917" y="749"/>
                  </a:lnTo>
                  <a:lnTo>
                    <a:pt x="2909" y="754"/>
                  </a:lnTo>
                  <a:lnTo>
                    <a:pt x="2901" y="757"/>
                  </a:lnTo>
                  <a:lnTo>
                    <a:pt x="2893" y="759"/>
                  </a:lnTo>
                  <a:lnTo>
                    <a:pt x="2887" y="761"/>
                  </a:lnTo>
                  <a:lnTo>
                    <a:pt x="2881" y="762"/>
                  </a:lnTo>
                  <a:lnTo>
                    <a:pt x="2871" y="763"/>
                  </a:lnTo>
                  <a:lnTo>
                    <a:pt x="2868" y="762"/>
                  </a:lnTo>
                  <a:lnTo>
                    <a:pt x="2865" y="761"/>
                  </a:lnTo>
                  <a:lnTo>
                    <a:pt x="2862" y="759"/>
                  </a:lnTo>
                  <a:lnTo>
                    <a:pt x="2860" y="756"/>
                  </a:lnTo>
                  <a:lnTo>
                    <a:pt x="2858" y="752"/>
                  </a:lnTo>
                  <a:lnTo>
                    <a:pt x="2856" y="748"/>
                  </a:lnTo>
                  <a:lnTo>
                    <a:pt x="2853" y="738"/>
                  </a:lnTo>
                  <a:lnTo>
                    <a:pt x="2852" y="733"/>
                  </a:lnTo>
                  <a:lnTo>
                    <a:pt x="2852" y="727"/>
                  </a:lnTo>
                  <a:lnTo>
                    <a:pt x="2850" y="716"/>
                  </a:lnTo>
                  <a:lnTo>
                    <a:pt x="2850" y="695"/>
                  </a:lnTo>
                  <a:lnTo>
                    <a:pt x="2850" y="669"/>
                  </a:lnTo>
                  <a:lnTo>
                    <a:pt x="2851" y="643"/>
                  </a:lnTo>
                  <a:lnTo>
                    <a:pt x="2853" y="618"/>
                  </a:lnTo>
                  <a:lnTo>
                    <a:pt x="2855" y="593"/>
                  </a:lnTo>
                  <a:lnTo>
                    <a:pt x="2858" y="569"/>
                  </a:lnTo>
                  <a:lnTo>
                    <a:pt x="2862" y="546"/>
                  </a:lnTo>
                  <a:lnTo>
                    <a:pt x="2866" y="523"/>
                  </a:lnTo>
                  <a:lnTo>
                    <a:pt x="2871" y="501"/>
                  </a:lnTo>
                  <a:lnTo>
                    <a:pt x="2876" y="479"/>
                  </a:lnTo>
                  <a:lnTo>
                    <a:pt x="2882" y="457"/>
                  </a:lnTo>
                  <a:lnTo>
                    <a:pt x="2889" y="437"/>
                  </a:lnTo>
                  <a:lnTo>
                    <a:pt x="2896" y="416"/>
                  </a:lnTo>
                  <a:lnTo>
                    <a:pt x="2903" y="397"/>
                  </a:lnTo>
                  <a:lnTo>
                    <a:pt x="2911" y="378"/>
                  </a:lnTo>
                  <a:lnTo>
                    <a:pt x="2920" y="359"/>
                  </a:lnTo>
                  <a:lnTo>
                    <a:pt x="2929" y="341"/>
                  </a:lnTo>
                  <a:lnTo>
                    <a:pt x="2938" y="325"/>
                  </a:lnTo>
                  <a:lnTo>
                    <a:pt x="2942" y="318"/>
                  </a:lnTo>
                  <a:lnTo>
                    <a:pt x="2947" y="311"/>
                  </a:lnTo>
                  <a:lnTo>
                    <a:pt x="2955" y="298"/>
                  </a:lnTo>
                  <a:lnTo>
                    <a:pt x="2965" y="286"/>
                  </a:lnTo>
                  <a:lnTo>
                    <a:pt x="2974" y="276"/>
                  </a:lnTo>
                  <a:lnTo>
                    <a:pt x="2983" y="266"/>
                  </a:lnTo>
                  <a:lnTo>
                    <a:pt x="2993" y="257"/>
                  </a:lnTo>
                  <a:lnTo>
                    <a:pt x="3002" y="249"/>
                  </a:lnTo>
                  <a:lnTo>
                    <a:pt x="3012" y="241"/>
                  </a:lnTo>
                  <a:lnTo>
                    <a:pt x="3022" y="235"/>
                  </a:lnTo>
                  <a:lnTo>
                    <a:pt x="3032" y="230"/>
                  </a:lnTo>
                  <a:lnTo>
                    <a:pt x="3042" y="225"/>
                  </a:lnTo>
                  <a:lnTo>
                    <a:pt x="3052" y="221"/>
                  </a:lnTo>
                  <a:lnTo>
                    <a:pt x="3062" y="217"/>
                  </a:lnTo>
                  <a:lnTo>
                    <a:pt x="3071" y="214"/>
                  </a:lnTo>
                  <a:lnTo>
                    <a:pt x="3081" y="212"/>
                  </a:lnTo>
                  <a:lnTo>
                    <a:pt x="3101" y="209"/>
                  </a:lnTo>
                  <a:lnTo>
                    <a:pt x="3110" y="208"/>
                  </a:lnTo>
                  <a:lnTo>
                    <a:pt x="3120" y="208"/>
                  </a:lnTo>
                  <a:lnTo>
                    <a:pt x="3129" y="208"/>
                  </a:lnTo>
                  <a:lnTo>
                    <a:pt x="3139" y="208"/>
                  </a:lnTo>
                  <a:lnTo>
                    <a:pt x="3156" y="209"/>
                  </a:lnTo>
                  <a:lnTo>
                    <a:pt x="3165" y="210"/>
                  </a:lnTo>
                  <a:lnTo>
                    <a:pt x="3174" y="212"/>
                  </a:lnTo>
                  <a:lnTo>
                    <a:pt x="3190" y="214"/>
                  </a:lnTo>
                  <a:lnTo>
                    <a:pt x="3219" y="219"/>
                  </a:lnTo>
                  <a:lnTo>
                    <a:pt x="3217" y="230"/>
                  </a:lnTo>
                  <a:lnTo>
                    <a:pt x="3215" y="242"/>
                  </a:lnTo>
                  <a:lnTo>
                    <a:pt x="3211" y="268"/>
                  </a:lnTo>
                  <a:lnTo>
                    <a:pt x="3204" y="299"/>
                  </a:lnTo>
                  <a:close/>
                </a:path>
              </a:pathLst>
            </a:custGeom>
            <a:solidFill>
              <a:srgbClr val="ED000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2" name="Freeform 8">
              <a:extLst>
                <a:ext uri="{FF2B5EF4-FFF2-40B4-BE49-F238E27FC236}">
                  <a16:creationId xmlns:a16="http://schemas.microsoft.com/office/drawing/2014/main" id="{B682B94F-D73B-47E4-AFC4-E49A7E6705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463" y="2379977"/>
              <a:ext cx="173166" cy="244721"/>
            </a:xfrm>
            <a:custGeom>
              <a:avLst/>
              <a:gdLst>
                <a:gd name="T0" fmla="*/ 698 w 901"/>
                <a:gd name="T1" fmla="*/ 227 h 1274"/>
                <a:gd name="T2" fmla="*/ 760 w 901"/>
                <a:gd name="T3" fmla="*/ 277 h 1274"/>
                <a:gd name="T4" fmla="*/ 813 w 901"/>
                <a:gd name="T5" fmla="*/ 288 h 1274"/>
                <a:gd name="T6" fmla="*/ 855 w 901"/>
                <a:gd name="T7" fmla="*/ 274 h 1274"/>
                <a:gd name="T8" fmla="*/ 887 w 901"/>
                <a:gd name="T9" fmla="*/ 234 h 1274"/>
                <a:gd name="T10" fmla="*/ 900 w 901"/>
                <a:gd name="T11" fmla="*/ 154 h 1274"/>
                <a:gd name="T12" fmla="*/ 882 w 901"/>
                <a:gd name="T13" fmla="*/ 97 h 1274"/>
                <a:gd name="T14" fmla="*/ 837 w 901"/>
                <a:gd name="T15" fmla="*/ 54 h 1274"/>
                <a:gd name="T16" fmla="*/ 730 w 901"/>
                <a:gd name="T17" fmla="*/ 14 h 1274"/>
                <a:gd name="T18" fmla="*/ 601 w 901"/>
                <a:gd name="T19" fmla="*/ 0 h 1274"/>
                <a:gd name="T20" fmla="*/ 475 w 901"/>
                <a:gd name="T21" fmla="*/ 15 h 1274"/>
                <a:gd name="T22" fmla="*/ 367 w 901"/>
                <a:gd name="T23" fmla="*/ 57 h 1274"/>
                <a:gd name="T24" fmla="*/ 296 w 901"/>
                <a:gd name="T25" fmla="*/ 107 h 1274"/>
                <a:gd name="T26" fmla="*/ 238 w 901"/>
                <a:gd name="T27" fmla="*/ 171 h 1274"/>
                <a:gd name="T28" fmla="*/ 196 w 901"/>
                <a:gd name="T29" fmla="*/ 251 h 1274"/>
                <a:gd name="T30" fmla="*/ 179 w 901"/>
                <a:gd name="T31" fmla="*/ 341 h 1274"/>
                <a:gd name="T32" fmla="*/ 188 w 901"/>
                <a:gd name="T33" fmla="*/ 433 h 1274"/>
                <a:gd name="T34" fmla="*/ 216 w 901"/>
                <a:gd name="T35" fmla="*/ 499 h 1274"/>
                <a:gd name="T36" fmla="*/ 272 w 901"/>
                <a:gd name="T37" fmla="*/ 569 h 1274"/>
                <a:gd name="T38" fmla="*/ 398 w 901"/>
                <a:gd name="T39" fmla="*/ 682 h 1274"/>
                <a:gd name="T40" fmla="*/ 573 w 901"/>
                <a:gd name="T41" fmla="*/ 835 h 1274"/>
                <a:gd name="T42" fmla="*/ 616 w 901"/>
                <a:gd name="T43" fmla="*/ 905 h 1274"/>
                <a:gd name="T44" fmla="*/ 628 w 901"/>
                <a:gd name="T45" fmla="*/ 985 h 1274"/>
                <a:gd name="T46" fmla="*/ 616 w 901"/>
                <a:gd name="T47" fmla="*/ 1029 h 1274"/>
                <a:gd name="T48" fmla="*/ 578 w 901"/>
                <a:gd name="T49" fmla="*/ 1078 h 1274"/>
                <a:gd name="T50" fmla="*/ 517 w 901"/>
                <a:gd name="T51" fmla="*/ 1113 h 1274"/>
                <a:gd name="T52" fmla="*/ 449 w 901"/>
                <a:gd name="T53" fmla="*/ 1124 h 1274"/>
                <a:gd name="T54" fmla="*/ 371 w 901"/>
                <a:gd name="T55" fmla="*/ 1112 h 1274"/>
                <a:gd name="T56" fmla="*/ 314 w 901"/>
                <a:gd name="T57" fmla="*/ 1079 h 1274"/>
                <a:gd name="T58" fmla="*/ 259 w 901"/>
                <a:gd name="T59" fmla="*/ 1007 h 1274"/>
                <a:gd name="T60" fmla="*/ 219 w 901"/>
                <a:gd name="T61" fmla="*/ 929 h 1274"/>
                <a:gd name="T62" fmla="*/ 184 w 901"/>
                <a:gd name="T63" fmla="*/ 901 h 1274"/>
                <a:gd name="T64" fmla="*/ 131 w 901"/>
                <a:gd name="T65" fmla="*/ 888 h 1274"/>
                <a:gd name="T66" fmla="*/ 83 w 901"/>
                <a:gd name="T67" fmla="*/ 898 h 1274"/>
                <a:gd name="T68" fmla="*/ 37 w 901"/>
                <a:gd name="T69" fmla="*/ 929 h 1274"/>
                <a:gd name="T70" fmla="*/ 6 w 901"/>
                <a:gd name="T71" fmla="*/ 978 h 1274"/>
                <a:gd name="T72" fmla="*/ 3 w 901"/>
                <a:gd name="T73" fmla="*/ 1044 h 1274"/>
                <a:gd name="T74" fmla="*/ 35 w 901"/>
                <a:gd name="T75" fmla="*/ 1119 h 1274"/>
                <a:gd name="T76" fmla="*/ 90 w 901"/>
                <a:gd name="T77" fmla="*/ 1184 h 1274"/>
                <a:gd name="T78" fmla="*/ 176 w 901"/>
                <a:gd name="T79" fmla="*/ 1240 h 1274"/>
                <a:gd name="T80" fmla="*/ 271 w 901"/>
                <a:gd name="T81" fmla="*/ 1268 h 1274"/>
                <a:gd name="T82" fmla="*/ 400 w 901"/>
                <a:gd name="T83" fmla="*/ 1273 h 1274"/>
                <a:gd name="T84" fmla="*/ 539 w 901"/>
                <a:gd name="T85" fmla="*/ 1247 h 1274"/>
                <a:gd name="T86" fmla="*/ 678 w 901"/>
                <a:gd name="T87" fmla="*/ 1178 h 1274"/>
                <a:gd name="T88" fmla="*/ 772 w 901"/>
                <a:gd name="T89" fmla="*/ 1087 h 1274"/>
                <a:gd name="T90" fmla="*/ 817 w 901"/>
                <a:gd name="T91" fmla="*/ 1008 h 1274"/>
                <a:gd name="T92" fmla="*/ 839 w 901"/>
                <a:gd name="T93" fmla="*/ 920 h 1274"/>
                <a:gd name="T94" fmla="*/ 835 w 901"/>
                <a:gd name="T95" fmla="*/ 819 h 1274"/>
                <a:gd name="T96" fmla="*/ 808 w 901"/>
                <a:gd name="T97" fmla="*/ 743 h 1274"/>
                <a:gd name="T98" fmla="*/ 760 w 901"/>
                <a:gd name="T99" fmla="*/ 670 h 1274"/>
                <a:gd name="T100" fmla="*/ 670 w 901"/>
                <a:gd name="T101" fmla="*/ 582 h 1274"/>
                <a:gd name="T102" fmla="*/ 425 w 901"/>
                <a:gd name="T103" fmla="*/ 369 h 1274"/>
                <a:gd name="T104" fmla="*/ 389 w 901"/>
                <a:gd name="T105" fmla="*/ 314 h 1274"/>
                <a:gd name="T106" fmla="*/ 382 w 901"/>
                <a:gd name="T107" fmla="*/ 249 h 1274"/>
                <a:gd name="T108" fmla="*/ 407 w 901"/>
                <a:gd name="T109" fmla="*/ 198 h 1274"/>
                <a:gd name="T110" fmla="*/ 456 w 901"/>
                <a:gd name="T111" fmla="*/ 157 h 1274"/>
                <a:gd name="T112" fmla="*/ 520 w 901"/>
                <a:gd name="T113" fmla="*/ 139 h 1274"/>
                <a:gd name="T114" fmla="*/ 597 w 901"/>
                <a:gd name="T115" fmla="*/ 152 h 127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901" h="1274">
                  <a:moveTo>
                    <a:pt x="654" y="183"/>
                  </a:moveTo>
                  <a:lnTo>
                    <a:pt x="660" y="188"/>
                  </a:lnTo>
                  <a:lnTo>
                    <a:pt x="665" y="192"/>
                  </a:lnTo>
                  <a:lnTo>
                    <a:pt x="671" y="198"/>
                  </a:lnTo>
                  <a:lnTo>
                    <a:pt x="676" y="203"/>
                  </a:lnTo>
                  <a:lnTo>
                    <a:pt x="687" y="215"/>
                  </a:lnTo>
                  <a:lnTo>
                    <a:pt x="698" y="227"/>
                  </a:lnTo>
                  <a:lnTo>
                    <a:pt x="709" y="239"/>
                  </a:lnTo>
                  <a:lnTo>
                    <a:pt x="720" y="251"/>
                  </a:lnTo>
                  <a:lnTo>
                    <a:pt x="728" y="256"/>
                  </a:lnTo>
                  <a:lnTo>
                    <a:pt x="734" y="261"/>
                  </a:lnTo>
                  <a:lnTo>
                    <a:pt x="741" y="266"/>
                  </a:lnTo>
                  <a:lnTo>
                    <a:pt x="748" y="271"/>
                  </a:lnTo>
                  <a:lnTo>
                    <a:pt x="760" y="277"/>
                  </a:lnTo>
                  <a:lnTo>
                    <a:pt x="771" y="282"/>
                  </a:lnTo>
                  <a:lnTo>
                    <a:pt x="777" y="284"/>
                  </a:lnTo>
                  <a:lnTo>
                    <a:pt x="782" y="285"/>
                  </a:lnTo>
                  <a:lnTo>
                    <a:pt x="787" y="286"/>
                  </a:lnTo>
                  <a:lnTo>
                    <a:pt x="793" y="287"/>
                  </a:lnTo>
                  <a:lnTo>
                    <a:pt x="803" y="288"/>
                  </a:lnTo>
                  <a:lnTo>
                    <a:pt x="813" y="288"/>
                  </a:lnTo>
                  <a:lnTo>
                    <a:pt x="822" y="287"/>
                  </a:lnTo>
                  <a:lnTo>
                    <a:pt x="831" y="285"/>
                  </a:lnTo>
                  <a:lnTo>
                    <a:pt x="835" y="284"/>
                  </a:lnTo>
                  <a:lnTo>
                    <a:pt x="840" y="282"/>
                  </a:lnTo>
                  <a:lnTo>
                    <a:pt x="844" y="280"/>
                  </a:lnTo>
                  <a:lnTo>
                    <a:pt x="848" y="278"/>
                  </a:lnTo>
                  <a:lnTo>
                    <a:pt x="855" y="274"/>
                  </a:lnTo>
                  <a:lnTo>
                    <a:pt x="858" y="272"/>
                  </a:lnTo>
                  <a:lnTo>
                    <a:pt x="862" y="269"/>
                  </a:lnTo>
                  <a:lnTo>
                    <a:pt x="868" y="263"/>
                  </a:lnTo>
                  <a:lnTo>
                    <a:pt x="874" y="257"/>
                  </a:lnTo>
                  <a:lnTo>
                    <a:pt x="879" y="251"/>
                  </a:lnTo>
                  <a:lnTo>
                    <a:pt x="883" y="244"/>
                  </a:lnTo>
                  <a:lnTo>
                    <a:pt x="887" y="234"/>
                  </a:lnTo>
                  <a:lnTo>
                    <a:pt x="892" y="224"/>
                  </a:lnTo>
                  <a:lnTo>
                    <a:pt x="895" y="213"/>
                  </a:lnTo>
                  <a:lnTo>
                    <a:pt x="898" y="202"/>
                  </a:lnTo>
                  <a:lnTo>
                    <a:pt x="900" y="190"/>
                  </a:lnTo>
                  <a:lnTo>
                    <a:pt x="901" y="179"/>
                  </a:lnTo>
                  <a:lnTo>
                    <a:pt x="901" y="167"/>
                  </a:lnTo>
                  <a:lnTo>
                    <a:pt x="900" y="154"/>
                  </a:lnTo>
                  <a:lnTo>
                    <a:pt x="899" y="142"/>
                  </a:lnTo>
                  <a:lnTo>
                    <a:pt x="896" y="130"/>
                  </a:lnTo>
                  <a:lnTo>
                    <a:pt x="892" y="119"/>
                  </a:lnTo>
                  <a:lnTo>
                    <a:pt x="890" y="113"/>
                  </a:lnTo>
                  <a:lnTo>
                    <a:pt x="888" y="108"/>
                  </a:lnTo>
                  <a:lnTo>
                    <a:pt x="885" y="103"/>
                  </a:lnTo>
                  <a:lnTo>
                    <a:pt x="882" y="97"/>
                  </a:lnTo>
                  <a:lnTo>
                    <a:pt x="879" y="92"/>
                  </a:lnTo>
                  <a:lnTo>
                    <a:pt x="876" y="87"/>
                  </a:lnTo>
                  <a:lnTo>
                    <a:pt x="868" y="78"/>
                  </a:lnTo>
                  <a:lnTo>
                    <a:pt x="863" y="73"/>
                  </a:lnTo>
                  <a:lnTo>
                    <a:pt x="859" y="69"/>
                  </a:lnTo>
                  <a:lnTo>
                    <a:pt x="848" y="61"/>
                  </a:lnTo>
                  <a:lnTo>
                    <a:pt x="837" y="54"/>
                  </a:lnTo>
                  <a:lnTo>
                    <a:pt x="824" y="47"/>
                  </a:lnTo>
                  <a:lnTo>
                    <a:pt x="811" y="40"/>
                  </a:lnTo>
                  <a:lnTo>
                    <a:pt x="796" y="34"/>
                  </a:lnTo>
                  <a:lnTo>
                    <a:pt x="780" y="29"/>
                  </a:lnTo>
                  <a:lnTo>
                    <a:pt x="764" y="23"/>
                  </a:lnTo>
                  <a:lnTo>
                    <a:pt x="747" y="19"/>
                  </a:lnTo>
                  <a:lnTo>
                    <a:pt x="730" y="14"/>
                  </a:lnTo>
                  <a:lnTo>
                    <a:pt x="711" y="11"/>
                  </a:lnTo>
                  <a:lnTo>
                    <a:pt x="693" y="7"/>
                  </a:lnTo>
                  <a:lnTo>
                    <a:pt x="674" y="5"/>
                  </a:lnTo>
                  <a:lnTo>
                    <a:pt x="656" y="3"/>
                  </a:lnTo>
                  <a:lnTo>
                    <a:pt x="638" y="1"/>
                  </a:lnTo>
                  <a:lnTo>
                    <a:pt x="619" y="0"/>
                  </a:lnTo>
                  <a:lnTo>
                    <a:pt x="601" y="0"/>
                  </a:lnTo>
                  <a:lnTo>
                    <a:pt x="579" y="0"/>
                  </a:lnTo>
                  <a:lnTo>
                    <a:pt x="557" y="2"/>
                  </a:lnTo>
                  <a:lnTo>
                    <a:pt x="536" y="4"/>
                  </a:lnTo>
                  <a:lnTo>
                    <a:pt x="515" y="6"/>
                  </a:lnTo>
                  <a:lnTo>
                    <a:pt x="495" y="10"/>
                  </a:lnTo>
                  <a:lnTo>
                    <a:pt x="485" y="12"/>
                  </a:lnTo>
                  <a:lnTo>
                    <a:pt x="475" y="15"/>
                  </a:lnTo>
                  <a:lnTo>
                    <a:pt x="466" y="17"/>
                  </a:lnTo>
                  <a:lnTo>
                    <a:pt x="456" y="20"/>
                  </a:lnTo>
                  <a:lnTo>
                    <a:pt x="437" y="26"/>
                  </a:lnTo>
                  <a:lnTo>
                    <a:pt x="419" y="33"/>
                  </a:lnTo>
                  <a:lnTo>
                    <a:pt x="401" y="40"/>
                  </a:lnTo>
                  <a:lnTo>
                    <a:pt x="384" y="48"/>
                  </a:lnTo>
                  <a:lnTo>
                    <a:pt x="367" y="57"/>
                  </a:lnTo>
                  <a:lnTo>
                    <a:pt x="350" y="67"/>
                  </a:lnTo>
                  <a:lnTo>
                    <a:pt x="342" y="72"/>
                  </a:lnTo>
                  <a:lnTo>
                    <a:pt x="334" y="78"/>
                  </a:lnTo>
                  <a:lnTo>
                    <a:pt x="319" y="89"/>
                  </a:lnTo>
                  <a:lnTo>
                    <a:pt x="311" y="95"/>
                  </a:lnTo>
                  <a:lnTo>
                    <a:pt x="303" y="101"/>
                  </a:lnTo>
                  <a:lnTo>
                    <a:pt x="296" y="107"/>
                  </a:lnTo>
                  <a:lnTo>
                    <a:pt x="288" y="114"/>
                  </a:lnTo>
                  <a:lnTo>
                    <a:pt x="281" y="120"/>
                  </a:lnTo>
                  <a:lnTo>
                    <a:pt x="274" y="127"/>
                  </a:lnTo>
                  <a:lnTo>
                    <a:pt x="261" y="141"/>
                  </a:lnTo>
                  <a:lnTo>
                    <a:pt x="249" y="155"/>
                  </a:lnTo>
                  <a:lnTo>
                    <a:pt x="243" y="163"/>
                  </a:lnTo>
                  <a:lnTo>
                    <a:pt x="238" y="171"/>
                  </a:lnTo>
                  <a:lnTo>
                    <a:pt x="227" y="186"/>
                  </a:lnTo>
                  <a:lnTo>
                    <a:pt x="218" y="202"/>
                  </a:lnTo>
                  <a:lnTo>
                    <a:pt x="214" y="210"/>
                  </a:lnTo>
                  <a:lnTo>
                    <a:pt x="210" y="218"/>
                  </a:lnTo>
                  <a:lnTo>
                    <a:pt x="203" y="234"/>
                  </a:lnTo>
                  <a:lnTo>
                    <a:pt x="199" y="242"/>
                  </a:lnTo>
                  <a:lnTo>
                    <a:pt x="196" y="251"/>
                  </a:lnTo>
                  <a:lnTo>
                    <a:pt x="191" y="268"/>
                  </a:lnTo>
                  <a:lnTo>
                    <a:pt x="188" y="277"/>
                  </a:lnTo>
                  <a:lnTo>
                    <a:pt x="186" y="286"/>
                  </a:lnTo>
                  <a:lnTo>
                    <a:pt x="183" y="304"/>
                  </a:lnTo>
                  <a:lnTo>
                    <a:pt x="180" y="323"/>
                  </a:lnTo>
                  <a:lnTo>
                    <a:pt x="180" y="332"/>
                  </a:lnTo>
                  <a:lnTo>
                    <a:pt x="179" y="341"/>
                  </a:lnTo>
                  <a:lnTo>
                    <a:pt x="178" y="361"/>
                  </a:lnTo>
                  <a:lnTo>
                    <a:pt x="179" y="371"/>
                  </a:lnTo>
                  <a:lnTo>
                    <a:pt x="179" y="382"/>
                  </a:lnTo>
                  <a:lnTo>
                    <a:pt x="180" y="392"/>
                  </a:lnTo>
                  <a:lnTo>
                    <a:pt x="182" y="403"/>
                  </a:lnTo>
                  <a:lnTo>
                    <a:pt x="185" y="423"/>
                  </a:lnTo>
                  <a:lnTo>
                    <a:pt x="188" y="433"/>
                  </a:lnTo>
                  <a:lnTo>
                    <a:pt x="191" y="443"/>
                  </a:lnTo>
                  <a:lnTo>
                    <a:pt x="194" y="452"/>
                  </a:lnTo>
                  <a:lnTo>
                    <a:pt x="198" y="462"/>
                  </a:lnTo>
                  <a:lnTo>
                    <a:pt x="202" y="471"/>
                  </a:lnTo>
                  <a:lnTo>
                    <a:pt x="206" y="481"/>
                  </a:lnTo>
                  <a:lnTo>
                    <a:pt x="211" y="490"/>
                  </a:lnTo>
                  <a:lnTo>
                    <a:pt x="216" y="499"/>
                  </a:lnTo>
                  <a:lnTo>
                    <a:pt x="222" y="507"/>
                  </a:lnTo>
                  <a:lnTo>
                    <a:pt x="227" y="516"/>
                  </a:lnTo>
                  <a:lnTo>
                    <a:pt x="233" y="524"/>
                  </a:lnTo>
                  <a:lnTo>
                    <a:pt x="240" y="532"/>
                  </a:lnTo>
                  <a:lnTo>
                    <a:pt x="247" y="541"/>
                  </a:lnTo>
                  <a:lnTo>
                    <a:pt x="255" y="550"/>
                  </a:lnTo>
                  <a:lnTo>
                    <a:pt x="272" y="569"/>
                  </a:lnTo>
                  <a:lnTo>
                    <a:pt x="282" y="579"/>
                  </a:lnTo>
                  <a:lnTo>
                    <a:pt x="292" y="589"/>
                  </a:lnTo>
                  <a:lnTo>
                    <a:pt x="303" y="599"/>
                  </a:lnTo>
                  <a:lnTo>
                    <a:pt x="315" y="610"/>
                  </a:lnTo>
                  <a:lnTo>
                    <a:pt x="340" y="633"/>
                  </a:lnTo>
                  <a:lnTo>
                    <a:pt x="368" y="657"/>
                  </a:lnTo>
                  <a:lnTo>
                    <a:pt x="398" y="682"/>
                  </a:lnTo>
                  <a:lnTo>
                    <a:pt x="499" y="763"/>
                  </a:lnTo>
                  <a:lnTo>
                    <a:pt x="515" y="777"/>
                  </a:lnTo>
                  <a:lnTo>
                    <a:pt x="529" y="790"/>
                  </a:lnTo>
                  <a:lnTo>
                    <a:pt x="543" y="803"/>
                  </a:lnTo>
                  <a:lnTo>
                    <a:pt x="556" y="816"/>
                  </a:lnTo>
                  <a:lnTo>
                    <a:pt x="567" y="829"/>
                  </a:lnTo>
                  <a:lnTo>
                    <a:pt x="573" y="835"/>
                  </a:lnTo>
                  <a:lnTo>
                    <a:pt x="578" y="841"/>
                  </a:lnTo>
                  <a:lnTo>
                    <a:pt x="588" y="854"/>
                  </a:lnTo>
                  <a:lnTo>
                    <a:pt x="596" y="867"/>
                  </a:lnTo>
                  <a:lnTo>
                    <a:pt x="604" y="880"/>
                  </a:lnTo>
                  <a:lnTo>
                    <a:pt x="610" y="893"/>
                  </a:lnTo>
                  <a:lnTo>
                    <a:pt x="613" y="899"/>
                  </a:lnTo>
                  <a:lnTo>
                    <a:pt x="616" y="905"/>
                  </a:lnTo>
                  <a:lnTo>
                    <a:pt x="621" y="918"/>
                  </a:lnTo>
                  <a:lnTo>
                    <a:pt x="624" y="931"/>
                  </a:lnTo>
                  <a:lnTo>
                    <a:pt x="627" y="943"/>
                  </a:lnTo>
                  <a:lnTo>
                    <a:pt x="628" y="956"/>
                  </a:lnTo>
                  <a:lnTo>
                    <a:pt x="629" y="968"/>
                  </a:lnTo>
                  <a:lnTo>
                    <a:pt x="628" y="976"/>
                  </a:lnTo>
                  <a:lnTo>
                    <a:pt x="628" y="985"/>
                  </a:lnTo>
                  <a:lnTo>
                    <a:pt x="627" y="993"/>
                  </a:lnTo>
                  <a:lnTo>
                    <a:pt x="626" y="1000"/>
                  </a:lnTo>
                  <a:lnTo>
                    <a:pt x="624" y="1008"/>
                  </a:lnTo>
                  <a:lnTo>
                    <a:pt x="623" y="1012"/>
                  </a:lnTo>
                  <a:lnTo>
                    <a:pt x="622" y="1015"/>
                  </a:lnTo>
                  <a:lnTo>
                    <a:pt x="619" y="1022"/>
                  </a:lnTo>
                  <a:lnTo>
                    <a:pt x="616" y="1029"/>
                  </a:lnTo>
                  <a:lnTo>
                    <a:pt x="613" y="1036"/>
                  </a:lnTo>
                  <a:lnTo>
                    <a:pt x="609" y="1043"/>
                  </a:lnTo>
                  <a:lnTo>
                    <a:pt x="605" y="1049"/>
                  </a:lnTo>
                  <a:lnTo>
                    <a:pt x="601" y="1055"/>
                  </a:lnTo>
                  <a:lnTo>
                    <a:pt x="596" y="1061"/>
                  </a:lnTo>
                  <a:lnTo>
                    <a:pt x="590" y="1067"/>
                  </a:lnTo>
                  <a:lnTo>
                    <a:pt x="578" y="1078"/>
                  </a:lnTo>
                  <a:lnTo>
                    <a:pt x="572" y="1084"/>
                  </a:lnTo>
                  <a:lnTo>
                    <a:pt x="565" y="1089"/>
                  </a:lnTo>
                  <a:lnTo>
                    <a:pt x="550" y="1098"/>
                  </a:lnTo>
                  <a:lnTo>
                    <a:pt x="542" y="1103"/>
                  </a:lnTo>
                  <a:lnTo>
                    <a:pt x="534" y="1106"/>
                  </a:lnTo>
                  <a:lnTo>
                    <a:pt x="525" y="1110"/>
                  </a:lnTo>
                  <a:lnTo>
                    <a:pt x="517" y="1113"/>
                  </a:lnTo>
                  <a:lnTo>
                    <a:pt x="508" y="1115"/>
                  </a:lnTo>
                  <a:lnTo>
                    <a:pt x="499" y="1118"/>
                  </a:lnTo>
                  <a:lnTo>
                    <a:pt x="489" y="1120"/>
                  </a:lnTo>
                  <a:lnTo>
                    <a:pt x="480" y="1121"/>
                  </a:lnTo>
                  <a:lnTo>
                    <a:pt x="470" y="1122"/>
                  </a:lnTo>
                  <a:lnTo>
                    <a:pt x="459" y="1123"/>
                  </a:lnTo>
                  <a:lnTo>
                    <a:pt x="449" y="1124"/>
                  </a:lnTo>
                  <a:lnTo>
                    <a:pt x="438" y="1124"/>
                  </a:lnTo>
                  <a:lnTo>
                    <a:pt x="426" y="1123"/>
                  </a:lnTo>
                  <a:lnTo>
                    <a:pt x="414" y="1122"/>
                  </a:lnTo>
                  <a:lnTo>
                    <a:pt x="402" y="1120"/>
                  </a:lnTo>
                  <a:lnTo>
                    <a:pt x="391" y="1118"/>
                  </a:lnTo>
                  <a:lnTo>
                    <a:pt x="381" y="1115"/>
                  </a:lnTo>
                  <a:lnTo>
                    <a:pt x="371" y="1112"/>
                  </a:lnTo>
                  <a:lnTo>
                    <a:pt x="361" y="1109"/>
                  </a:lnTo>
                  <a:lnTo>
                    <a:pt x="352" y="1104"/>
                  </a:lnTo>
                  <a:lnTo>
                    <a:pt x="344" y="1100"/>
                  </a:lnTo>
                  <a:lnTo>
                    <a:pt x="336" y="1095"/>
                  </a:lnTo>
                  <a:lnTo>
                    <a:pt x="328" y="1090"/>
                  </a:lnTo>
                  <a:lnTo>
                    <a:pt x="321" y="1085"/>
                  </a:lnTo>
                  <a:lnTo>
                    <a:pt x="314" y="1079"/>
                  </a:lnTo>
                  <a:lnTo>
                    <a:pt x="308" y="1073"/>
                  </a:lnTo>
                  <a:lnTo>
                    <a:pt x="301" y="1067"/>
                  </a:lnTo>
                  <a:lnTo>
                    <a:pt x="296" y="1061"/>
                  </a:lnTo>
                  <a:lnTo>
                    <a:pt x="285" y="1048"/>
                  </a:lnTo>
                  <a:lnTo>
                    <a:pt x="275" y="1034"/>
                  </a:lnTo>
                  <a:lnTo>
                    <a:pt x="267" y="1021"/>
                  </a:lnTo>
                  <a:lnTo>
                    <a:pt x="259" y="1007"/>
                  </a:lnTo>
                  <a:lnTo>
                    <a:pt x="253" y="994"/>
                  </a:lnTo>
                  <a:lnTo>
                    <a:pt x="247" y="981"/>
                  </a:lnTo>
                  <a:lnTo>
                    <a:pt x="236" y="958"/>
                  </a:lnTo>
                  <a:lnTo>
                    <a:pt x="232" y="950"/>
                  </a:lnTo>
                  <a:lnTo>
                    <a:pt x="228" y="943"/>
                  </a:lnTo>
                  <a:lnTo>
                    <a:pt x="223" y="936"/>
                  </a:lnTo>
                  <a:lnTo>
                    <a:pt x="219" y="929"/>
                  </a:lnTo>
                  <a:lnTo>
                    <a:pt x="213" y="923"/>
                  </a:lnTo>
                  <a:lnTo>
                    <a:pt x="211" y="921"/>
                  </a:lnTo>
                  <a:lnTo>
                    <a:pt x="208" y="918"/>
                  </a:lnTo>
                  <a:lnTo>
                    <a:pt x="202" y="913"/>
                  </a:lnTo>
                  <a:lnTo>
                    <a:pt x="197" y="909"/>
                  </a:lnTo>
                  <a:lnTo>
                    <a:pt x="190" y="905"/>
                  </a:lnTo>
                  <a:lnTo>
                    <a:pt x="184" y="901"/>
                  </a:lnTo>
                  <a:lnTo>
                    <a:pt x="178" y="898"/>
                  </a:lnTo>
                  <a:lnTo>
                    <a:pt x="171" y="896"/>
                  </a:lnTo>
                  <a:lnTo>
                    <a:pt x="164" y="893"/>
                  </a:lnTo>
                  <a:lnTo>
                    <a:pt x="158" y="891"/>
                  </a:lnTo>
                  <a:lnTo>
                    <a:pt x="151" y="890"/>
                  </a:lnTo>
                  <a:lnTo>
                    <a:pt x="143" y="889"/>
                  </a:lnTo>
                  <a:lnTo>
                    <a:pt x="131" y="888"/>
                  </a:lnTo>
                  <a:lnTo>
                    <a:pt x="124" y="888"/>
                  </a:lnTo>
                  <a:lnTo>
                    <a:pt x="118" y="889"/>
                  </a:lnTo>
                  <a:lnTo>
                    <a:pt x="111" y="890"/>
                  </a:lnTo>
                  <a:lnTo>
                    <a:pt x="104" y="891"/>
                  </a:lnTo>
                  <a:lnTo>
                    <a:pt x="97" y="893"/>
                  </a:lnTo>
                  <a:lnTo>
                    <a:pt x="90" y="896"/>
                  </a:lnTo>
                  <a:lnTo>
                    <a:pt x="83" y="898"/>
                  </a:lnTo>
                  <a:lnTo>
                    <a:pt x="76" y="902"/>
                  </a:lnTo>
                  <a:lnTo>
                    <a:pt x="69" y="905"/>
                  </a:lnTo>
                  <a:lnTo>
                    <a:pt x="62" y="909"/>
                  </a:lnTo>
                  <a:lnTo>
                    <a:pt x="55" y="914"/>
                  </a:lnTo>
                  <a:lnTo>
                    <a:pt x="49" y="918"/>
                  </a:lnTo>
                  <a:lnTo>
                    <a:pt x="42" y="924"/>
                  </a:lnTo>
                  <a:lnTo>
                    <a:pt x="37" y="929"/>
                  </a:lnTo>
                  <a:lnTo>
                    <a:pt x="31" y="935"/>
                  </a:lnTo>
                  <a:lnTo>
                    <a:pt x="26" y="941"/>
                  </a:lnTo>
                  <a:lnTo>
                    <a:pt x="21" y="948"/>
                  </a:lnTo>
                  <a:lnTo>
                    <a:pt x="16" y="955"/>
                  </a:lnTo>
                  <a:lnTo>
                    <a:pt x="12" y="962"/>
                  </a:lnTo>
                  <a:lnTo>
                    <a:pt x="9" y="970"/>
                  </a:lnTo>
                  <a:lnTo>
                    <a:pt x="6" y="978"/>
                  </a:lnTo>
                  <a:lnTo>
                    <a:pt x="3" y="987"/>
                  </a:lnTo>
                  <a:lnTo>
                    <a:pt x="2" y="995"/>
                  </a:lnTo>
                  <a:lnTo>
                    <a:pt x="1" y="1004"/>
                  </a:lnTo>
                  <a:lnTo>
                    <a:pt x="0" y="1014"/>
                  </a:lnTo>
                  <a:lnTo>
                    <a:pt x="0" y="1024"/>
                  </a:lnTo>
                  <a:lnTo>
                    <a:pt x="1" y="1034"/>
                  </a:lnTo>
                  <a:lnTo>
                    <a:pt x="3" y="1044"/>
                  </a:lnTo>
                  <a:lnTo>
                    <a:pt x="6" y="1055"/>
                  </a:lnTo>
                  <a:lnTo>
                    <a:pt x="10" y="1066"/>
                  </a:lnTo>
                  <a:lnTo>
                    <a:pt x="14" y="1077"/>
                  </a:lnTo>
                  <a:lnTo>
                    <a:pt x="19" y="1088"/>
                  </a:lnTo>
                  <a:lnTo>
                    <a:pt x="24" y="1098"/>
                  </a:lnTo>
                  <a:lnTo>
                    <a:pt x="29" y="1109"/>
                  </a:lnTo>
                  <a:lnTo>
                    <a:pt x="35" y="1119"/>
                  </a:lnTo>
                  <a:lnTo>
                    <a:pt x="42" y="1129"/>
                  </a:lnTo>
                  <a:lnTo>
                    <a:pt x="49" y="1139"/>
                  </a:lnTo>
                  <a:lnTo>
                    <a:pt x="56" y="1148"/>
                  </a:lnTo>
                  <a:lnTo>
                    <a:pt x="64" y="1158"/>
                  </a:lnTo>
                  <a:lnTo>
                    <a:pt x="72" y="1167"/>
                  </a:lnTo>
                  <a:lnTo>
                    <a:pt x="81" y="1175"/>
                  </a:lnTo>
                  <a:lnTo>
                    <a:pt x="90" y="1184"/>
                  </a:lnTo>
                  <a:lnTo>
                    <a:pt x="99" y="1192"/>
                  </a:lnTo>
                  <a:lnTo>
                    <a:pt x="109" y="1200"/>
                  </a:lnTo>
                  <a:lnTo>
                    <a:pt x="130" y="1215"/>
                  </a:lnTo>
                  <a:lnTo>
                    <a:pt x="141" y="1221"/>
                  </a:lnTo>
                  <a:lnTo>
                    <a:pt x="152" y="1228"/>
                  </a:lnTo>
                  <a:lnTo>
                    <a:pt x="164" y="1234"/>
                  </a:lnTo>
                  <a:lnTo>
                    <a:pt x="176" y="1240"/>
                  </a:lnTo>
                  <a:lnTo>
                    <a:pt x="189" y="1245"/>
                  </a:lnTo>
                  <a:lnTo>
                    <a:pt x="202" y="1250"/>
                  </a:lnTo>
                  <a:lnTo>
                    <a:pt x="215" y="1254"/>
                  </a:lnTo>
                  <a:lnTo>
                    <a:pt x="229" y="1258"/>
                  </a:lnTo>
                  <a:lnTo>
                    <a:pt x="243" y="1262"/>
                  </a:lnTo>
                  <a:lnTo>
                    <a:pt x="257" y="1265"/>
                  </a:lnTo>
                  <a:lnTo>
                    <a:pt x="271" y="1268"/>
                  </a:lnTo>
                  <a:lnTo>
                    <a:pt x="286" y="1270"/>
                  </a:lnTo>
                  <a:lnTo>
                    <a:pt x="302" y="1272"/>
                  </a:lnTo>
                  <a:lnTo>
                    <a:pt x="317" y="1273"/>
                  </a:lnTo>
                  <a:lnTo>
                    <a:pt x="333" y="1274"/>
                  </a:lnTo>
                  <a:lnTo>
                    <a:pt x="350" y="1274"/>
                  </a:lnTo>
                  <a:lnTo>
                    <a:pt x="375" y="1274"/>
                  </a:lnTo>
                  <a:lnTo>
                    <a:pt x="400" y="1273"/>
                  </a:lnTo>
                  <a:lnTo>
                    <a:pt x="412" y="1272"/>
                  </a:lnTo>
                  <a:lnTo>
                    <a:pt x="424" y="1270"/>
                  </a:lnTo>
                  <a:lnTo>
                    <a:pt x="448" y="1267"/>
                  </a:lnTo>
                  <a:lnTo>
                    <a:pt x="472" y="1264"/>
                  </a:lnTo>
                  <a:lnTo>
                    <a:pt x="495" y="1259"/>
                  </a:lnTo>
                  <a:lnTo>
                    <a:pt x="517" y="1253"/>
                  </a:lnTo>
                  <a:lnTo>
                    <a:pt x="539" y="1247"/>
                  </a:lnTo>
                  <a:lnTo>
                    <a:pt x="561" y="1239"/>
                  </a:lnTo>
                  <a:lnTo>
                    <a:pt x="581" y="1231"/>
                  </a:lnTo>
                  <a:lnTo>
                    <a:pt x="602" y="1222"/>
                  </a:lnTo>
                  <a:lnTo>
                    <a:pt x="622" y="1212"/>
                  </a:lnTo>
                  <a:lnTo>
                    <a:pt x="641" y="1202"/>
                  </a:lnTo>
                  <a:lnTo>
                    <a:pt x="660" y="1190"/>
                  </a:lnTo>
                  <a:lnTo>
                    <a:pt x="678" y="1178"/>
                  </a:lnTo>
                  <a:lnTo>
                    <a:pt x="695" y="1164"/>
                  </a:lnTo>
                  <a:lnTo>
                    <a:pt x="713" y="1150"/>
                  </a:lnTo>
                  <a:lnTo>
                    <a:pt x="721" y="1143"/>
                  </a:lnTo>
                  <a:lnTo>
                    <a:pt x="730" y="1135"/>
                  </a:lnTo>
                  <a:lnTo>
                    <a:pt x="745" y="1120"/>
                  </a:lnTo>
                  <a:lnTo>
                    <a:pt x="759" y="1104"/>
                  </a:lnTo>
                  <a:lnTo>
                    <a:pt x="772" y="1087"/>
                  </a:lnTo>
                  <a:lnTo>
                    <a:pt x="778" y="1079"/>
                  </a:lnTo>
                  <a:lnTo>
                    <a:pt x="784" y="1071"/>
                  </a:lnTo>
                  <a:lnTo>
                    <a:pt x="795" y="1053"/>
                  </a:lnTo>
                  <a:lnTo>
                    <a:pt x="800" y="1045"/>
                  </a:lnTo>
                  <a:lnTo>
                    <a:pt x="805" y="1036"/>
                  </a:lnTo>
                  <a:lnTo>
                    <a:pt x="813" y="1017"/>
                  </a:lnTo>
                  <a:lnTo>
                    <a:pt x="817" y="1008"/>
                  </a:lnTo>
                  <a:lnTo>
                    <a:pt x="820" y="999"/>
                  </a:lnTo>
                  <a:lnTo>
                    <a:pt x="827" y="980"/>
                  </a:lnTo>
                  <a:lnTo>
                    <a:pt x="829" y="970"/>
                  </a:lnTo>
                  <a:lnTo>
                    <a:pt x="832" y="960"/>
                  </a:lnTo>
                  <a:lnTo>
                    <a:pt x="836" y="940"/>
                  </a:lnTo>
                  <a:lnTo>
                    <a:pt x="837" y="930"/>
                  </a:lnTo>
                  <a:lnTo>
                    <a:pt x="839" y="920"/>
                  </a:lnTo>
                  <a:lnTo>
                    <a:pt x="840" y="899"/>
                  </a:lnTo>
                  <a:lnTo>
                    <a:pt x="841" y="888"/>
                  </a:lnTo>
                  <a:lnTo>
                    <a:pt x="841" y="878"/>
                  </a:lnTo>
                  <a:lnTo>
                    <a:pt x="840" y="858"/>
                  </a:lnTo>
                  <a:lnTo>
                    <a:pt x="839" y="848"/>
                  </a:lnTo>
                  <a:lnTo>
                    <a:pt x="838" y="839"/>
                  </a:lnTo>
                  <a:lnTo>
                    <a:pt x="835" y="819"/>
                  </a:lnTo>
                  <a:lnTo>
                    <a:pt x="833" y="810"/>
                  </a:lnTo>
                  <a:lnTo>
                    <a:pt x="830" y="800"/>
                  </a:lnTo>
                  <a:lnTo>
                    <a:pt x="827" y="790"/>
                  </a:lnTo>
                  <a:lnTo>
                    <a:pt x="824" y="781"/>
                  </a:lnTo>
                  <a:lnTo>
                    <a:pt x="817" y="762"/>
                  </a:lnTo>
                  <a:lnTo>
                    <a:pt x="813" y="753"/>
                  </a:lnTo>
                  <a:lnTo>
                    <a:pt x="808" y="743"/>
                  </a:lnTo>
                  <a:lnTo>
                    <a:pt x="803" y="734"/>
                  </a:lnTo>
                  <a:lnTo>
                    <a:pt x="798" y="725"/>
                  </a:lnTo>
                  <a:lnTo>
                    <a:pt x="787" y="706"/>
                  </a:lnTo>
                  <a:lnTo>
                    <a:pt x="781" y="697"/>
                  </a:lnTo>
                  <a:lnTo>
                    <a:pt x="774" y="688"/>
                  </a:lnTo>
                  <a:lnTo>
                    <a:pt x="767" y="679"/>
                  </a:lnTo>
                  <a:lnTo>
                    <a:pt x="760" y="670"/>
                  </a:lnTo>
                  <a:lnTo>
                    <a:pt x="745" y="652"/>
                  </a:lnTo>
                  <a:lnTo>
                    <a:pt x="737" y="643"/>
                  </a:lnTo>
                  <a:lnTo>
                    <a:pt x="728" y="634"/>
                  </a:lnTo>
                  <a:lnTo>
                    <a:pt x="709" y="616"/>
                  </a:lnTo>
                  <a:lnTo>
                    <a:pt x="700" y="608"/>
                  </a:lnTo>
                  <a:lnTo>
                    <a:pt x="690" y="599"/>
                  </a:lnTo>
                  <a:lnTo>
                    <a:pt x="670" y="582"/>
                  </a:lnTo>
                  <a:lnTo>
                    <a:pt x="589" y="515"/>
                  </a:lnTo>
                  <a:lnTo>
                    <a:pt x="528" y="464"/>
                  </a:lnTo>
                  <a:lnTo>
                    <a:pt x="501" y="442"/>
                  </a:lnTo>
                  <a:lnTo>
                    <a:pt x="478" y="421"/>
                  </a:lnTo>
                  <a:lnTo>
                    <a:pt x="458" y="402"/>
                  </a:lnTo>
                  <a:lnTo>
                    <a:pt x="440" y="384"/>
                  </a:lnTo>
                  <a:lnTo>
                    <a:pt x="425" y="369"/>
                  </a:lnTo>
                  <a:lnTo>
                    <a:pt x="419" y="362"/>
                  </a:lnTo>
                  <a:lnTo>
                    <a:pt x="414" y="356"/>
                  </a:lnTo>
                  <a:lnTo>
                    <a:pt x="406" y="345"/>
                  </a:lnTo>
                  <a:lnTo>
                    <a:pt x="399" y="335"/>
                  </a:lnTo>
                  <a:lnTo>
                    <a:pt x="396" y="330"/>
                  </a:lnTo>
                  <a:lnTo>
                    <a:pt x="394" y="324"/>
                  </a:lnTo>
                  <a:lnTo>
                    <a:pt x="389" y="314"/>
                  </a:lnTo>
                  <a:lnTo>
                    <a:pt x="386" y="303"/>
                  </a:lnTo>
                  <a:lnTo>
                    <a:pt x="383" y="293"/>
                  </a:lnTo>
                  <a:lnTo>
                    <a:pt x="381" y="282"/>
                  </a:lnTo>
                  <a:lnTo>
                    <a:pt x="380" y="272"/>
                  </a:lnTo>
                  <a:lnTo>
                    <a:pt x="380" y="264"/>
                  </a:lnTo>
                  <a:lnTo>
                    <a:pt x="380" y="257"/>
                  </a:lnTo>
                  <a:lnTo>
                    <a:pt x="382" y="249"/>
                  </a:lnTo>
                  <a:lnTo>
                    <a:pt x="384" y="241"/>
                  </a:lnTo>
                  <a:lnTo>
                    <a:pt x="386" y="233"/>
                  </a:lnTo>
                  <a:lnTo>
                    <a:pt x="390" y="225"/>
                  </a:lnTo>
                  <a:lnTo>
                    <a:pt x="394" y="217"/>
                  </a:lnTo>
                  <a:lnTo>
                    <a:pt x="398" y="210"/>
                  </a:lnTo>
                  <a:lnTo>
                    <a:pt x="404" y="202"/>
                  </a:lnTo>
                  <a:lnTo>
                    <a:pt x="407" y="198"/>
                  </a:lnTo>
                  <a:lnTo>
                    <a:pt x="410" y="195"/>
                  </a:lnTo>
                  <a:lnTo>
                    <a:pt x="416" y="188"/>
                  </a:lnTo>
                  <a:lnTo>
                    <a:pt x="423" y="181"/>
                  </a:lnTo>
                  <a:lnTo>
                    <a:pt x="431" y="174"/>
                  </a:lnTo>
                  <a:lnTo>
                    <a:pt x="439" y="168"/>
                  </a:lnTo>
                  <a:lnTo>
                    <a:pt x="447" y="163"/>
                  </a:lnTo>
                  <a:lnTo>
                    <a:pt x="456" y="157"/>
                  </a:lnTo>
                  <a:lnTo>
                    <a:pt x="466" y="152"/>
                  </a:lnTo>
                  <a:lnTo>
                    <a:pt x="476" y="148"/>
                  </a:lnTo>
                  <a:lnTo>
                    <a:pt x="486" y="145"/>
                  </a:lnTo>
                  <a:lnTo>
                    <a:pt x="497" y="142"/>
                  </a:lnTo>
                  <a:lnTo>
                    <a:pt x="509" y="140"/>
                  </a:lnTo>
                  <a:lnTo>
                    <a:pt x="514" y="139"/>
                  </a:lnTo>
                  <a:lnTo>
                    <a:pt x="520" y="139"/>
                  </a:lnTo>
                  <a:lnTo>
                    <a:pt x="532" y="139"/>
                  </a:lnTo>
                  <a:lnTo>
                    <a:pt x="545" y="139"/>
                  </a:lnTo>
                  <a:lnTo>
                    <a:pt x="557" y="141"/>
                  </a:lnTo>
                  <a:lnTo>
                    <a:pt x="570" y="143"/>
                  </a:lnTo>
                  <a:lnTo>
                    <a:pt x="584" y="147"/>
                  </a:lnTo>
                  <a:lnTo>
                    <a:pt x="590" y="149"/>
                  </a:lnTo>
                  <a:lnTo>
                    <a:pt x="597" y="152"/>
                  </a:lnTo>
                  <a:lnTo>
                    <a:pt x="611" y="157"/>
                  </a:lnTo>
                  <a:lnTo>
                    <a:pt x="625" y="165"/>
                  </a:lnTo>
                  <a:lnTo>
                    <a:pt x="639" y="174"/>
                  </a:lnTo>
                  <a:lnTo>
                    <a:pt x="654" y="183"/>
                  </a:lnTo>
                  <a:close/>
                </a:path>
              </a:pathLst>
            </a:custGeom>
            <a:solidFill>
              <a:srgbClr val="ED000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3" name="Freeform 9">
              <a:extLst>
                <a:ext uri="{FF2B5EF4-FFF2-40B4-BE49-F238E27FC236}">
                  <a16:creationId xmlns:a16="http://schemas.microsoft.com/office/drawing/2014/main" id="{3F2CC614-1936-49B7-B46F-D0A5D92525F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2887" y="2291616"/>
              <a:ext cx="522380" cy="117366"/>
            </a:xfrm>
            <a:custGeom>
              <a:avLst/>
              <a:gdLst>
                <a:gd name="T0" fmla="*/ 355 w 2718"/>
                <a:gd name="T1" fmla="*/ 506 h 611"/>
                <a:gd name="T2" fmla="*/ 571 w 2718"/>
                <a:gd name="T3" fmla="*/ 436 h 611"/>
                <a:gd name="T4" fmla="*/ 776 w 2718"/>
                <a:gd name="T5" fmla="*/ 379 h 611"/>
                <a:gd name="T6" fmla="*/ 972 w 2718"/>
                <a:gd name="T7" fmla="*/ 334 h 611"/>
                <a:gd name="T8" fmla="*/ 1141 w 2718"/>
                <a:gd name="T9" fmla="*/ 303 h 611"/>
                <a:gd name="T10" fmla="*/ 1335 w 2718"/>
                <a:gd name="T11" fmla="*/ 278 h 611"/>
                <a:gd name="T12" fmla="*/ 1516 w 2718"/>
                <a:gd name="T13" fmla="*/ 265 h 611"/>
                <a:gd name="T14" fmla="*/ 1718 w 2718"/>
                <a:gd name="T15" fmla="*/ 262 h 611"/>
                <a:gd name="T16" fmla="*/ 1875 w 2718"/>
                <a:gd name="T17" fmla="*/ 270 h 611"/>
                <a:gd name="T18" fmla="*/ 2020 w 2718"/>
                <a:gd name="T19" fmla="*/ 286 h 611"/>
                <a:gd name="T20" fmla="*/ 2153 w 2718"/>
                <a:gd name="T21" fmla="*/ 309 h 611"/>
                <a:gd name="T22" fmla="*/ 2298 w 2718"/>
                <a:gd name="T23" fmla="*/ 345 h 611"/>
                <a:gd name="T24" fmla="*/ 2427 w 2718"/>
                <a:gd name="T25" fmla="*/ 387 h 611"/>
                <a:gd name="T26" fmla="*/ 2540 w 2718"/>
                <a:gd name="T27" fmla="*/ 433 h 611"/>
                <a:gd name="T28" fmla="*/ 2666 w 2718"/>
                <a:gd name="T29" fmla="*/ 500 h 611"/>
                <a:gd name="T30" fmla="*/ 2718 w 2718"/>
                <a:gd name="T31" fmla="*/ 526 h 611"/>
                <a:gd name="T32" fmla="*/ 2713 w 2718"/>
                <a:gd name="T33" fmla="*/ 509 h 611"/>
                <a:gd name="T34" fmla="*/ 2693 w 2718"/>
                <a:gd name="T35" fmla="*/ 478 h 611"/>
                <a:gd name="T36" fmla="*/ 2658 w 2718"/>
                <a:gd name="T37" fmla="*/ 440 h 611"/>
                <a:gd name="T38" fmla="*/ 2589 w 2718"/>
                <a:gd name="T39" fmla="*/ 383 h 611"/>
                <a:gd name="T40" fmla="*/ 2496 w 2718"/>
                <a:gd name="T41" fmla="*/ 323 h 611"/>
                <a:gd name="T42" fmla="*/ 2380 w 2718"/>
                <a:gd name="T43" fmla="*/ 262 h 611"/>
                <a:gd name="T44" fmla="*/ 2242 w 2718"/>
                <a:gd name="T45" fmla="*/ 204 h 611"/>
                <a:gd name="T46" fmla="*/ 2083 w 2718"/>
                <a:gd name="T47" fmla="*/ 153 h 611"/>
                <a:gd name="T48" fmla="*/ 1917 w 2718"/>
                <a:gd name="T49" fmla="*/ 115 h 611"/>
                <a:gd name="T50" fmla="*/ 1784 w 2718"/>
                <a:gd name="T51" fmla="*/ 97 h 611"/>
                <a:gd name="T52" fmla="*/ 1648 w 2718"/>
                <a:gd name="T53" fmla="*/ 87 h 611"/>
                <a:gd name="T54" fmla="*/ 1478 w 2718"/>
                <a:gd name="T55" fmla="*/ 87 h 611"/>
                <a:gd name="T56" fmla="*/ 1343 w 2718"/>
                <a:gd name="T57" fmla="*/ 96 h 611"/>
                <a:gd name="T58" fmla="*/ 1177 w 2718"/>
                <a:gd name="T59" fmla="*/ 114 h 611"/>
                <a:gd name="T60" fmla="*/ 1047 w 2718"/>
                <a:gd name="T61" fmla="*/ 135 h 611"/>
                <a:gd name="T62" fmla="*/ 893 w 2718"/>
                <a:gd name="T63" fmla="*/ 165 h 611"/>
                <a:gd name="T64" fmla="*/ 667 w 2718"/>
                <a:gd name="T65" fmla="*/ 220 h 611"/>
                <a:gd name="T66" fmla="*/ 477 w 2718"/>
                <a:gd name="T67" fmla="*/ 277 h 611"/>
                <a:gd name="T68" fmla="*/ 278 w 2718"/>
                <a:gd name="T69" fmla="*/ 345 h 611"/>
                <a:gd name="T70" fmla="*/ 252 w 2718"/>
                <a:gd name="T71" fmla="*/ 269 h 611"/>
                <a:gd name="T72" fmla="*/ 265 w 2718"/>
                <a:gd name="T73" fmla="*/ 153 h 611"/>
                <a:gd name="T74" fmla="*/ 263 w 2718"/>
                <a:gd name="T75" fmla="*/ 99 h 611"/>
                <a:gd name="T76" fmla="*/ 254 w 2718"/>
                <a:gd name="T77" fmla="*/ 62 h 611"/>
                <a:gd name="T78" fmla="*/ 237 w 2718"/>
                <a:gd name="T79" fmla="*/ 30 h 611"/>
                <a:gd name="T80" fmla="*/ 217 w 2718"/>
                <a:gd name="T81" fmla="*/ 12 h 611"/>
                <a:gd name="T82" fmla="*/ 192 w 2718"/>
                <a:gd name="T83" fmla="*/ 3 h 611"/>
                <a:gd name="T84" fmla="*/ 163 w 2718"/>
                <a:gd name="T85" fmla="*/ 1 h 611"/>
                <a:gd name="T86" fmla="*/ 132 w 2718"/>
                <a:gd name="T87" fmla="*/ 6 h 611"/>
                <a:gd name="T88" fmla="*/ 103 w 2718"/>
                <a:gd name="T89" fmla="*/ 20 h 611"/>
                <a:gd name="T90" fmla="*/ 76 w 2718"/>
                <a:gd name="T91" fmla="*/ 44 h 611"/>
                <a:gd name="T92" fmla="*/ 56 w 2718"/>
                <a:gd name="T93" fmla="*/ 79 h 611"/>
                <a:gd name="T94" fmla="*/ 43 w 2718"/>
                <a:gd name="T95" fmla="*/ 126 h 611"/>
                <a:gd name="T96" fmla="*/ 26 w 2718"/>
                <a:gd name="T97" fmla="*/ 308 h 611"/>
                <a:gd name="T98" fmla="*/ 0 w 2718"/>
                <a:gd name="T99" fmla="*/ 527 h 611"/>
                <a:gd name="T100" fmla="*/ 3 w 2718"/>
                <a:gd name="T101" fmla="*/ 570 h 611"/>
                <a:gd name="T102" fmla="*/ 14 w 2718"/>
                <a:gd name="T103" fmla="*/ 596 h 611"/>
                <a:gd name="T104" fmla="*/ 34 w 2718"/>
                <a:gd name="T105" fmla="*/ 609 h 611"/>
                <a:gd name="T106" fmla="*/ 61 w 2718"/>
                <a:gd name="T107" fmla="*/ 610 h 611"/>
                <a:gd name="T108" fmla="*/ 110 w 2718"/>
                <a:gd name="T109" fmla="*/ 598 h 611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718" h="611">
                  <a:moveTo>
                    <a:pt x="187" y="568"/>
                  </a:moveTo>
                  <a:lnTo>
                    <a:pt x="244" y="546"/>
                  </a:lnTo>
                  <a:lnTo>
                    <a:pt x="300" y="526"/>
                  </a:lnTo>
                  <a:lnTo>
                    <a:pt x="355" y="506"/>
                  </a:lnTo>
                  <a:lnTo>
                    <a:pt x="410" y="487"/>
                  </a:lnTo>
                  <a:lnTo>
                    <a:pt x="464" y="469"/>
                  </a:lnTo>
                  <a:lnTo>
                    <a:pt x="518" y="452"/>
                  </a:lnTo>
                  <a:lnTo>
                    <a:pt x="571" y="436"/>
                  </a:lnTo>
                  <a:lnTo>
                    <a:pt x="623" y="420"/>
                  </a:lnTo>
                  <a:lnTo>
                    <a:pt x="675" y="406"/>
                  </a:lnTo>
                  <a:lnTo>
                    <a:pt x="726" y="392"/>
                  </a:lnTo>
                  <a:lnTo>
                    <a:pt x="776" y="379"/>
                  </a:lnTo>
                  <a:lnTo>
                    <a:pt x="826" y="366"/>
                  </a:lnTo>
                  <a:lnTo>
                    <a:pt x="876" y="355"/>
                  </a:lnTo>
                  <a:lnTo>
                    <a:pt x="924" y="344"/>
                  </a:lnTo>
                  <a:lnTo>
                    <a:pt x="972" y="334"/>
                  </a:lnTo>
                  <a:lnTo>
                    <a:pt x="1020" y="325"/>
                  </a:lnTo>
                  <a:lnTo>
                    <a:pt x="1061" y="317"/>
                  </a:lnTo>
                  <a:lnTo>
                    <a:pt x="1101" y="310"/>
                  </a:lnTo>
                  <a:lnTo>
                    <a:pt x="1141" y="303"/>
                  </a:lnTo>
                  <a:lnTo>
                    <a:pt x="1181" y="297"/>
                  </a:lnTo>
                  <a:lnTo>
                    <a:pt x="1259" y="287"/>
                  </a:lnTo>
                  <a:lnTo>
                    <a:pt x="1297" y="282"/>
                  </a:lnTo>
                  <a:lnTo>
                    <a:pt x="1335" y="278"/>
                  </a:lnTo>
                  <a:lnTo>
                    <a:pt x="1409" y="271"/>
                  </a:lnTo>
                  <a:lnTo>
                    <a:pt x="1445" y="269"/>
                  </a:lnTo>
                  <a:lnTo>
                    <a:pt x="1481" y="266"/>
                  </a:lnTo>
                  <a:lnTo>
                    <a:pt x="1516" y="265"/>
                  </a:lnTo>
                  <a:lnTo>
                    <a:pt x="1551" y="263"/>
                  </a:lnTo>
                  <a:lnTo>
                    <a:pt x="1619" y="262"/>
                  </a:lnTo>
                  <a:lnTo>
                    <a:pt x="1686" y="261"/>
                  </a:lnTo>
                  <a:lnTo>
                    <a:pt x="1718" y="262"/>
                  </a:lnTo>
                  <a:lnTo>
                    <a:pt x="1751" y="263"/>
                  </a:lnTo>
                  <a:lnTo>
                    <a:pt x="1814" y="266"/>
                  </a:lnTo>
                  <a:lnTo>
                    <a:pt x="1844" y="268"/>
                  </a:lnTo>
                  <a:lnTo>
                    <a:pt x="1875" y="270"/>
                  </a:lnTo>
                  <a:lnTo>
                    <a:pt x="1934" y="276"/>
                  </a:lnTo>
                  <a:lnTo>
                    <a:pt x="1963" y="279"/>
                  </a:lnTo>
                  <a:lnTo>
                    <a:pt x="1992" y="282"/>
                  </a:lnTo>
                  <a:lnTo>
                    <a:pt x="2020" y="286"/>
                  </a:lnTo>
                  <a:lnTo>
                    <a:pt x="2047" y="290"/>
                  </a:lnTo>
                  <a:lnTo>
                    <a:pt x="2074" y="295"/>
                  </a:lnTo>
                  <a:lnTo>
                    <a:pt x="2101" y="299"/>
                  </a:lnTo>
                  <a:lnTo>
                    <a:pt x="2153" y="309"/>
                  </a:lnTo>
                  <a:lnTo>
                    <a:pt x="2203" y="320"/>
                  </a:lnTo>
                  <a:lnTo>
                    <a:pt x="2252" y="332"/>
                  </a:lnTo>
                  <a:lnTo>
                    <a:pt x="2275" y="338"/>
                  </a:lnTo>
                  <a:lnTo>
                    <a:pt x="2298" y="345"/>
                  </a:lnTo>
                  <a:lnTo>
                    <a:pt x="2343" y="358"/>
                  </a:lnTo>
                  <a:lnTo>
                    <a:pt x="2365" y="365"/>
                  </a:lnTo>
                  <a:lnTo>
                    <a:pt x="2386" y="372"/>
                  </a:lnTo>
                  <a:lnTo>
                    <a:pt x="2427" y="387"/>
                  </a:lnTo>
                  <a:lnTo>
                    <a:pt x="2467" y="402"/>
                  </a:lnTo>
                  <a:lnTo>
                    <a:pt x="2504" y="417"/>
                  </a:lnTo>
                  <a:lnTo>
                    <a:pt x="2522" y="425"/>
                  </a:lnTo>
                  <a:lnTo>
                    <a:pt x="2540" y="433"/>
                  </a:lnTo>
                  <a:lnTo>
                    <a:pt x="2574" y="450"/>
                  </a:lnTo>
                  <a:lnTo>
                    <a:pt x="2606" y="466"/>
                  </a:lnTo>
                  <a:lnTo>
                    <a:pt x="2638" y="483"/>
                  </a:lnTo>
                  <a:lnTo>
                    <a:pt x="2666" y="500"/>
                  </a:lnTo>
                  <a:lnTo>
                    <a:pt x="2680" y="508"/>
                  </a:lnTo>
                  <a:lnTo>
                    <a:pt x="2693" y="517"/>
                  </a:lnTo>
                  <a:lnTo>
                    <a:pt x="2718" y="534"/>
                  </a:lnTo>
                  <a:lnTo>
                    <a:pt x="2718" y="526"/>
                  </a:lnTo>
                  <a:lnTo>
                    <a:pt x="2717" y="523"/>
                  </a:lnTo>
                  <a:lnTo>
                    <a:pt x="2716" y="518"/>
                  </a:lnTo>
                  <a:lnTo>
                    <a:pt x="2715" y="514"/>
                  </a:lnTo>
                  <a:lnTo>
                    <a:pt x="2713" y="509"/>
                  </a:lnTo>
                  <a:lnTo>
                    <a:pt x="2710" y="505"/>
                  </a:lnTo>
                  <a:lnTo>
                    <a:pt x="2708" y="499"/>
                  </a:lnTo>
                  <a:lnTo>
                    <a:pt x="2701" y="489"/>
                  </a:lnTo>
                  <a:lnTo>
                    <a:pt x="2693" y="478"/>
                  </a:lnTo>
                  <a:lnTo>
                    <a:pt x="2683" y="466"/>
                  </a:lnTo>
                  <a:lnTo>
                    <a:pt x="2671" y="453"/>
                  </a:lnTo>
                  <a:lnTo>
                    <a:pt x="2665" y="447"/>
                  </a:lnTo>
                  <a:lnTo>
                    <a:pt x="2658" y="440"/>
                  </a:lnTo>
                  <a:lnTo>
                    <a:pt x="2643" y="426"/>
                  </a:lnTo>
                  <a:lnTo>
                    <a:pt x="2627" y="412"/>
                  </a:lnTo>
                  <a:lnTo>
                    <a:pt x="2608" y="398"/>
                  </a:lnTo>
                  <a:lnTo>
                    <a:pt x="2589" y="383"/>
                  </a:lnTo>
                  <a:lnTo>
                    <a:pt x="2568" y="368"/>
                  </a:lnTo>
                  <a:lnTo>
                    <a:pt x="2545" y="353"/>
                  </a:lnTo>
                  <a:lnTo>
                    <a:pt x="2521" y="338"/>
                  </a:lnTo>
                  <a:lnTo>
                    <a:pt x="2496" y="323"/>
                  </a:lnTo>
                  <a:lnTo>
                    <a:pt x="2469" y="307"/>
                  </a:lnTo>
                  <a:lnTo>
                    <a:pt x="2441" y="292"/>
                  </a:lnTo>
                  <a:lnTo>
                    <a:pt x="2411" y="277"/>
                  </a:lnTo>
                  <a:lnTo>
                    <a:pt x="2380" y="262"/>
                  </a:lnTo>
                  <a:lnTo>
                    <a:pt x="2348" y="247"/>
                  </a:lnTo>
                  <a:lnTo>
                    <a:pt x="2314" y="232"/>
                  </a:lnTo>
                  <a:lnTo>
                    <a:pt x="2279" y="218"/>
                  </a:lnTo>
                  <a:lnTo>
                    <a:pt x="2242" y="204"/>
                  </a:lnTo>
                  <a:lnTo>
                    <a:pt x="2204" y="190"/>
                  </a:lnTo>
                  <a:lnTo>
                    <a:pt x="2165" y="177"/>
                  </a:lnTo>
                  <a:lnTo>
                    <a:pt x="2125" y="165"/>
                  </a:lnTo>
                  <a:lnTo>
                    <a:pt x="2083" y="153"/>
                  </a:lnTo>
                  <a:lnTo>
                    <a:pt x="2040" y="142"/>
                  </a:lnTo>
                  <a:lnTo>
                    <a:pt x="1996" y="131"/>
                  </a:lnTo>
                  <a:lnTo>
                    <a:pt x="1950" y="122"/>
                  </a:lnTo>
                  <a:lnTo>
                    <a:pt x="1917" y="115"/>
                  </a:lnTo>
                  <a:lnTo>
                    <a:pt x="1884" y="110"/>
                  </a:lnTo>
                  <a:lnTo>
                    <a:pt x="1851" y="105"/>
                  </a:lnTo>
                  <a:lnTo>
                    <a:pt x="1817" y="100"/>
                  </a:lnTo>
                  <a:lnTo>
                    <a:pt x="1784" y="97"/>
                  </a:lnTo>
                  <a:lnTo>
                    <a:pt x="1750" y="93"/>
                  </a:lnTo>
                  <a:lnTo>
                    <a:pt x="1716" y="91"/>
                  </a:lnTo>
                  <a:lnTo>
                    <a:pt x="1682" y="89"/>
                  </a:lnTo>
                  <a:lnTo>
                    <a:pt x="1648" y="87"/>
                  </a:lnTo>
                  <a:lnTo>
                    <a:pt x="1614" y="86"/>
                  </a:lnTo>
                  <a:lnTo>
                    <a:pt x="1580" y="86"/>
                  </a:lnTo>
                  <a:lnTo>
                    <a:pt x="1546" y="86"/>
                  </a:lnTo>
                  <a:lnTo>
                    <a:pt x="1478" y="87"/>
                  </a:lnTo>
                  <a:lnTo>
                    <a:pt x="1444" y="89"/>
                  </a:lnTo>
                  <a:lnTo>
                    <a:pt x="1410" y="91"/>
                  </a:lnTo>
                  <a:lnTo>
                    <a:pt x="1377" y="93"/>
                  </a:lnTo>
                  <a:lnTo>
                    <a:pt x="1343" y="96"/>
                  </a:lnTo>
                  <a:lnTo>
                    <a:pt x="1309" y="99"/>
                  </a:lnTo>
                  <a:lnTo>
                    <a:pt x="1276" y="102"/>
                  </a:lnTo>
                  <a:lnTo>
                    <a:pt x="1210" y="110"/>
                  </a:lnTo>
                  <a:lnTo>
                    <a:pt x="1177" y="114"/>
                  </a:lnTo>
                  <a:lnTo>
                    <a:pt x="1143" y="119"/>
                  </a:lnTo>
                  <a:lnTo>
                    <a:pt x="1111" y="124"/>
                  </a:lnTo>
                  <a:lnTo>
                    <a:pt x="1079" y="129"/>
                  </a:lnTo>
                  <a:lnTo>
                    <a:pt x="1047" y="135"/>
                  </a:lnTo>
                  <a:lnTo>
                    <a:pt x="1015" y="140"/>
                  </a:lnTo>
                  <a:lnTo>
                    <a:pt x="984" y="146"/>
                  </a:lnTo>
                  <a:lnTo>
                    <a:pt x="953" y="152"/>
                  </a:lnTo>
                  <a:lnTo>
                    <a:pt x="893" y="165"/>
                  </a:lnTo>
                  <a:lnTo>
                    <a:pt x="833" y="178"/>
                  </a:lnTo>
                  <a:lnTo>
                    <a:pt x="776" y="192"/>
                  </a:lnTo>
                  <a:lnTo>
                    <a:pt x="721" y="206"/>
                  </a:lnTo>
                  <a:lnTo>
                    <a:pt x="667" y="220"/>
                  </a:lnTo>
                  <a:lnTo>
                    <a:pt x="616" y="235"/>
                  </a:lnTo>
                  <a:lnTo>
                    <a:pt x="567" y="249"/>
                  </a:lnTo>
                  <a:lnTo>
                    <a:pt x="520" y="263"/>
                  </a:lnTo>
                  <a:lnTo>
                    <a:pt x="477" y="277"/>
                  </a:lnTo>
                  <a:lnTo>
                    <a:pt x="436" y="290"/>
                  </a:lnTo>
                  <a:lnTo>
                    <a:pt x="397" y="303"/>
                  </a:lnTo>
                  <a:lnTo>
                    <a:pt x="331" y="326"/>
                  </a:lnTo>
                  <a:lnTo>
                    <a:pt x="278" y="345"/>
                  </a:lnTo>
                  <a:lnTo>
                    <a:pt x="239" y="360"/>
                  </a:lnTo>
                  <a:lnTo>
                    <a:pt x="242" y="338"/>
                  </a:lnTo>
                  <a:lnTo>
                    <a:pt x="245" y="316"/>
                  </a:lnTo>
                  <a:lnTo>
                    <a:pt x="252" y="269"/>
                  </a:lnTo>
                  <a:lnTo>
                    <a:pt x="259" y="222"/>
                  </a:lnTo>
                  <a:lnTo>
                    <a:pt x="262" y="199"/>
                  </a:lnTo>
                  <a:lnTo>
                    <a:pt x="264" y="175"/>
                  </a:lnTo>
                  <a:lnTo>
                    <a:pt x="265" y="153"/>
                  </a:lnTo>
                  <a:lnTo>
                    <a:pt x="266" y="131"/>
                  </a:lnTo>
                  <a:lnTo>
                    <a:pt x="265" y="120"/>
                  </a:lnTo>
                  <a:lnTo>
                    <a:pt x="264" y="110"/>
                  </a:lnTo>
                  <a:lnTo>
                    <a:pt x="263" y="99"/>
                  </a:lnTo>
                  <a:lnTo>
                    <a:pt x="262" y="89"/>
                  </a:lnTo>
                  <a:lnTo>
                    <a:pt x="260" y="80"/>
                  </a:lnTo>
                  <a:lnTo>
                    <a:pt x="257" y="71"/>
                  </a:lnTo>
                  <a:lnTo>
                    <a:pt x="254" y="62"/>
                  </a:lnTo>
                  <a:lnTo>
                    <a:pt x="251" y="53"/>
                  </a:lnTo>
                  <a:lnTo>
                    <a:pt x="247" y="45"/>
                  </a:lnTo>
                  <a:lnTo>
                    <a:pt x="242" y="37"/>
                  </a:lnTo>
                  <a:lnTo>
                    <a:pt x="237" y="30"/>
                  </a:lnTo>
                  <a:lnTo>
                    <a:pt x="231" y="23"/>
                  </a:lnTo>
                  <a:lnTo>
                    <a:pt x="227" y="19"/>
                  </a:lnTo>
                  <a:lnTo>
                    <a:pt x="222" y="16"/>
                  </a:lnTo>
                  <a:lnTo>
                    <a:pt x="217" y="12"/>
                  </a:lnTo>
                  <a:lnTo>
                    <a:pt x="211" y="9"/>
                  </a:lnTo>
                  <a:lnTo>
                    <a:pt x="205" y="7"/>
                  </a:lnTo>
                  <a:lnTo>
                    <a:pt x="199" y="5"/>
                  </a:lnTo>
                  <a:lnTo>
                    <a:pt x="192" y="3"/>
                  </a:lnTo>
                  <a:lnTo>
                    <a:pt x="185" y="2"/>
                  </a:lnTo>
                  <a:lnTo>
                    <a:pt x="178" y="1"/>
                  </a:lnTo>
                  <a:lnTo>
                    <a:pt x="171" y="0"/>
                  </a:lnTo>
                  <a:lnTo>
                    <a:pt x="163" y="1"/>
                  </a:lnTo>
                  <a:lnTo>
                    <a:pt x="155" y="1"/>
                  </a:lnTo>
                  <a:lnTo>
                    <a:pt x="148" y="2"/>
                  </a:lnTo>
                  <a:lnTo>
                    <a:pt x="140" y="4"/>
                  </a:lnTo>
                  <a:lnTo>
                    <a:pt x="132" y="6"/>
                  </a:lnTo>
                  <a:lnTo>
                    <a:pt x="125" y="9"/>
                  </a:lnTo>
                  <a:lnTo>
                    <a:pt x="117" y="12"/>
                  </a:lnTo>
                  <a:lnTo>
                    <a:pt x="110" y="16"/>
                  </a:lnTo>
                  <a:lnTo>
                    <a:pt x="103" y="20"/>
                  </a:lnTo>
                  <a:lnTo>
                    <a:pt x="96" y="25"/>
                  </a:lnTo>
                  <a:lnTo>
                    <a:pt x="89" y="31"/>
                  </a:lnTo>
                  <a:lnTo>
                    <a:pt x="82" y="37"/>
                  </a:lnTo>
                  <a:lnTo>
                    <a:pt x="76" y="44"/>
                  </a:lnTo>
                  <a:lnTo>
                    <a:pt x="70" y="52"/>
                  </a:lnTo>
                  <a:lnTo>
                    <a:pt x="65" y="60"/>
                  </a:lnTo>
                  <a:lnTo>
                    <a:pt x="60" y="69"/>
                  </a:lnTo>
                  <a:lnTo>
                    <a:pt x="56" y="79"/>
                  </a:lnTo>
                  <a:lnTo>
                    <a:pt x="52" y="89"/>
                  </a:lnTo>
                  <a:lnTo>
                    <a:pt x="48" y="101"/>
                  </a:lnTo>
                  <a:lnTo>
                    <a:pt x="46" y="113"/>
                  </a:lnTo>
                  <a:lnTo>
                    <a:pt x="43" y="126"/>
                  </a:lnTo>
                  <a:lnTo>
                    <a:pt x="42" y="139"/>
                  </a:lnTo>
                  <a:lnTo>
                    <a:pt x="39" y="180"/>
                  </a:lnTo>
                  <a:lnTo>
                    <a:pt x="35" y="221"/>
                  </a:lnTo>
                  <a:lnTo>
                    <a:pt x="26" y="308"/>
                  </a:lnTo>
                  <a:lnTo>
                    <a:pt x="15" y="401"/>
                  </a:lnTo>
                  <a:lnTo>
                    <a:pt x="3" y="498"/>
                  </a:lnTo>
                  <a:lnTo>
                    <a:pt x="1" y="513"/>
                  </a:lnTo>
                  <a:lnTo>
                    <a:pt x="0" y="527"/>
                  </a:lnTo>
                  <a:lnTo>
                    <a:pt x="0" y="539"/>
                  </a:lnTo>
                  <a:lnTo>
                    <a:pt x="0" y="551"/>
                  </a:lnTo>
                  <a:lnTo>
                    <a:pt x="1" y="561"/>
                  </a:lnTo>
                  <a:lnTo>
                    <a:pt x="3" y="570"/>
                  </a:lnTo>
                  <a:lnTo>
                    <a:pt x="5" y="578"/>
                  </a:lnTo>
                  <a:lnTo>
                    <a:pt x="7" y="585"/>
                  </a:lnTo>
                  <a:lnTo>
                    <a:pt x="11" y="591"/>
                  </a:lnTo>
                  <a:lnTo>
                    <a:pt x="14" y="596"/>
                  </a:lnTo>
                  <a:lnTo>
                    <a:pt x="19" y="601"/>
                  </a:lnTo>
                  <a:lnTo>
                    <a:pt x="23" y="604"/>
                  </a:lnTo>
                  <a:lnTo>
                    <a:pt x="29" y="607"/>
                  </a:lnTo>
                  <a:lnTo>
                    <a:pt x="34" y="609"/>
                  </a:lnTo>
                  <a:lnTo>
                    <a:pt x="40" y="610"/>
                  </a:lnTo>
                  <a:lnTo>
                    <a:pt x="47" y="611"/>
                  </a:lnTo>
                  <a:lnTo>
                    <a:pt x="54" y="611"/>
                  </a:lnTo>
                  <a:lnTo>
                    <a:pt x="61" y="610"/>
                  </a:lnTo>
                  <a:lnTo>
                    <a:pt x="68" y="609"/>
                  </a:lnTo>
                  <a:lnTo>
                    <a:pt x="76" y="608"/>
                  </a:lnTo>
                  <a:lnTo>
                    <a:pt x="93" y="603"/>
                  </a:lnTo>
                  <a:lnTo>
                    <a:pt x="110" y="598"/>
                  </a:lnTo>
                  <a:lnTo>
                    <a:pt x="129" y="591"/>
                  </a:lnTo>
                  <a:lnTo>
                    <a:pt x="148" y="583"/>
                  </a:lnTo>
                  <a:lnTo>
                    <a:pt x="187" y="568"/>
                  </a:lnTo>
                  <a:close/>
                </a:path>
              </a:pathLst>
            </a:custGeom>
            <a:solidFill>
              <a:srgbClr val="FF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3C607818-F09B-40FB-ABE4-7A1F3C92CE9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09067" y="6049679"/>
            <a:ext cx="6986693" cy="5461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9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11319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0_SIGMA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C1B0160D-3152-4A39-924D-20929FF02E34}"/>
              </a:ext>
            </a:extLst>
          </p:cNvPr>
          <p:cNvSpPr/>
          <p:nvPr/>
        </p:nvSpPr>
        <p:spPr>
          <a:xfrm>
            <a:off x="0" y="6057875"/>
            <a:ext cx="12192000" cy="547340"/>
          </a:xfrm>
          <a:prstGeom prst="rect">
            <a:avLst/>
          </a:prstGeom>
          <a:solidFill>
            <a:srgbClr val="F0523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6000" rIns="96000" rtlCol="0" anchor="ctr"/>
          <a:lstStyle/>
          <a:p>
            <a:pPr lvl="0" algn="ctr" defTabSz="1219170"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4EC18C6C-C962-43AF-BB43-96E1A0F918A6}"/>
              </a:ext>
            </a:extLst>
          </p:cNvPr>
          <p:cNvGrpSpPr>
            <a:grpSpLocks noChangeAspect="1"/>
          </p:cNvGrpSpPr>
          <p:nvPr/>
        </p:nvGrpSpPr>
        <p:grpSpPr>
          <a:xfrm>
            <a:off x="1495176" y="1328013"/>
            <a:ext cx="2563264" cy="1457520"/>
            <a:chOff x="1541463" y="2291616"/>
            <a:chExt cx="833732" cy="474074"/>
          </a:xfrm>
          <a:effectLst/>
        </p:grpSpPr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AF2788B8-1D83-4AD9-8A80-9FE083B91D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632" y="2438564"/>
              <a:ext cx="665563" cy="327126"/>
            </a:xfrm>
            <a:custGeom>
              <a:avLst/>
              <a:gdLst>
                <a:gd name="T0" fmla="*/ 2937 w 3463"/>
                <a:gd name="T1" fmla="*/ 123 h 1703"/>
                <a:gd name="T2" fmla="*/ 2655 w 3463"/>
                <a:gd name="T3" fmla="*/ 476 h 1703"/>
                <a:gd name="T4" fmla="*/ 2529 w 3463"/>
                <a:gd name="T5" fmla="*/ 752 h 1703"/>
                <a:gd name="T6" fmla="*/ 2571 w 3463"/>
                <a:gd name="T7" fmla="*/ 266 h 1703"/>
                <a:gd name="T8" fmla="*/ 2529 w 3463"/>
                <a:gd name="T9" fmla="*/ 44 h 1703"/>
                <a:gd name="T10" fmla="*/ 2296 w 3463"/>
                <a:gd name="T11" fmla="*/ 64 h 1703"/>
                <a:gd name="T12" fmla="*/ 2102 w 3463"/>
                <a:gd name="T13" fmla="*/ 101 h 1703"/>
                <a:gd name="T14" fmla="*/ 1962 w 3463"/>
                <a:gd name="T15" fmla="*/ 15 h 1703"/>
                <a:gd name="T16" fmla="*/ 1673 w 3463"/>
                <a:gd name="T17" fmla="*/ 210 h 1703"/>
                <a:gd name="T18" fmla="*/ 1605 w 3463"/>
                <a:gd name="T19" fmla="*/ 37 h 1703"/>
                <a:gd name="T20" fmla="*/ 1447 w 3463"/>
                <a:gd name="T21" fmla="*/ 60 h 1703"/>
                <a:gd name="T22" fmla="*/ 1235 w 3463"/>
                <a:gd name="T23" fmla="*/ 79 h 1703"/>
                <a:gd name="T24" fmla="*/ 1019 w 3463"/>
                <a:gd name="T25" fmla="*/ 31 h 1703"/>
                <a:gd name="T26" fmla="*/ 703 w 3463"/>
                <a:gd name="T27" fmla="*/ 139 h 1703"/>
                <a:gd name="T28" fmla="*/ 437 w 3463"/>
                <a:gd name="T29" fmla="*/ 471 h 1703"/>
                <a:gd name="T30" fmla="*/ 271 w 3463"/>
                <a:gd name="T31" fmla="*/ 734 h 1703"/>
                <a:gd name="T32" fmla="*/ 307 w 3463"/>
                <a:gd name="T33" fmla="*/ 221 h 1703"/>
                <a:gd name="T34" fmla="*/ 261 w 3463"/>
                <a:gd name="T35" fmla="*/ 17 h 1703"/>
                <a:gd name="T36" fmla="*/ 105 w 3463"/>
                <a:gd name="T37" fmla="*/ 30 h 1703"/>
                <a:gd name="T38" fmla="*/ 21 w 3463"/>
                <a:gd name="T39" fmla="*/ 927 h 1703"/>
                <a:gd name="T40" fmla="*/ 185 w 3463"/>
                <a:gd name="T41" fmla="*/ 961 h 1703"/>
                <a:gd name="T42" fmla="*/ 393 w 3463"/>
                <a:gd name="T43" fmla="*/ 839 h 1703"/>
                <a:gd name="T44" fmla="*/ 223 w 3463"/>
                <a:gd name="T45" fmla="*/ 1153 h 1703"/>
                <a:gd name="T46" fmla="*/ 140 w 3463"/>
                <a:gd name="T47" fmla="*/ 1447 h 1703"/>
                <a:gd name="T48" fmla="*/ 283 w 3463"/>
                <a:gd name="T49" fmla="*/ 1659 h 1703"/>
                <a:gd name="T50" fmla="*/ 629 w 3463"/>
                <a:gd name="T51" fmla="*/ 1676 h 1703"/>
                <a:gd name="T52" fmla="*/ 963 w 3463"/>
                <a:gd name="T53" fmla="*/ 1455 h 1703"/>
                <a:gd name="T54" fmla="*/ 1128 w 3463"/>
                <a:gd name="T55" fmla="*/ 1112 h 1703"/>
                <a:gd name="T56" fmla="*/ 1403 w 3463"/>
                <a:gd name="T57" fmla="*/ 251 h 1703"/>
                <a:gd name="T58" fmla="*/ 1401 w 3463"/>
                <a:gd name="T59" fmla="*/ 955 h 1703"/>
                <a:gd name="T60" fmla="*/ 1556 w 3463"/>
                <a:gd name="T61" fmla="*/ 963 h 1703"/>
                <a:gd name="T62" fmla="*/ 1633 w 3463"/>
                <a:gd name="T63" fmla="*/ 552 h 1703"/>
                <a:gd name="T64" fmla="*/ 1846 w 3463"/>
                <a:gd name="T65" fmla="*/ 233 h 1703"/>
                <a:gd name="T66" fmla="*/ 1874 w 3463"/>
                <a:gd name="T67" fmla="*/ 338 h 1703"/>
                <a:gd name="T68" fmla="*/ 1867 w 3463"/>
                <a:gd name="T69" fmla="*/ 962 h 1703"/>
                <a:gd name="T70" fmla="*/ 2040 w 3463"/>
                <a:gd name="T71" fmla="*/ 947 h 1703"/>
                <a:gd name="T72" fmla="*/ 2125 w 3463"/>
                <a:gd name="T73" fmla="*/ 476 h 1703"/>
                <a:gd name="T74" fmla="*/ 2330 w 3463"/>
                <a:gd name="T75" fmla="*/ 229 h 1703"/>
                <a:gd name="T76" fmla="*/ 2278 w 3463"/>
                <a:gd name="T77" fmla="*/ 756 h 1703"/>
                <a:gd name="T78" fmla="*/ 2335 w 3463"/>
                <a:gd name="T79" fmla="*/ 975 h 1703"/>
                <a:gd name="T80" fmla="*/ 2562 w 3463"/>
                <a:gd name="T81" fmla="*/ 909 h 1703"/>
                <a:gd name="T82" fmla="*/ 2691 w 3463"/>
                <a:gd name="T83" fmla="*/ 966 h 1703"/>
                <a:gd name="T84" fmla="*/ 2940 w 3463"/>
                <a:gd name="T85" fmla="*/ 936 h 1703"/>
                <a:gd name="T86" fmla="*/ 3135 w 3463"/>
                <a:gd name="T87" fmla="*/ 907 h 1703"/>
                <a:gd name="T88" fmla="*/ 3243 w 3463"/>
                <a:gd name="T89" fmla="*/ 991 h 1703"/>
                <a:gd name="T90" fmla="*/ 3351 w 3463"/>
                <a:gd name="T91" fmla="*/ 889 h 1703"/>
                <a:gd name="T92" fmla="*/ 3452 w 3463"/>
                <a:gd name="T93" fmla="*/ 82 h 1703"/>
                <a:gd name="T94" fmla="*/ 917 w 3463"/>
                <a:gd name="T95" fmla="*/ 950 h 1703"/>
                <a:gd name="T96" fmla="*/ 791 w 3463"/>
                <a:gd name="T97" fmla="*/ 1460 h 1703"/>
                <a:gd name="T98" fmla="*/ 565 w 3463"/>
                <a:gd name="T99" fmla="*/ 1554 h 1703"/>
                <a:gd name="T100" fmla="*/ 373 w 3463"/>
                <a:gd name="T101" fmla="*/ 1411 h 1703"/>
                <a:gd name="T102" fmla="*/ 461 w 3463"/>
                <a:gd name="T103" fmla="*/ 1066 h 1703"/>
                <a:gd name="T104" fmla="*/ 738 w 3463"/>
                <a:gd name="T105" fmla="*/ 916 h 1703"/>
                <a:gd name="T106" fmla="*/ 950 w 3463"/>
                <a:gd name="T107" fmla="*/ 445 h 1703"/>
                <a:gd name="T108" fmla="*/ 703 w 3463"/>
                <a:gd name="T109" fmla="*/ 743 h 1703"/>
                <a:gd name="T110" fmla="*/ 630 w 3463"/>
                <a:gd name="T111" fmla="*/ 641 h 1703"/>
                <a:gd name="T112" fmla="*/ 748 w 3463"/>
                <a:gd name="T113" fmla="*/ 291 h 1703"/>
                <a:gd name="T114" fmla="*/ 998 w 3463"/>
                <a:gd name="T115" fmla="*/ 229 h 1703"/>
                <a:gd name="T116" fmla="*/ 3056 w 3463"/>
                <a:gd name="T117" fmla="*/ 628 h 1703"/>
                <a:gd name="T118" fmla="*/ 2862 w 3463"/>
                <a:gd name="T119" fmla="*/ 759 h 1703"/>
                <a:gd name="T120" fmla="*/ 2896 w 3463"/>
                <a:gd name="T121" fmla="*/ 416 h 1703"/>
                <a:gd name="T122" fmla="*/ 3071 w 3463"/>
                <a:gd name="T123" fmla="*/ 214 h 1703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463" h="1703">
                  <a:moveTo>
                    <a:pt x="3244" y="27"/>
                  </a:moveTo>
                  <a:lnTo>
                    <a:pt x="3228" y="28"/>
                  </a:lnTo>
                  <a:lnTo>
                    <a:pt x="3212" y="29"/>
                  </a:lnTo>
                  <a:lnTo>
                    <a:pt x="3197" y="30"/>
                  </a:lnTo>
                  <a:lnTo>
                    <a:pt x="3181" y="32"/>
                  </a:lnTo>
                  <a:lnTo>
                    <a:pt x="3166" y="34"/>
                  </a:lnTo>
                  <a:lnTo>
                    <a:pt x="3151" y="37"/>
                  </a:lnTo>
                  <a:lnTo>
                    <a:pt x="3135" y="40"/>
                  </a:lnTo>
                  <a:lnTo>
                    <a:pt x="3120" y="43"/>
                  </a:lnTo>
                  <a:lnTo>
                    <a:pt x="3106" y="47"/>
                  </a:lnTo>
                  <a:lnTo>
                    <a:pt x="3091" y="51"/>
                  </a:lnTo>
                  <a:lnTo>
                    <a:pt x="3076" y="55"/>
                  </a:lnTo>
                  <a:lnTo>
                    <a:pt x="3062" y="60"/>
                  </a:lnTo>
                  <a:lnTo>
                    <a:pt x="3033" y="71"/>
                  </a:lnTo>
                  <a:lnTo>
                    <a:pt x="3019" y="78"/>
                  </a:lnTo>
                  <a:lnTo>
                    <a:pt x="3005" y="84"/>
                  </a:lnTo>
                  <a:lnTo>
                    <a:pt x="2991" y="91"/>
                  </a:lnTo>
                  <a:lnTo>
                    <a:pt x="2977" y="98"/>
                  </a:lnTo>
                  <a:lnTo>
                    <a:pt x="2950" y="114"/>
                  </a:lnTo>
                  <a:lnTo>
                    <a:pt x="2937" y="123"/>
                  </a:lnTo>
                  <a:lnTo>
                    <a:pt x="2924" y="132"/>
                  </a:lnTo>
                  <a:lnTo>
                    <a:pt x="2911" y="141"/>
                  </a:lnTo>
                  <a:lnTo>
                    <a:pt x="2898" y="150"/>
                  </a:lnTo>
                  <a:lnTo>
                    <a:pt x="2885" y="160"/>
                  </a:lnTo>
                  <a:lnTo>
                    <a:pt x="2873" y="171"/>
                  </a:lnTo>
                  <a:lnTo>
                    <a:pt x="2848" y="193"/>
                  </a:lnTo>
                  <a:lnTo>
                    <a:pt x="2836" y="205"/>
                  </a:lnTo>
                  <a:lnTo>
                    <a:pt x="2824" y="217"/>
                  </a:lnTo>
                  <a:lnTo>
                    <a:pt x="2800" y="242"/>
                  </a:lnTo>
                  <a:lnTo>
                    <a:pt x="2783" y="261"/>
                  </a:lnTo>
                  <a:lnTo>
                    <a:pt x="2767" y="281"/>
                  </a:lnTo>
                  <a:lnTo>
                    <a:pt x="2751" y="302"/>
                  </a:lnTo>
                  <a:lnTo>
                    <a:pt x="2737" y="322"/>
                  </a:lnTo>
                  <a:lnTo>
                    <a:pt x="2722" y="343"/>
                  </a:lnTo>
                  <a:lnTo>
                    <a:pt x="2709" y="364"/>
                  </a:lnTo>
                  <a:lnTo>
                    <a:pt x="2696" y="386"/>
                  </a:lnTo>
                  <a:lnTo>
                    <a:pt x="2685" y="408"/>
                  </a:lnTo>
                  <a:lnTo>
                    <a:pt x="2674" y="430"/>
                  </a:lnTo>
                  <a:lnTo>
                    <a:pt x="2664" y="453"/>
                  </a:lnTo>
                  <a:lnTo>
                    <a:pt x="2655" y="476"/>
                  </a:lnTo>
                  <a:lnTo>
                    <a:pt x="2647" y="499"/>
                  </a:lnTo>
                  <a:lnTo>
                    <a:pt x="2643" y="511"/>
                  </a:lnTo>
                  <a:lnTo>
                    <a:pt x="2639" y="523"/>
                  </a:lnTo>
                  <a:lnTo>
                    <a:pt x="2632" y="547"/>
                  </a:lnTo>
                  <a:lnTo>
                    <a:pt x="2627" y="571"/>
                  </a:lnTo>
                  <a:lnTo>
                    <a:pt x="2621" y="596"/>
                  </a:lnTo>
                  <a:lnTo>
                    <a:pt x="2618" y="608"/>
                  </a:lnTo>
                  <a:lnTo>
                    <a:pt x="2612" y="625"/>
                  </a:lnTo>
                  <a:lnTo>
                    <a:pt x="2604" y="645"/>
                  </a:lnTo>
                  <a:lnTo>
                    <a:pt x="2600" y="656"/>
                  </a:lnTo>
                  <a:lnTo>
                    <a:pt x="2594" y="667"/>
                  </a:lnTo>
                  <a:lnTo>
                    <a:pt x="2588" y="678"/>
                  </a:lnTo>
                  <a:lnTo>
                    <a:pt x="2582" y="690"/>
                  </a:lnTo>
                  <a:lnTo>
                    <a:pt x="2575" y="701"/>
                  </a:lnTo>
                  <a:lnTo>
                    <a:pt x="2567" y="712"/>
                  </a:lnTo>
                  <a:lnTo>
                    <a:pt x="2558" y="723"/>
                  </a:lnTo>
                  <a:lnTo>
                    <a:pt x="2549" y="734"/>
                  </a:lnTo>
                  <a:lnTo>
                    <a:pt x="2544" y="739"/>
                  </a:lnTo>
                  <a:lnTo>
                    <a:pt x="2539" y="743"/>
                  </a:lnTo>
                  <a:lnTo>
                    <a:pt x="2529" y="752"/>
                  </a:lnTo>
                  <a:lnTo>
                    <a:pt x="2525" y="755"/>
                  </a:lnTo>
                  <a:lnTo>
                    <a:pt x="2522" y="757"/>
                  </a:lnTo>
                  <a:lnTo>
                    <a:pt x="2520" y="758"/>
                  </a:lnTo>
                  <a:lnTo>
                    <a:pt x="2517" y="759"/>
                  </a:lnTo>
                  <a:lnTo>
                    <a:pt x="2515" y="759"/>
                  </a:lnTo>
                  <a:lnTo>
                    <a:pt x="2513" y="759"/>
                  </a:lnTo>
                  <a:lnTo>
                    <a:pt x="2512" y="759"/>
                  </a:lnTo>
                  <a:lnTo>
                    <a:pt x="2510" y="758"/>
                  </a:lnTo>
                  <a:lnTo>
                    <a:pt x="2508" y="756"/>
                  </a:lnTo>
                  <a:lnTo>
                    <a:pt x="2507" y="754"/>
                  </a:lnTo>
                  <a:lnTo>
                    <a:pt x="2506" y="751"/>
                  </a:lnTo>
                  <a:lnTo>
                    <a:pt x="2506" y="748"/>
                  </a:lnTo>
                  <a:lnTo>
                    <a:pt x="2505" y="738"/>
                  </a:lnTo>
                  <a:lnTo>
                    <a:pt x="2506" y="729"/>
                  </a:lnTo>
                  <a:lnTo>
                    <a:pt x="2509" y="711"/>
                  </a:lnTo>
                  <a:lnTo>
                    <a:pt x="2516" y="658"/>
                  </a:lnTo>
                  <a:lnTo>
                    <a:pt x="2537" y="508"/>
                  </a:lnTo>
                  <a:lnTo>
                    <a:pt x="2566" y="300"/>
                  </a:lnTo>
                  <a:lnTo>
                    <a:pt x="2569" y="283"/>
                  </a:lnTo>
                  <a:lnTo>
                    <a:pt x="2571" y="266"/>
                  </a:lnTo>
                  <a:lnTo>
                    <a:pt x="2574" y="234"/>
                  </a:lnTo>
                  <a:lnTo>
                    <a:pt x="2576" y="218"/>
                  </a:lnTo>
                  <a:lnTo>
                    <a:pt x="2576" y="204"/>
                  </a:lnTo>
                  <a:lnTo>
                    <a:pt x="2577" y="176"/>
                  </a:lnTo>
                  <a:lnTo>
                    <a:pt x="2577" y="163"/>
                  </a:lnTo>
                  <a:lnTo>
                    <a:pt x="2576" y="150"/>
                  </a:lnTo>
                  <a:lnTo>
                    <a:pt x="2575" y="138"/>
                  </a:lnTo>
                  <a:lnTo>
                    <a:pt x="2573" y="127"/>
                  </a:lnTo>
                  <a:lnTo>
                    <a:pt x="2571" y="117"/>
                  </a:lnTo>
                  <a:lnTo>
                    <a:pt x="2568" y="107"/>
                  </a:lnTo>
                  <a:lnTo>
                    <a:pt x="2565" y="98"/>
                  </a:lnTo>
                  <a:lnTo>
                    <a:pt x="2562" y="89"/>
                  </a:lnTo>
                  <a:lnTo>
                    <a:pt x="2558" y="81"/>
                  </a:lnTo>
                  <a:lnTo>
                    <a:pt x="2554" y="74"/>
                  </a:lnTo>
                  <a:lnTo>
                    <a:pt x="2551" y="70"/>
                  </a:lnTo>
                  <a:lnTo>
                    <a:pt x="2549" y="67"/>
                  </a:lnTo>
                  <a:lnTo>
                    <a:pt x="2545" y="60"/>
                  </a:lnTo>
                  <a:lnTo>
                    <a:pt x="2540" y="55"/>
                  </a:lnTo>
                  <a:lnTo>
                    <a:pt x="2535" y="49"/>
                  </a:lnTo>
                  <a:lnTo>
                    <a:pt x="2529" y="44"/>
                  </a:lnTo>
                  <a:lnTo>
                    <a:pt x="2524" y="40"/>
                  </a:lnTo>
                  <a:lnTo>
                    <a:pt x="2513" y="33"/>
                  </a:lnTo>
                  <a:lnTo>
                    <a:pt x="2507" y="29"/>
                  </a:lnTo>
                  <a:lnTo>
                    <a:pt x="2502" y="27"/>
                  </a:lnTo>
                  <a:lnTo>
                    <a:pt x="2490" y="22"/>
                  </a:lnTo>
                  <a:lnTo>
                    <a:pt x="2479" y="19"/>
                  </a:lnTo>
                  <a:lnTo>
                    <a:pt x="2468" y="16"/>
                  </a:lnTo>
                  <a:lnTo>
                    <a:pt x="2458" y="15"/>
                  </a:lnTo>
                  <a:lnTo>
                    <a:pt x="2448" y="14"/>
                  </a:lnTo>
                  <a:lnTo>
                    <a:pt x="2440" y="14"/>
                  </a:lnTo>
                  <a:lnTo>
                    <a:pt x="2426" y="14"/>
                  </a:lnTo>
                  <a:lnTo>
                    <a:pt x="2412" y="16"/>
                  </a:lnTo>
                  <a:lnTo>
                    <a:pt x="2398" y="18"/>
                  </a:lnTo>
                  <a:lnTo>
                    <a:pt x="2384" y="22"/>
                  </a:lnTo>
                  <a:lnTo>
                    <a:pt x="2370" y="26"/>
                  </a:lnTo>
                  <a:lnTo>
                    <a:pt x="2355" y="32"/>
                  </a:lnTo>
                  <a:lnTo>
                    <a:pt x="2340" y="38"/>
                  </a:lnTo>
                  <a:lnTo>
                    <a:pt x="2326" y="46"/>
                  </a:lnTo>
                  <a:lnTo>
                    <a:pt x="2311" y="54"/>
                  </a:lnTo>
                  <a:lnTo>
                    <a:pt x="2296" y="64"/>
                  </a:lnTo>
                  <a:lnTo>
                    <a:pt x="2280" y="74"/>
                  </a:lnTo>
                  <a:lnTo>
                    <a:pt x="2265" y="86"/>
                  </a:lnTo>
                  <a:lnTo>
                    <a:pt x="2249" y="98"/>
                  </a:lnTo>
                  <a:lnTo>
                    <a:pt x="2234" y="112"/>
                  </a:lnTo>
                  <a:lnTo>
                    <a:pt x="2218" y="126"/>
                  </a:lnTo>
                  <a:lnTo>
                    <a:pt x="2202" y="142"/>
                  </a:lnTo>
                  <a:lnTo>
                    <a:pt x="2189" y="155"/>
                  </a:lnTo>
                  <a:lnTo>
                    <a:pt x="2177" y="168"/>
                  </a:lnTo>
                  <a:lnTo>
                    <a:pt x="2165" y="181"/>
                  </a:lnTo>
                  <a:lnTo>
                    <a:pt x="2153" y="195"/>
                  </a:lnTo>
                  <a:lnTo>
                    <a:pt x="2130" y="224"/>
                  </a:lnTo>
                  <a:lnTo>
                    <a:pt x="2108" y="253"/>
                  </a:lnTo>
                  <a:lnTo>
                    <a:pt x="2113" y="182"/>
                  </a:lnTo>
                  <a:lnTo>
                    <a:pt x="2113" y="168"/>
                  </a:lnTo>
                  <a:lnTo>
                    <a:pt x="2112" y="155"/>
                  </a:lnTo>
                  <a:lnTo>
                    <a:pt x="2111" y="143"/>
                  </a:lnTo>
                  <a:lnTo>
                    <a:pt x="2109" y="131"/>
                  </a:lnTo>
                  <a:lnTo>
                    <a:pt x="2107" y="120"/>
                  </a:lnTo>
                  <a:lnTo>
                    <a:pt x="2105" y="110"/>
                  </a:lnTo>
                  <a:lnTo>
                    <a:pt x="2102" y="101"/>
                  </a:lnTo>
                  <a:lnTo>
                    <a:pt x="2098" y="92"/>
                  </a:lnTo>
                  <a:lnTo>
                    <a:pt x="2095" y="83"/>
                  </a:lnTo>
                  <a:lnTo>
                    <a:pt x="2091" y="76"/>
                  </a:lnTo>
                  <a:lnTo>
                    <a:pt x="2087" y="69"/>
                  </a:lnTo>
                  <a:lnTo>
                    <a:pt x="2082" y="62"/>
                  </a:lnTo>
                  <a:lnTo>
                    <a:pt x="2078" y="56"/>
                  </a:lnTo>
                  <a:lnTo>
                    <a:pt x="2073" y="51"/>
                  </a:lnTo>
                  <a:lnTo>
                    <a:pt x="2068" y="46"/>
                  </a:lnTo>
                  <a:lnTo>
                    <a:pt x="2062" y="41"/>
                  </a:lnTo>
                  <a:lnTo>
                    <a:pt x="2057" y="37"/>
                  </a:lnTo>
                  <a:lnTo>
                    <a:pt x="2052" y="33"/>
                  </a:lnTo>
                  <a:lnTo>
                    <a:pt x="2041" y="27"/>
                  </a:lnTo>
                  <a:lnTo>
                    <a:pt x="2035" y="24"/>
                  </a:lnTo>
                  <a:lnTo>
                    <a:pt x="2030" y="22"/>
                  </a:lnTo>
                  <a:lnTo>
                    <a:pt x="2019" y="19"/>
                  </a:lnTo>
                  <a:lnTo>
                    <a:pt x="2009" y="16"/>
                  </a:lnTo>
                  <a:lnTo>
                    <a:pt x="1999" y="15"/>
                  </a:lnTo>
                  <a:lnTo>
                    <a:pt x="1990" y="14"/>
                  </a:lnTo>
                  <a:lnTo>
                    <a:pt x="1982" y="14"/>
                  </a:lnTo>
                  <a:lnTo>
                    <a:pt x="1962" y="15"/>
                  </a:lnTo>
                  <a:lnTo>
                    <a:pt x="1952" y="16"/>
                  </a:lnTo>
                  <a:lnTo>
                    <a:pt x="1941" y="17"/>
                  </a:lnTo>
                  <a:lnTo>
                    <a:pt x="1931" y="19"/>
                  </a:lnTo>
                  <a:lnTo>
                    <a:pt x="1921" y="22"/>
                  </a:lnTo>
                  <a:lnTo>
                    <a:pt x="1901" y="28"/>
                  </a:lnTo>
                  <a:lnTo>
                    <a:pt x="1891" y="31"/>
                  </a:lnTo>
                  <a:lnTo>
                    <a:pt x="1880" y="36"/>
                  </a:lnTo>
                  <a:lnTo>
                    <a:pt x="1870" y="40"/>
                  </a:lnTo>
                  <a:lnTo>
                    <a:pt x="1860" y="45"/>
                  </a:lnTo>
                  <a:lnTo>
                    <a:pt x="1839" y="57"/>
                  </a:lnTo>
                  <a:lnTo>
                    <a:pt x="1819" y="70"/>
                  </a:lnTo>
                  <a:lnTo>
                    <a:pt x="1798" y="85"/>
                  </a:lnTo>
                  <a:lnTo>
                    <a:pt x="1778" y="101"/>
                  </a:lnTo>
                  <a:lnTo>
                    <a:pt x="1767" y="110"/>
                  </a:lnTo>
                  <a:lnTo>
                    <a:pt x="1757" y="119"/>
                  </a:lnTo>
                  <a:lnTo>
                    <a:pt x="1746" y="129"/>
                  </a:lnTo>
                  <a:lnTo>
                    <a:pt x="1736" y="140"/>
                  </a:lnTo>
                  <a:lnTo>
                    <a:pt x="1715" y="161"/>
                  </a:lnTo>
                  <a:lnTo>
                    <a:pt x="1694" y="185"/>
                  </a:lnTo>
                  <a:lnTo>
                    <a:pt x="1673" y="210"/>
                  </a:lnTo>
                  <a:lnTo>
                    <a:pt x="1662" y="224"/>
                  </a:lnTo>
                  <a:lnTo>
                    <a:pt x="1651" y="238"/>
                  </a:lnTo>
                  <a:lnTo>
                    <a:pt x="1652" y="232"/>
                  </a:lnTo>
                  <a:lnTo>
                    <a:pt x="1657" y="160"/>
                  </a:lnTo>
                  <a:lnTo>
                    <a:pt x="1656" y="148"/>
                  </a:lnTo>
                  <a:lnTo>
                    <a:pt x="1656" y="136"/>
                  </a:lnTo>
                  <a:lnTo>
                    <a:pt x="1654" y="125"/>
                  </a:lnTo>
                  <a:lnTo>
                    <a:pt x="1653" y="115"/>
                  </a:lnTo>
                  <a:lnTo>
                    <a:pt x="1650" y="105"/>
                  </a:lnTo>
                  <a:lnTo>
                    <a:pt x="1648" y="96"/>
                  </a:lnTo>
                  <a:lnTo>
                    <a:pt x="1645" y="88"/>
                  </a:lnTo>
                  <a:lnTo>
                    <a:pt x="1641" y="80"/>
                  </a:lnTo>
                  <a:lnTo>
                    <a:pt x="1638" y="73"/>
                  </a:lnTo>
                  <a:lnTo>
                    <a:pt x="1634" y="66"/>
                  </a:lnTo>
                  <a:lnTo>
                    <a:pt x="1629" y="60"/>
                  </a:lnTo>
                  <a:lnTo>
                    <a:pt x="1625" y="55"/>
                  </a:lnTo>
                  <a:lnTo>
                    <a:pt x="1620" y="49"/>
                  </a:lnTo>
                  <a:lnTo>
                    <a:pt x="1615" y="45"/>
                  </a:lnTo>
                  <a:lnTo>
                    <a:pt x="1610" y="41"/>
                  </a:lnTo>
                  <a:lnTo>
                    <a:pt x="1605" y="37"/>
                  </a:lnTo>
                  <a:lnTo>
                    <a:pt x="1600" y="33"/>
                  </a:lnTo>
                  <a:lnTo>
                    <a:pt x="1595" y="30"/>
                  </a:lnTo>
                  <a:lnTo>
                    <a:pt x="1589" y="28"/>
                  </a:lnTo>
                  <a:lnTo>
                    <a:pt x="1584" y="25"/>
                  </a:lnTo>
                  <a:lnTo>
                    <a:pt x="1574" y="22"/>
                  </a:lnTo>
                  <a:lnTo>
                    <a:pt x="1568" y="20"/>
                  </a:lnTo>
                  <a:lnTo>
                    <a:pt x="1563" y="19"/>
                  </a:lnTo>
                  <a:lnTo>
                    <a:pt x="1554" y="17"/>
                  </a:lnTo>
                  <a:lnTo>
                    <a:pt x="1545" y="17"/>
                  </a:lnTo>
                  <a:lnTo>
                    <a:pt x="1531" y="16"/>
                  </a:lnTo>
                  <a:lnTo>
                    <a:pt x="1526" y="17"/>
                  </a:lnTo>
                  <a:lnTo>
                    <a:pt x="1520" y="19"/>
                  </a:lnTo>
                  <a:lnTo>
                    <a:pt x="1514" y="21"/>
                  </a:lnTo>
                  <a:lnTo>
                    <a:pt x="1507" y="24"/>
                  </a:lnTo>
                  <a:lnTo>
                    <a:pt x="1500" y="27"/>
                  </a:lnTo>
                  <a:lnTo>
                    <a:pt x="1492" y="31"/>
                  </a:lnTo>
                  <a:lnTo>
                    <a:pt x="1475" y="41"/>
                  </a:lnTo>
                  <a:lnTo>
                    <a:pt x="1466" y="47"/>
                  </a:lnTo>
                  <a:lnTo>
                    <a:pt x="1456" y="53"/>
                  </a:lnTo>
                  <a:lnTo>
                    <a:pt x="1447" y="60"/>
                  </a:lnTo>
                  <a:lnTo>
                    <a:pt x="1436" y="67"/>
                  </a:lnTo>
                  <a:lnTo>
                    <a:pt x="1416" y="83"/>
                  </a:lnTo>
                  <a:lnTo>
                    <a:pt x="1394" y="100"/>
                  </a:lnTo>
                  <a:lnTo>
                    <a:pt x="1372" y="118"/>
                  </a:lnTo>
                  <a:lnTo>
                    <a:pt x="1349" y="137"/>
                  </a:lnTo>
                  <a:lnTo>
                    <a:pt x="1305" y="177"/>
                  </a:lnTo>
                  <a:lnTo>
                    <a:pt x="1282" y="197"/>
                  </a:lnTo>
                  <a:lnTo>
                    <a:pt x="1261" y="217"/>
                  </a:lnTo>
                  <a:lnTo>
                    <a:pt x="1241" y="236"/>
                  </a:lnTo>
                  <a:lnTo>
                    <a:pt x="1222" y="255"/>
                  </a:lnTo>
                  <a:lnTo>
                    <a:pt x="1239" y="130"/>
                  </a:lnTo>
                  <a:lnTo>
                    <a:pt x="1240" y="123"/>
                  </a:lnTo>
                  <a:lnTo>
                    <a:pt x="1241" y="117"/>
                  </a:lnTo>
                  <a:lnTo>
                    <a:pt x="1241" y="111"/>
                  </a:lnTo>
                  <a:lnTo>
                    <a:pt x="1241" y="105"/>
                  </a:lnTo>
                  <a:lnTo>
                    <a:pt x="1241" y="99"/>
                  </a:lnTo>
                  <a:lnTo>
                    <a:pt x="1240" y="94"/>
                  </a:lnTo>
                  <a:lnTo>
                    <a:pt x="1239" y="89"/>
                  </a:lnTo>
                  <a:lnTo>
                    <a:pt x="1237" y="84"/>
                  </a:lnTo>
                  <a:lnTo>
                    <a:pt x="1235" y="79"/>
                  </a:lnTo>
                  <a:lnTo>
                    <a:pt x="1233" y="75"/>
                  </a:lnTo>
                  <a:lnTo>
                    <a:pt x="1230" y="70"/>
                  </a:lnTo>
                  <a:lnTo>
                    <a:pt x="1226" y="66"/>
                  </a:lnTo>
                  <a:lnTo>
                    <a:pt x="1223" y="62"/>
                  </a:lnTo>
                  <a:lnTo>
                    <a:pt x="1218" y="59"/>
                  </a:lnTo>
                  <a:lnTo>
                    <a:pt x="1213" y="55"/>
                  </a:lnTo>
                  <a:lnTo>
                    <a:pt x="1208" y="52"/>
                  </a:lnTo>
                  <a:lnTo>
                    <a:pt x="1196" y="47"/>
                  </a:lnTo>
                  <a:lnTo>
                    <a:pt x="1190" y="44"/>
                  </a:lnTo>
                  <a:lnTo>
                    <a:pt x="1182" y="42"/>
                  </a:lnTo>
                  <a:lnTo>
                    <a:pt x="1166" y="38"/>
                  </a:lnTo>
                  <a:lnTo>
                    <a:pt x="1148" y="35"/>
                  </a:lnTo>
                  <a:lnTo>
                    <a:pt x="1128" y="32"/>
                  </a:lnTo>
                  <a:lnTo>
                    <a:pt x="1117" y="31"/>
                  </a:lnTo>
                  <a:lnTo>
                    <a:pt x="1105" y="31"/>
                  </a:lnTo>
                  <a:lnTo>
                    <a:pt x="1093" y="30"/>
                  </a:lnTo>
                  <a:lnTo>
                    <a:pt x="1080" y="30"/>
                  </a:lnTo>
                  <a:lnTo>
                    <a:pt x="1052" y="30"/>
                  </a:lnTo>
                  <a:lnTo>
                    <a:pt x="1036" y="30"/>
                  </a:lnTo>
                  <a:lnTo>
                    <a:pt x="1019" y="31"/>
                  </a:lnTo>
                  <a:lnTo>
                    <a:pt x="1003" y="32"/>
                  </a:lnTo>
                  <a:lnTo>
                    <a:pt x="987" y="33"/>
                  </a:lnTo>
                  <a:lnTo>
                    <a:pt x="971" y="35"/>
                  </a:lnTo>
                  <a:lnTo>
                    <a:pt x="955" y="38"/>
                  </a:lnTo>
                  <a:lnTo>
                    <a:pt x="923" y="44"/>
                  </a:lnTo>
                  <a:lnTo>
                    <a:pt x="908" y="47"/>
                  </a:lnTo>
                  <a:lnTo>
                    <a:pt x="892" y="51"/>
                  </a:lnTo>
                  <a:lnTo>
                    <a:pt x="877" y="55"/>
                  </a:lnTo>
                  <a:lnTo>
                    <a:pt x="862" y="60"/>
                  </a:lnTo>
                  <a:lnTo>
                    <a:pt x="847" y="65"/>
                  </a:lnTo>
                  <a:lnTo>
                    <a:pt x="832" y="71"/>
                  </a:lnTo>
                  <a:lnTo>
                    <a:pt x="817" y="77"/>
                  </a:lnTo>
                  <a:lnTo>
                    <a:pt x="802" y="83"/>
                  </a:lnTo>
                  <a:lnTo>
                    <a:pt x="788" y="90"/>
                  </a:lnTo>
                  <a:lnTo>
                    <a:pt x="773" y="97"/>
                  </a:lnTo>
                  <a:lnTo>
                    <a:pt x="759" y="105"/>
                  </a:lnTo>
                  <a:lnTo>
                    <a:pt x="745" y="113"/>
                  </a:lnTo>
                  <a:lnTo>
                    <a:pt x="731" y="121"/>
                  </a:lnTo>
                  <a:lnTo>
                    <a:pt x="717" y="130"/>
                  </a:lnTo>
                  <a:lnTo>
                    <a:pt x="703" y="139"/>
                  </a:lnTo>
                  <a:lnTo>
                    <a:pt x="690" y="149"/>
                  </a:lnTo>
                  <a:lnTo>
                    <a:pt x="676" y="159"/>
                  </a:lnTo>
                  <a:lnTo>
                    <a:pt x="663" y="170"/>
                  </a:lnTo>
                  <a:lnTo>
                    <a:pt x="637" y="192"/>
                  </a:lnTo>
                  <a:lnTo>
                    <a:pt x="624" y="204"/>
                  </a:lnTo>
                  <a:lnTo>
                    <a:pt x="611" y="216"/>
                  </a:lnTo>
                  <a:lnTo>
                    <a:pt x="598" y="228"/>
                  </a:lnTo>
                  <a:lnTo>
                    <a:pt x="586" y="241"/>
                  </a:lnTo>
                  <a:lnTo>
                    <a:pt x="570" y="259"/>
                  </a:lnTo>
                  <a:lnTo>
                    <a:pt x="555" y="277"/>
                  </a:lnTo>
                  <a:lnTo>
                    <a:pt x="540" y="295"/>
                  </a:lnTo>
                  <a:lnTo>
                    <a:pt x="526" y="314"/>
                  </a:lnTo>
                  <a:lnTo>
                    <a:pt x="512" y="332"/>
                  </a:lnTo>
                  <a:lnTo>
                    <a:pt x="500" y="351"/>
                  </a:lnTo>
                  <a:lnTo>
                    <a:pt x="488" y="371"/>
                  </a:lnTo>
                  <a:lnTo>
                    <a:pt x="476" y="390"/>
                  </a:lnTo>
                  <a:lnTo>
                    <a:pt x="465" y="410"/>
                  </a:lnTo>
                  <a:lnTo>
                    <a:pt x="455" y="430"/>
                  </a:lnTo>
                  <a:lnTo>
                    <a:pt x="446" y="451"/>
                  </a:lnTo>
                  <a:lnTo>
                    <a:pt x="437" y="471"/>
                  </a:lnTo>
                  <a:lnTo>
                    <a:pt x="429" y="492"/>
                  </a:lnTo>
                  <a:lnTo>
                    <a:pt x="421" y="513"/>
                  </a:lnTo>
                  <a:lnTo>
                    <a:pt x="418" y="524"/>
                  </a:lnTo>
                  <a:lnTo>
                    <a:pt x="415" y="535"/>
                  </a:lnTo>
                  <a:lnTo>
                    <a:pt x="408" y="557"/>
                  </a:lnTo>
                  <a:lnTo>
                    <a:pt x="397" y="580"/>
                  </a:lnTo>
                  <a:lnTo>
                    <a:pt x="383" y="606"/>
                  </a:lnTo>
                  <a:lnTo>
                    <a:pt x="375" y="619"/>
                  </a:lnTo>
                  <a:lnTo>
                    <a:pt x="367" y="632"/>
                  </a:lnTo>
                  <a:lnTo>
                    <a:pt x="358" y="645"/>
                  </a:lnTo>
                  <a:lnTo>
                    <a:pt x="349" y="658"/>
                  </a:lnTo>
                  <a:lnTo>
                    <a:pt x="340" y="670"/>
                  </a:lnTo>
                  <a:lnTo>
                    <a:pt x="329" y="683"/>
                  </a:lnTo>
                  <a:lnTo>
                    <a:pt x="319" y="694"/>
                  </a:lnTo>
                  <a:lnTo>
                    <a:pt x="313" y="700"/>
                  </a:lnTo>
                  <a:lnTo>
                    <a:pt x="308" y="705"/>
                  </a:lnTo>
                  <a:lnTo>
                    <a:pt x="296" y="716"/>
                  </a:lnTo>
                  <a:lnTo>
                    <a:pt x="284" y="725"/>
                  </a:lnTo>
                  <a:lnTo>
                    <a:pt x="278" y="730"/>
                  </a:lnTo>
                  <a:lnTo>
                    <a:pt x="271" y="734"/>
                  </a:lnTo>
                  <a:lnTo>
                    <a:pt x="265" y="738"/>
                  </a:lnTo>
                  <a:lnTo>
                    <a:pt x="258" y="741"/>
                  </a:lnTo>
                  <a:lnTo>
                    <a:pt x="255" y="743"/>
                  </a:lnTo>
                  <a:lnTo>
                    <a:pt x="251" y="743"/>
                  </a:lnTo>
                  <a:lnTo>
                    <a:pt x="248" y="743"/>
                  </a:lnTo>
                  <a:lnTo>
                    <a:pt x="246" y="742"/>
                  </a:lnTo>
                  <a:lnTo>
                    <a:pt x="244" y="741"/>
                  </a:lnTo>
                  <a:lnTo>
                    <a:pt x="242" y="740"/>
                  </a:lnTo>
                  <a:lnTo>
                    <a:pt x="241" y="738"/>
                  </a:lnTo>
                  <a:lnTo>
                    <a:pt x="240" y="736"/>
                  </a:lnTo>
                  <a:lnTo>
                    <a:pt x="239" y="733"/>
                  </a:lnTo>
                  <a:lnTo>
                    <a:pt x="238" y="729"/>
                  </a:lnTo>
                  <a:lnTo>
                    <a:pt x="238" y="725"/>
                  </a:lnTo>
                  <a:lnTo>
                    <a:pt x="238" y="719"/>
                  </a:lnTo>
                  <a:lnTo>
                    <a:pt x="239" y="714"/>
                  </a:lnTo>
                  <a:lnTo>
                    <a:pt x="259" y="575"/>
                  </a:lnTo>
                  <a:lnTo>
                    <a:pt x="286" y="391"/>
                  </a:lnTo>
                  <a:lnTo>
                    <a:pt x="298" y="301"/>
                  </a:lnTo>
                  <a:lnTo>
                    <a:pt x="303" y="259"/>
                  </a:lnTo>
                  <a:lnTo>
                    <a:pt x="307" y="221"/>
                  </a:lnTo>
                  <a:lnTo>
                    <a:pt x="311" y="188"/>
                  </a:lnTo>
                  <a:lnTo>
                    <a:pt x="313" y="161"/>
                  </a:lnTo>
                  <a:lnTo>
                    <a:pt x="314" y="149"/>
                  </a:lnTo>
                  <a:lnTo>
                    <a:pt x="314" y="140"/>
                  </a:lnTo>
                  <a:lnTo>
                    <a:pt x="314" y="132"/>
                  </a:lnTo>
                  <a:lnTo>
                    <a:pt x="314" y="127"/>
                  </a:lnTo>
                  <a:lnTo>
                    <a:pt x="312" y="114"/>
                  </a:lnTo>
                  <a:lnTo>
                    <a:pt x="310" y="98"/>
                  </a:lnTo>
                  <a:lnTo>
                    <a:pt x="305" y="79"/>
                  </a:lnTo>
                  <a:lnTo>
                    <a:pt x="302" y="69"/>
                  </a:lnTo>
                  <a:lnTo>
                    <a:pt x="300" y="65"/>
                  </a:lnTo>
                  <a:lnTo>
                    <a:pt x="298" y="60"/>
                  </a:lnTo>
                  <a:lnTo>
                    <a:pt x="293" y="50"/>
                  </a:lnTo>
                  <a:lnTo>
                    <a:pt x="287" y="41"/>
                  </a:lnTo>
                  <a:lnTo>
                    <a:pt x="283" y="37"/>
                  </a:lnTo>
                  <a:lnTo>
                    <a:pt x="279" y="32"/>
                  </a:lnTo>
                  <a:lnTo>
                    <a:pt x="275" y="28"/>
                  </a:lnTo>
                  <a:lnTo>
                    <a:pt x="271" y="24"/>
                  </a:lnTo>
                  <a:lnTo>
                    <a:pt x="266" y="21"/>
                  </a:lnTo>
                  <a:lnTo>
                    <a:pt x="261" y="17"/>
                  </a:lnTo>
                  <a:lnTo>
                    <a:pt x="256" y="14"/>
                  </a:lnTo>
                  <a:lnTo>
                    <a:pt x="250" y="11"/>
                  </a:lnTo>
                  <a:lnTo>
                    <a:pt x="243" y="9"/>
                  </a:lnTo>
                  <a:lnTo>
                    <a:pt x="237" y="6"/>
                  </a:lnTo>
                  <a:lnTo>
                    <a:pt x="230" y="4"/>
                  </a:lnTo>
                  <a:lnTo>
                    <a:pt x="222" y="3"/>
                  </a:lnTo>
                  <a:lnTo>
                    <a:pt x="212" y="1"/>
                  </a:lnTo>
                  <a:lnTo>
                    <a:pt x="203" y="1"/>
                  </a:lnTo>
                  <a:lnTo>
                    <a:pt x="193" y="0"/>
                  </a:lnTo>
                  <a:lnTo>
                    <a:pt x="184" y="1"/>
                  </a:lnTo>
                  <a:lnTo>
                    <a:pt x="175" y="2"/>
                  </a:lnTo>
                  <a:lnTo>
                    <a:pt x="167" y="3"/>
                  </a:lnTo>
                  <a:lnTo>
                    <a:pt x="159" y="5"/>
                  </a:lnTo>
                  <a:lnTo>
                    <a:pt x="151" y="7"/>
                  </a:lnTo>
                  <a:lnTo>
                    <a:pt x="137" y="12"/>
                  </a:lnTo>
                  <a:lnTo>
                    <a:pt x="130" y="15"/>
                  </a:lnTo>
                  <a:lnTo>
                    <a:pt x="124" y="18"/>
                  </a:lnTo>
                  <a:lnTo>
                    <a:pt x="118" y="21"/>
                  </a:lnTo>
                  <a:lnTo>
                    <a:pt x="113" y="24"/>
                  </a:lnTo>
                  <a:lnTo>
                    <a:pt x="105" y="30"/>
                  </a:lnTo>
                  <a:lnTo>
                    <a:pt x="105" y="35"/>
                  </a:lnTo>
                  <a:lnTo>
                    <a:pt x="105" y="44"/>
                  </a:lnTo>
                  <a:lnTo>
                    <a:pt x="103" y="72"/>
                  </a:lnTo>
                  <a:lnTo>
                    <a:pt x="99" y="113"/>
                  </a:lnTo>
                  <a:lnTo>
                    <a:pt x="93" y="165"/>
                  </a:lnTo>
                  <a:lnTo>
                    <a:pt x="76" y="293"/>
                  </a:lnTo>
                  <a:lnTo>
                    <a:pt x="56" y="439"/>
                  </a:lnTo>
                  <a:lnTo>
                    <a:pt x="18" y="710"/>
                  </a:lnTo>
                  <a:lnTo>
                    <a:pt x="5" y="801"/>
                  </a:lnTo>
                  <a:lnTo>
                    <a:pt x="1" y="829"/>
                  </a:lnTo>
                  <a:lnTo>
                    <a:pt x="0" y="840"/>
                  </a:lnTo>
                  <a:lnTo>
                    <a:pt x="0" y="852"/>
                  </a:lnTo>
                  <a:lnTo>
                    <a:pt x="1" y="862"/>
                  </a:lnTo>
                  <a:lnTo>
                    <a:pt x="2" y="872"/>
                  </a:lnTo>
                  <a:lnTo>
                    <a:pt x="4" y="882"/>
                  </a:lnTo>
                  <a:lnTo>
                    <a:pt x="6" y="891"/>
                  </a:lnTo>
                  <a:lnTo>
                    <a:pt x="8" y="899"/>
                  </a:lnTo>
                  <a:lnTo>
                    <a:pt x="14" y="914"/>
                  </a:lnTo>
                  <a:lnTo>
                    <a:pt x="17" y="921"/>
                  </a:lnTo>
                  <a:lnTo>
                    <a:pt x="21" y="927"/>
                  </a:lnTo>
                  <a:lnTo>
                    <a:pt x="25" y="933"/>
                  </a:lnTo>
                  <a:lnTo>
                    <a:pt x="29" y="938"/>
                  </a:lnTo>
                  <a:lnTo>
                    <a:pt x="33" y="943"/>
                  </a:lnTo>
                  <a:lnTo>
                    <a:pt x="37" y="947"/>
                  </a:lnTo>
                  <a:lnTo>
                    <a:pt x="42" y="951"/>
                  </a:lnTo>
                  <a:lnTo>
                    <a:pt x="47" y="955"/>
                  </a:lnTo>
                  <a:lnTo>
                    <a:pt x="56" y="961"/>
                  </a:lnTo>
                  <a:lnTo>
                    <a:pt x="66" y="965"/>
                  </a:lnTo>
                  <a:lnTo>
                    <a:pt x="71" y="967"/>
                  </a:lnTo>
                  <a:lnTo>
                    <a:pt x="75" y="969"/>
                  </a:lnTo>
                  <a:lnTo>
                    <a:pt x="80" y="970"/>
                  </a:lnTo>
                  <a:lnTo>
                    <a:pt x="84" y="972"/>
                  </a:lnTo>
                  <a:lnTo>
                    <a:pt x="93" y="973"/>
                  </a:lnTo>
                  <a:lnTo>
                    <a:pt x="101" y="974"/>
                  </a:lnTo>
                  <a:lnTo>
                    <a:pt x="113" y="975"/>
                  </a:lnTo>
                  <a:lnTo>
                    <a:pt x="128" y="974"/>
                  </a:lnTo>
                  <a:lnTo>
                    <a:pt x="142" y="973"/>
                  </a:lnTo>
                  <a:lnTo>
                    <a:pt x="156" y="970"/>
                  </a:lnTo>
                  <a:lnTo>
                    <a:pt x="171" y="966"/>
                  </a:lnTo>
                  <a:lnTo>
                    <a:pt x="185" y="961"/>
                  </a:lnTo>
                  <a:lnTo>
                    <a:pt x="199" y="955"/>
                  </a:lnTo>
                  <a:lnTo>
                    <a:pt x="214" y="947"/>
                  </a:lnTo>
                  <a:lnTo>
                    <a:pt x="228" y="939"/>
                  </a:lnTo>
                  <a:lnTo>
                    <a:pt x="242" y="929"/>
                  </a:lnTo>
                  <a:lnTo>
                    <a:pt x="250" y="924"/>
                  </a:lnTo>
                  <a:lnTo>
                    <a:pt x="257" y="918"/>
                  </a:lnTo>
                  <a:lnTo>
                    <a:pt x="272" y="906"/>
                  </a:lnTo>
                  <a:lnTo>
                    <a:pt x="286" y="893"/>
                  </a:lnTo>
                  <a:lnTo>
                    <a:pt x="294" y="886"/>
                  </a:lnTo>
                  <a:lnTo>
                    <a:pt x="301" y="878"/>
                  </a:lnTo>
                  <a:lnTo>
                    <a:pt x="316" y="863"/>
                  </a:lnTo>
                  <a:lnTo>
                    <a:pt x="331" y="846"/>
                  </a:lnTo>
                  <a:lnTo>
                    <a:pt x="346" y="828"/>
                  </a:lnTo>
                  <a:lnTo>
                    <a:pt x="367" y="802"/>
                  </a:lnTo>
                  <a:lnTo>
                    <a:pt x="384" y="780"/>
                  </a:lnTo>
                  <a:lnTo>
                    <a:pt x="386" y="800"/>
                  </a:lnTo>
                  <a:lnTo>
                    <a:pt x="387" y="810"/>
                  </a:lnTo>
                  <a:lnTo>
                    <a:pt x="389" y="820"/>
                  </a:lnTo>
                  <a:lnTo>
                    <a:pt x="391" y="829"/>
                  </a:lnTo>
                  <a:lnTo>
                    <a:pt x="393" y="839"/>
                  </a:lnTo>
                  <a:lnTo>
                    <a:pt x="396" y="848"/>
                  </a:lnTo>
                  <a:lnTo>
                    <a:pt x="400" y="858"/>
                  </a:lnTo>
                  <a:lnTo>
                    <a:pt x="403" y="867"/>
                  </a:lnTo>
                  <a:lnTo>
                    <a:pt x="408" y="877"/>
                  </a:lnTo>
                  <a:lnTo>
                    <a:pt x="413" y="886"/>
                  </a:lnTo>
                  <a:lnTo>
                    <a:pt x="418" y="895"/>
                  </a:lnTo>
                  <a:lnTo>
                    <a:pt x="425" y="904"/>
                  </a:lnTo>
                  <a:lnTo>
                    <a:pt x="432" y="913"/>
                  </a:lnTo>
                  <a:lnTo>
                    <a:pt x="439" y="921"/>
                  </a:lnTo>
                  <a:lnTo>
                    <a:pt x="447" y="930"/>
                  </a:lnTo>
                  <a:lnTo>
                    <a:pt x="413" y="959"/>
                  </a:lnTo>
                  <a:lnTo>
                    <a:pt x="380" y="987"/>
                  </a:lnTo>
                  <a:lnTo>
                    <a:pt x="349" y="1015"/>
                  </a:lnTo>
                  <a:lnTo>
                    <a:pt x="320" y="1042"/>
                  </a:lnTo>
                  <a:lnTo>
                    <a:pt x="293" y="1070"/>
                  </a:lnTo>
                  <a:lnTo>
                    <a:pt x="267" y="1098"/>
                  </a:lnTo>
                  <a:lnTo>
                    <a:pt x="255" y="1112"/>
                  </a:lnTo>
                  <a:lnTo>
                    <a:pt x="244" y="1125"/>
                  </a:lnTo>
                  <a:lnTo>
                    <a:pt x="233" y="1139"/>
                  </a:lnTo>
                  <a:lnTo>
                    <a:pt x="223" y="1153"/>
                  </a:lnTo>
                  <a:lnTo>
                    <a:pt x="213" y="1167"/>
                  </a:lnTo>
                  <a:lnTo>
                    <a:pt x="203" y="1180"/>
                  </a:lnTo>
                  <a:lnTo>
                    <a:pt x="194" y="1194"/>
                  </a:lnTo>
                  <a:lnTo>
                    <a:pt x="186" y="1208"/>
                  </a:lnTo>
                  <a:lnTo>
                    <a:pt x="179" y="1222"/>
                  </a:lnTo>
                  <a:lnTo>
                    <a:pt x="171" y="1236"/>
                  </a:lnTo>
                  <a:lnTo>
                    <a:pt x="165" y="1250"/>
                  </a:lnTo>
                  <a:lnTo>
                    <a:pt x="159" y="1264"/>
                  </a:lnTo>
                  <a:lnTo>
                    <a:pt x="154" y="1278"/>
                  </a:lnTo>
                  <a:lnTo>
                    <a:pt x="149" y="1293"/>
                  </a:lnTo>
                  <a:lnTo>
                    <a:pt x="145" y="1307"/>
                  </a:lnTo>
                  <a:lnTo>
                    <a:pt x="142" y="1322"/>
                  </a:lnTo>
                  <a:lnTo>
                    <a:pt x="139" y="1336"/>
                  </a:lnTo>
                  <a:lnTo>
                    <a:pt x="137" y="1351"/>
                  </a:lnTo>
                  <a:lnTo>
                    <a:pt x="136" y="1366"/>
                  </a:lnTo>
                  <a:lnTo>
                    <a:pt x="135" y="1381"/>
                  </a:lnTo>
                  <a:lnTo>
                    <a:pt x="135" y="1398"/>
                  </a:lnTo>
                  <a:lnTo>
                    <a:pt x="136" y="1415"/>
                  </a:lnTo>
                  <a:lnTo>
                    <a:pt x="137" y="1431"/>
                  </a:lnTo>
                  <a:lnTo>
                    <a:pt x="140" y="1447"/>
                  </a:lnTo>
                  <a:lnTo>
                    <a:pt x="141" y="1454"/>
                  </a:lnTo>
                  <a:lnTo>
                    <a:pt x="143" y="1462"/>
                  </a:lnTo>
                  <a:lnTo>
                    <a:pt x="146" y="1477"/>
                  </a:lnTo>
                  <a:lnTo>
                    <a:pt x="151" y="1492"/>
                  </a:lnTo>
                  <a:lnTo>
                    <a:pt x="156" y="1507"/>
                  </a:lnTo>
                  <a:lnTo>
                    <a:pt x="161" y="1521"/>
                  </a:lnTo>
                  <a:lnTo>
                    <a:pt x="168" y="1534"/>
                  </a:lnTo>
                  <a:lnTo>
                    <a:pt x="175" y="1548"/>
                  </a:lnTo>
                  <a:lnTo>
                    <a:pt x="183" y="1561"/>
                  </a:lnTo>
                  <a:lnTo>
                    <a:pt x="192" y="1574"/>
                  </a:lnTo>
                  <a:lnTo>
                    <a:pt x="201" y="1586"/>
                  </a:lnTo>
                  <a:lnTo>
                    <a:pt x="211" y="1598"/>
                  </a:lnTo>
                  <a:lnTo>
                    <a:pt x="222" y="1610"/>
                  </a:lnTo>
                  <a:lnTo>
                    <a:pt x="234" y="1621"/>
                  </a:lnTo>
                  <a:lnTo>
                    <a:pt x="245" y="1631"/>
                  </a:lnTo>
                  <a:lnTo>
                    <a:pt x="251" y="1636"/>
                  </a:lnTo>
                  <a:lnTo>
                    <a:pt x="258" y="1641"/>
                  </a:lnTo>
                  <a:lnTo>
                    <a:pt x="270" y="1650"/>
                  </a:lnTo>
                  <a:lnTo>
                    <a:pt x="277" y="1654"/>
                  </a:lnTo>
                  <a:lnTo>
                    <a:pt x="283" y="1659"/>
                  </a:lnTo>
                  <a:lnTo>
                    <a:pt x="297" y="1666"/>
                  </a:lnTo>
                  <a:lnTo>
                    <a:pt x="310" y="1673"/>
                  </a:lnTo>
                  <a:lnTo>
                    <a:pt x="324" y="1679"/>
                  </a:lnTo>
                  <a:lnTo>
                    <a:pt x="339" y="1685"/>
                  </a:lnTo>
                  <a:lnTo>
                    <a:pt x="354" y="1690"/>
                  </a:lnTo>
                  <a:lnTo>
                    <a:pt x="369" y="1694"/>
                  </a:lnTo>
                  <a:lnTo>
                    <a:pt x="385" y="1697"/>
                  </a:lnTo>
                  <a:lnTo>
                    <a:pt x="401" y="1700"/>
                  </a:lnTo>
                  <a:lnTo>
                    <a:pt x="417" y="1702"/>
                  </a:lnTo>
                  <a:lnTo>
                    <a:pt x="434" y="1703"/>
                  </a:lnTo>
                  <a:lnTo>
                    <a:pt x="451" y="1703"/>
                  </a:lnTo>
                  <a:lnTo>
                    <a:pt x="483" y="1702"/>
                  </a:lnTo>
                  <a:lnTo>
                    <a:pt x="500" y="1701"/>
                  </a:lnTo>
                  <a:lnTo>
                    <a:pt x="516" y="1700"/>
                  </a:lnTo>
                  <a:lnTo>
                    <a:pt x="548" y="1695"/>
                  </a:lnTo>
                  <a:lnTo>
                    <a:pt x="565" y="1692"/>
                  </a:lnTo>
                  <a:lnTo>
                    <a:pt x="581" y="1689"/>
                  </a:lnTo>
                  <a:lnTo>
                    <a:pt x="597" y="1685"/>
                  </a:lnTo>
                  <a:lnTo>
                    <a:pt x="613" y="1681"/>
                  </a:lnTo>
                  <a:lnTo>
                    <a:pt x="629" y="1676"/>
                  </a:lnTo>
                  <a:lnTo>
                    <a:pt x="645" y="1671"/>
                  </a:lnTo>
                  <a:lnTo>
                    <a:pt x="676" y="1659"/>
                  </a:lnTo>
                  <a:lnTo>
                    <a:pt x="692" y="1652"/>
                  </a:lnTo>
                  <a:lnTo>
                    <a:pt x="708" y="1645"/>
                  </a:lnTo>
                  <a:lnTo>
                    <a:pt x="723" y="1637"/>
                  </a:lnTo>
                  <a:lnTo>
                    <a:pt x="739" y="1629"/>
                  </a:lnTo>
                  <a:lnTo>
                    <a:pt x="754" y="1621"/>
                  </a:lnTo>
                  <a:lnTo>
                    <a:pt x="770" y="1612"/>
                  </a:lnTo>
                  <a:lnTo>
                    <a:pt x="785" y="1602"/>
                  </a:lnTo>
                  <a:lnTo>
                    <a:pt x="800" y="1592"/>
                  </a:lnTo>
                  <a:lnTo>
                    <a:pt x="816" y="1582"/>
                  </a:lnTo>
                  <a:lnTo>
                    <a:pt x="831" y="1571"/>
                  </a:lnTo>
                  <a:lnTo>
                    <a:pt x="846" y="1560"/>
                  </a:lnTo>
                  <a:lnTo>
                    <a:pt x="861" y="1548"/>
                  </a:lnTo>
                  <a:lnTo>
                    <a:pt x="891" y="1523"/>
                  </a:lnTo>
                  <a:lnTo>
                    <a:pt x="906" y="1510"/>
                  </a:lnTo>
                  <a:lnTo>
                    <a:pt x="921" y="1497"/>
                  </a:lnTo>
                  <a:lnTo>
                    <a:pt x="935" y="1483"/>
                  </a:lnTo>
                  <a:lnTo>
                    <a:pt x="950" y="1468"/>
                  </a:lnTo>
                  <a:lnTo>
                    <a:pt x="963" y="1455"/>
                  </a:lnTo>
                  <a:lnTo>
                    <a:pt x="975" y="1442"/>
                  </a:lnTo>
                  <a:lnTo>
                    <a:pt x="986" y="1428"/>
                  </a:lnTo>
                  <a:lnTo>
                    <a:pt x="998" y="1414"/>
                  </a:lnTo>
                  <a:lnTo>
                    <a:pt x="1008" y="1400"/>
                  </a:lnTo>
                  <a:lnTo>
                    <a:pt x="1018" y="1385"/>
                  </a:lnTo>
                  <a:lnTo>
                    <a:pt x="1028" y="1371"/>
                  </a:lnTo>
                  <a:lnTo>
                    <a:pt x="1037" y="1356"/>
                  </a:lnTo>
                  <a:lnTo>
                    <a:pt x="1046" y="1341"/>
                  </a:lnTo>
                  <a:lnTo>
                    <a:pt x="1055" y="1325"/>
                  </a:lnTo>
                  <a:lnTo>
                    <a:pt x="1063" y="1310"/>
                  </a:lnTo>
                  <a:lnTo>
                    <a:pt x="1070" y="1294"/>
                  </a:lnTo>
                  <a:lnTo>
                    <a:pt x="1078" y="1278"/>
                  </a:lnTo>
                  <a:lnTo>
                    <a:pt x="1085" y="1262"/>
                  </a:lnTo>
                  <a:lnTo>
                    <a:pt x="1098" y="1230"/>
                  </a:lnTo>
                  <a:lnTo>
                    <a:pt x="1103" y="1213"/>
                  </a:lnTo>
                  <a:lnTo>
                    <a:pt x="1109" y="1195"/>
                  </a:lnTo>
                  <a:lnTo>
                    <a:pt x="1114" y="1176"/>
                  </a:lnTo>
                  <a:lnTo>
                    <a:pt x="1119" y="1156"/>
                  </a:lnTo>
                  <a:lnTo>
                    <a:pt x="1123" y="1135"/>
                  </a:lnTo>
                  <a:lnTo>
                    <a:pt x="1128" y="1112"/>
                  </a:lnTo>
                  <a:lnTo>
                    <a:pt x="1135" y="1064"/>
                  </a:lnTo>
                  <a:lnTo>
                    <a:pt x="1142" y="1014"/>
                  </a:lnTo>
                  <a:lnTo>
                    <a:pt x="1149" y="961"/>
                  </a:lnTo>
                  <a:lnTo>
                    <a:pt x="1155" y="905"/>
                  </a:lnTo>
                  <a:lnTo>
                    <a:pt x="1161" y="849"/>
                  </a:lnTo>
                  <a:lnTo>
                    <a:pt x="1168" y="768"/>
                  </a:lnTo>
                  <a:lnTo>
                    <a:pt x="1174" y="692"/>
                  </a:lnTo>
                  <a:lnTo>
                    <a:pt x="1186" y="561"/>
                  </a:lnTo>
                  <a:lnTo>
                    <a:pt x="1194" y="471"/>
                  </a:lnTo>
                  <a:lnTo>
                    <a:pt x="1198" y="438"/>
                  </a:lnTo>
                  <a:lnTo>
                    <a:pt x="1213" y="419"/>
                  </a:lnTo>
                  <a:lnTo>
                    <a:pt x="1222" y="409"/>
                  </a:lnTo>
                  <a:lnTo>
                    <a:pt x="1231" y="399"/>
                  </a:lnTo>
                  <a:lnTo>
                    <a:pt x="1253" y="377"/>
                  </a:lnTo>
                  <a:lnTo>
                    <a:pt x="1279" y="352"/>
                  </a:lnTo>
                  <a:lnTo>
                    <a:pt x="1294" y="339"/>
                  </a:lnTo>
                  <a:lnTo>
                    <a:pt x="1310" y="326"/>
                  </a:lnTo>
                  <a:lnTo>
                    <a:pt x="1343" y="298"/>
                  </a:lnTo>
                  <a:lnTo>
                    <a:pt x="1382" y="267"/>
                  </a:lnTo>
                  <a:lnTo>
                    <a:pt x="1403" y="251"/>
                  </a:lnTo>
                  <a:lnTo>
                    <a:pt x="1425" y="235"/>
                  </a:lnTo>
                  <a:lnTo>
                    <a:pt x="1426" y="235"/>
                  </a:lnTo>
                  <a:lnTo>
                    <a:pt x="1420" y="320"/>
                  </a:lnTo>
                  <a:lnTo>
                    <a:pt x="1414" y="367"/>
                  </a:lnTo>
                  <a:lnTo>
                    <a:pt x="1368" y="781"/>
                  </a:lnTo>
                  <a:lnTo>
                    <a:pt x="1364" y="825"/>
                  </a:lnTo>
                  <a:lnTo>
                    <a:pt x="1363" y="843"/>
                  </a:lnTo>
                  <a:lnTo>
                    <a:pt x="1363" y="856"/>
                  </a:lnTo>
                  <a:lnTo>
                    <a:pt x="1363" y="869"/>
                  </a:lnTo>
                  <a:lnTo>
                    <a:pt x="1364" y="877"/>
                  </a:lnTo>
                  <a:lnTo>
                    <a:pt x="1365" y="885"/>
                  </a:lnTo>
                  <a:lnTo>
                    <a:pt x="1367" y="894"/>
                  </a:lnTo>
                  <a:lnTo>
                    <a:pt x="1370" y="904"/>
                  </a:lnTo>
                  <a:lnTo>
                    <a:pt x="1371" y="909"/>
                  </a:lnTo>
                  <a:lnTo>
                    <a:pt x="1373" y="914"/>
                  </a:lnTo>
                  <a:lnTo>
                    <a:pt x="1378" y="923"/>
                  </a:lnTo>
                  <a:lnTo>
                    <a:pt x="1383" y="933"/>
                  </a:lnTo>
                  <a:lnTo>
                    <a:pt x="1389" y="942"/>
                  </a:lnTo>
                  <a:lnTo>
                    <a:pt x="1396" y="950"/>
                  </a:lnTo>
                  <a:lnTo>
                    <a:pt x="1401" y="955"/>
                  </a:lnTo>
                  <a:lnTo>
                    <a:pt x="1405" y="958"/>
                  </a:lnTo>
                  <a:lnTo>
                    <a:pt x="1410" y="962"/>
                  </a:lnTo>
                  <a:lnTo>
                    <a:pt x="1415" y="966"/>
                  </a:lnTo>
                  <a:lnTo>
                    <a:pt x="1421" y="969"/>
                  </a:lnTo>
                  <a:lnTo>
                    <a:pt x="1427" y="972"/>
                  </a:lnTo>
                  <a:lnTo>
                    <a:pt x="1433" y="974"/>
                  </a:lnTo>
                  <a:lnTo>
                    <a:pt x="1439" y="976"/>
                  </a:lnTo>
                  <a:lnTo>
                    <a:pt x="1447" y="978"/>
                  </a:lnTo>
                  <a:lnTo>
                    <a:pt x="1454" y="980"/>
                  </a:lnTo>
                  <a:lnTo>
                    <a:pt x="1464" y="981"/>
                  </a:lnTo>
                  <a:lnTo>
                    <a:pt x="1474" y="982"/>
                  </a:lnTo>
                  <a:lnTo>
                    <a:pt x="1484" y="982"/>
                  </a:lnTo>
                  <a:lnTo>
                    <a:pt x="1494" y="981"/>
                  </a:lnTo>
                  <a:lnTo>
                    <a:pt x="1503" y="980"/>
                  </a:lnTo>
                  <a:lnTo>
                    <a:pt x="1512" y="978"/>
                  </a:lnTo>
                  <a:lnTo>
                    <a:pt x="1520" y="976"/>
                  </a:lnTo>
                  <a:lnTo>
                    <a:pt x="1529" y="974"/>
                  </a:lnTo>
                  <a:lnTo>
                    <a:pt x="1536" y="971"/>
                  </a:lnTo>
                  <a:lnTo>
                    <a:pt x="1543" y="968"/>
                  </a:lnTo>
                  <a:lnTo>
                    <a:pt x="1556" y="963"/>
                  </a:lnTo>
                  <a:lnTo>
                    <a:pt x="1565" y="957"/>
                  </a:lnTo>
                  <a:lnTo>
                    <a:pt x="1572" y="952"/>
                  </a:lnTo>
                  <a:lnTo>
                    <a:pt x="1571" y="950"/>
                  </a:lnTo>
                  <a:lnTo>
                    <a:pt x="1571" y="947"/>
                  </a:lnTo>
                  <a:lnTo>
                    <a:pt x="1571" y="936"/>
                  </a:lnTo>
                  <a:lnTo>
                    <a:pt x="1571" y="922"/>
                  </a:lnTo>
                  <a:lnTo>
                    <a:pt x="1573" y="904"/>
                  </a:lnTo>
                  <a:lnTo>
                    <a:pt x="1575" y="883"/>
                  </a:lnTo>
                  <a:lnTo>
                    <a:pt x="1578" y="860"/>
                  </a:lnTo>
                  <a:lnTo>
                    <a:pt x="1584" y="810"/>
                  </a:lnTo>
                  <a:lnTo>
                    <a:pt x="1590" y="761"/>
                  </a:lnTo>
                  <a:lnTo>
                    <a:pt x="1596" y="719"/>
                  </a:lnTo>
                  <a:lnTo>
                    <a:pt x="1602" y="679"/>
                  </a:lnTo>
                  <a:lnTo>
                    <a:pt x="1604" y="661"/>
                  </a:lnTo>
                  <a:lnTo>
                    <a:pt x="1607" y="643"/>
                  </a:lnTo>
                  <a:lnTo>
                    <a:pt x="1611" y="625"/>
                  </a:lnTo>
                  <a:lnTo>
                    <a:pt x="1616" y="607"/>
                  </a:lnTo>
                  <a:lnTo>
                    <a:pt x="1621" y="589"/>
                  </a:lnTo>
                  <a:lnTo>
                    <a:pt x="1626" y="570"/>
                  </a:lnTo>
                  <a:lnTo>
                    <a:pt x="1633" y="552"/>
                  </a:lnTo>
                  <a:lnTo>
                    <a:pt x="1640" y="533"/>
                  </a:lnTo>
                  <a:lnTo>
                    <a:pt x="1648" y="514"/>
                  </a:lnTo>
                  <a:lnTo>
                    <a:pt x="1656" y="495"/>
                  </a:lnTo>
                  <a:lnTo>
                    <a:pt x="1665" y="476"/>
                  </a:lnTo>
                  <a:lnTo>
                    <a:pt x="1675" y="457"/>
                  </a:lnTo>
                  <a:lnTo>
                    <a:pt x="1686" y="438"/>
                  </a:lnTo>
                  <a:lnTo>
                    <a:pt x="1697" y="418"/>
                  </a:lnTo>
                  <a:lnTo>
                    <a:pt x="1709" y="398"/>
                  </a:lnTo>
                  <a:lnTo>
                    <a:pt x="1722" y="379"/>
                  </a:lnTo>
                  <a:lnTo>
                    <a:pt x="1737" y="355"/>
                  </a:lnTo>
                  <a:lnTo>
                    <a:pt x="1752" y="334"/>
                  </a:lnTo>
                  <a:lnTo>
                    <a:pt x="1766" y="315"/>
                  </a:lnTo>
                  <a:lnTo>
                    <a:pt x="1779" y="298"/>
                  </a:lnTo>
                  <a:lnTo>
                    <a:pt x="1792" y="283"/>
                  </a:lnTo>
                  <a:lnTo>
                    <a:pt x="1804" y="269"/>
                  </a:lnTo>
                  <a:lnTo>
                    <a:pt x="1814" y="258"/>
                  </a:lnTo>
                  <a:lnTo>
                    <a:pt x="1824" y="249"/>
                  </a:lnTo>
                  <a:lnTo>
                    <a:pt x="1833" y="241"/>
                  </a:lnTo>
                  <a:lnTo>
                    <a:pt x="1842" y="235"/>
                  </a:lnTo>
                  <a:lnTo>
                    <a:pt x="1846" y="233"/>
                  </a:lnTo>
                  <a:lnTo>
                    <a:pt x="1849" y="231"/>
                  </a:lnTo>
                  <a:lnTo>
                    <a:pt x="1856" y="228"/>
                  </a:lnTo>
                  <a:lnTo>
                    <a:pt x="1859" y="227"/>
                  </a:lnTo>
                  <a:lnTo>
                    <a:pt x="1861" y="227"/>
                  </a:lnTo>
                  <a:lnTo>
                    <a:pt x="1864" y="227"/>
                  </a:lnTo>
                  <a:lnTo>
                    <a:pt x="1866" y="227"/>
                  </a:lnTo>
                  <a:lnTo>
                    <a:pt x="1868" y="228"/>
                  </a:lnTo>
                  <a:lnTo>
                    <a:pt x="1870" y="229"/>
                  </a:lnTo>
                  <a:lnTo>
                    <a:pt x="1872" y="230"/>
                  </a:lnTo>
                  <a:lnTo>
                    <a:pt x="1873" y="232"/>
                  </a:lnTo>
                  <a:lnTo>
                    <a:pt x="1874" y="234"/>
                  </a:lnTo>
                  <a:lnTo>
                    <a:pt x="1875" y="237"/>
                  </a:lnTo>
                  <a:lnTo>
                    <a:pt x="1877" y="244"/>
                  </a:lnTo>
                  <a:lnTo>
                    <a:pt x="1877" y="248"/>
                  </a:lnTo>
                  <a:lnTo>
                    <a:pt x="1878" y="253"/>
                  </a:lnTo>
                  <a:lnTo>
                    <a:pt x="1878" y="263"/>
                  </a:lnTo>
                  <a:lnTo>
                    <a:pt x="1878" y="275"/>
                  </a:lnTo>
                  <a:lnTo>
                    <a:pt x="1878" y="287"/>
                  </a:lnTo>
                  <a:lnTo>
                    <a:pt x="1876" y="313"/>
                  </a:lnTo>
                  <a:lnTo>
                    <a:pt x="1874" y="338"/>
                  </a:lnTo>
                  <a:lnTo>
                    <a:pt x="1872" y="360"/>
                  </a:lnTo>
                  <a:lnTo>
                    <a:pt x="1870" y="380"/>
                  </a:lnTo>
                  <a:lnTo>
                    <a:pt x="1825" y="784"/>
                  </a:lnTo>
                  <a:lnTo>
                    <a:pt x="1823" y="811"/>
                  </a:lnTo>
                  <a:lnTo>
                    <a:pt x="1821" y="837"/>
                  </a:lnTo>
                  <a:lnTo>
                    <a:pt x="1820" y="856"/>
                  </a:lnTo>
                  <a:lnTo>
                    <a:pt x="1821" y="869"/>
                  </a:lnTo>
                  <a:lnTo>
                    <a:pt x="1821" y="877"/>
                  </a:lnTo>
                  <a:lnTo>
                    <a:pt x="1823" y="885"/>
                  </a:lnTo>
                  <a:lnTo>
                    <a:pt x="1825" y="894"/>
                  </a:lnTo>
                  <a:lnTo>
                    <a:pt x="1827" y="904"/>
                  </a:lnTo>
                  <a:lnTo>
                    <a:pt x="1829" y="909"/>
                  </a:lnTo>
                  <a:lnTo>
                    <a:pt x="1831" y="914"/>
                  </a:lnTo>
                  <a:lnTo>
                    <a:pt x="1835" y="923"/>
                  </a:lnTo>
                  <a:lnTo>
                    <a:pt x="1840" y="933"/>
                  </a:lnTo>
                  <a:lnTo>
                    <a:pt x="1846" y="942"/>
                  </a:lnTo>
                  <a:lnTo>
                    <a:pt x="1854" y="950"/>
                  </a:lnTo>
                  <a:lnTo>
                    <a:pt x="1858" y="955"/>
                  </a:lnTo>
                  <a:lnTo>
                    <a:pt x="1863" y="958"/>
                  </a:lnTo>
                  <a:lnTo>
                    <a:pt x="1867" y="962"/>
                  </a:lnTo>
                  <a:lnTo>
                    <a:pt x="1873" y="966"/>
                  </a:lnTo>
                  <a:lnTo>
                    <a:pt x="1878" y="969"/>
                  </a:lnTo>
                  <a:lnTo>
                    <a:pt x="1884" y="972"/>
                  </a:lnTo>
                  <a:lnTo>
                    <a:pt x="1890" y="974"/>
                  </a:lnTo>
                  <a:lnTo>
                    <a:pt x="1897" y="976"/>
                  </a:lnTo>
                  <a:lnTo>
                    <a:pt x="1904" y="978"/>
                  </a:lnTo>
                  <a:lnTo>
                    <a:pt x="1911" y="980"/>
                  </a:lnTo>
                  <a:lnTo>
                    <a:pt x="1922" y="981"/>
                  </a:lnTo>
                  <a:lnTo>
                    <a:pt x="1932" y="982"/>
                  </a:lnTo>
                  <a:lnTo>
                    <a:pt x="1943" y="982"/>
                  </a:lnTo>
                  <a:lnTo>
                    <a:pt x="1953" y="981"/>
                  </a:lnTo>
                  <a:lnTo>
                    <a:pt x="1963" y="979"/>
                  </a:lnTo>
                  <a:lnTo>
                    <a:pt x="1973" y="977"/>
                  </a:lnTo>
                  <a:lnTo>
                    <a:pt x="1982" y="975"/>
                  </a:lnTo>
                  <a:lnTo>
                    <a:pt x="1991" y="972"/>
                  </a:lnTo>
                  <a:lnTo>
                    <a:pt x="2007" y="966"/>
                  </a:lnTo>
                  <a:lnTo>
                    <a:pt x="2021" y="959"/>
                  </a:lnTo>
                  <a:lnTo>
                    <a:pt x="2032" y="953"/>
                  </a:lnTo>
                  <a:lnTo>
                    <a:pt x="2036" y="950"/>
                  </a:lnTo>
                  <a:lnTo>
                    <a:pt x="2040" y="947"/>
                  </a:lnTo>
                  <a:lnTo>
                    <a:pt x="2038" y="940"/>
                  </a:lnTo>
                  <a:lnTo>
                    <a:pt x="2038" y="928"/>
                  </a:lnTo>
                  <a:lnTo>
                    <a:pt x="2038" y="913"/>
                  </a:lnTo>
                  <a:lnTo>
                    <a:pt x="2039" y="895"/>
                  </a:lnTo>
                  <a:lnTo>
                    <a:pt x="2042" y="851"/>
                  </a:lnTo>
                  <a:lnTo>
                    <a:pt x="2047" y="804"/>
                  </a:lnTo>
                  <a:lnTo>
                    <a:pt x="2052" y="757"/>
                  </a:lnTo>
                  <a:lnTo>
                    <a:pt x="2056" y="717"/>
                  </a:lnTo>
                  <a:lnTo>
                    <a:pt x="2061" y="679"/>
                  </a:lnTo>
                  <a:lnTo>
                    <a:pt x="2063" y="661"/>
                  </a:lnTo>
                  <a:lnTo>
                    <a:pt x="2066" y="643"/>
                  </a:lnTo>
                  <a:lnTo>
                    <a:pt x="2070" y="625"/>
                  </a:lnTo>
                  <a:lnTo>
                    <a:pt x="2074" y="607"/>
                  </a:lnTo>
                  <a:lnTo>
                    <a:pt x="2080" y="589"/>
                  </a:lnTo>
                  <a:lnTo>
                    <a:pt x="2085" y="571"/>
                  </a:lnTo>
                  <a:lnTo>
                    <a:pt x="2092" y="552"/>
                  </a:lnTo>
                  <a:lnTo>
                    <a:pt x="2099" y="533"/>
                  </a:lnTo>
                  <a:lnTo>
                    <a:pt x="2107" y="515"/>
                  </a:lnTo>
                  <a:lnTo>
                    <a:pt x="2116" y="496"/>
                  </a:lnTo>
                  <a:lnTo>
                    <a:pt x="2125" y="476"/>
                  </a:lnTo>
                  <a:lnTo>
                    <a:pt x="2135" y="457"/>
                  </a:lnTo>
                  <a:lnTo>
                    <a:pt x="2146" y="438"/>
                  </a:lnTo>
                  <a:lnTo>
                    <a:pt x="2158" y="418"/>
                  </a:lnTo>
                  <a:lnTo>
                    <a:pt x="2170" y="399"/>
                  </a:lnTo>
                  <a:lnTo>
                    <a:pt x="2182" y="379"/>
                  </a:lnTo>
                  <a:lnTo>
                    <a:pt x="2198" y="356"/>
                  </a:lnTo>
                  <a:lnTo>
                    <a:pt x="2213" y="335"/>
                  </a:lnTo>
                  <a:lnTo>
                    <a:pt x="2228" y="316"/>
                  </a:lnTo>
                  <a:lnTo>
                    <a:pt x="2241" y="299"/>
                  </a:lnTo>
                  <a:lnTo>
                    <a:pt x="2254" y="284"/>
                  </a:lnTo>
                  <a:lnTo>
                    <a:pt x="2266" y="271"/>
                  </a:lnTo>
                  <a:lnTo>
                    <a:pt x="2276" y="260"/>
                  </a:lnTo>
                  <a:lnTo>
                    <a:pt x="2287" y="251"/>
                  </a:lnTo>
                  <a:lnTo>
                    <a:pt x="2296" y="244"/>
                  </a:lnTo>
                  <a:lnTo>
                    <a:pt x="2305" y="238"/>
                  </a:lnTo>
                  <a:lnTo>
                    <a:pt x="2308" y="235"/>
                  </a:lnTo>
                  <a:lnTo>
                    <a:pt x="2312" y="233"/>
                  </a:lnTo>
                  <a:lnTo>
                    <a:pt x="2319" y="231"/>
                  </a:lnTo>
                  <a:lnTo>
                    <a:pt x="2325" y="229"/>
                  </a:lnTo>
                  <a:lnTo>
                    <a:pt x="2330" y="229"/>
                  </a:lnTo>
                  <a:lnTo>
                    <a:pt x="2335" y="230"/>
                  </a:lnTo>
                  <a:lnTo>
                    <a:pt x="2337" y="231"/>
                  </a:lnTo>
                  <a:lnTo>
                    <a:pt x="2338" y="232"/>
                  </a:lnTo>
                  <a:lnTo>
                    <a:pt x="2340" y="234"/>
                  </a:lnTo>
                  <a:lnTo>
                    <a:pt x="2341" y="236"/>
                  </a:lnTo>
                  <a:lnTo>
                    <a:pt x="2342" y="240"/>
                  </a:lnTo>
                  <a:lnTo>
                    <a:pt x="2342" y="244"/>
                  </a:lnTo>
                  <a:lnTo>
                    <a:pt x="2343" y="254"/>
                  </a:lnTo>
                  <a:lnTo>
                    <a:pt x="2343" y="267"/>
                  </a:lnTo>
                  <a:lnTo>
                    <a:pt x="2342" y="281"/>
                  </a:lnTo>
                  <a:lnTo>
                    <a:pt x="2341" y="297"/>
                  </a:lnTo>
                  <a:lnTo>
                    <a:pt x="2338" y="330"/>
                  </a:lnTo>
                  <a:lnTo>
                    <a:pt x="2334" y="363"/>
                  </a:lnTo>
                  <a:lnTo>
                    <a:pt x="2330" y="391"/>
                  </a:lnTo>
                  <a:lnTo>
                    <a:pt x="2326" y="418"/>
                  </a:lnTo>
                  <a:lnTo>
                    <a:pt x="2293" y="634"/>
                  </a:lnTo>
                  <a:lnTo>
                    <a:pt x="2289" y="668"/>
                  </a:lnTo>
                  <a:lnTo>
                    <a:pt x="2284" y="700"/>
                  </a:lnTo>
                  <a:lnTo>
                    <a:pt x="2281" y="729"/>
                  </a:lnTo>
                  <a:lnTo>
                    <a:pt x="2278" y="756"/>
                  </a:lnTo>
                  <a:lnTo>
                    <a:pt x="2276" y="780"/>
                  </a:lnTo>
                  <a:lnTo>
                    <a:pt x="2274" y="803"/>
                  </a:lnTo>
                  <a:lnTo>
                    <a:pt x="2273" y="823"/>
                  </a:lnTo>
                  <a:lnTo>
                    <a:pt x="2273" y="841"/>
                  </a:lnTo>
                  <a:lnTo>
                    <a:pt x="2273" y="854"/>
                  </a:lnTo>
                  <a:lnTo>
                    <a:pt x="2274" y="866"/>
                  </a:lnTo>
                  <a:lnTo>
                    <a:pt x="2275" y="877"/>
                  </a:lnTo>
                  <a:lnTo>
                    <a:pt x="2277" y="888"/>
                  </a:lnTo>
                  <a:lnTo>
                    <a:pt x="2279" y="898"/>
                  </a:lnTo>
                  <a:lnTo>
                    <a:pt x="2282" y="907"/>
                  </a:lnTo>
                  <a:lnTo>
                    <a:pt x="2288" y="923"/>
                  </a:lnTo>
                  <a:lnTo>
                    <a:pt x="2292" y="931"/>
                  </a:lnTo>
                  <a:lnTo>
                    <a:pt x="2296" y="938"/>
                  </a:lnTo>
                  <a:lnTo>
                    <a:pt x="2300" y="944"/>
                  </a:lnTo>
                  <a:lnTo>
                    <a:pt x="2305" y="950"/>
                  </a:lnTo>
                  <a:lnTo>
                    <a:pt x="2307" y="953"/>
                  </a:lnTo>
                  <a:lnTo>
                    <a:pt x="2309" y="955"/>
                  </a:lnTo>
                  <a:lnTo>
                    <a:pt x="2314" y="960"/>
                  </a:lnTo>
                  <a:lnTo>
                    <a:pt x="2324" y="969"/>
                  </a:lnTo>
                  <a:lnTo>
                    <a:pt x="2335" y="975"/>
                  </a:lnTo>
                  <a:lnTo>
                    <a:pt x="2345" y="981"/>
                  </a:lnTo>
                  <a:lnTo>
                    <a:pt x="2356" y="985"/>
                  </a:lnTo>
                  <a:lnTo>
                    <a:pt x="2366" y="988"/>
                  </a:lnTo>
                  <a:lnTo>
                    <a:pt x="2375" y="989"/>
                  </a:lnTo>
                  <a:lnTo>
                    <a:pt x="2384" y="991"/>
                  </a:lnTo>
                  <a:lnTo>
                    <a:pt x="2398" y="991"/>
                  </a:lnTo>
                  <a:lnTo>
                    <a:pt x="2408" y="991"/>
                  </a:lnTo>
                  <a:lnTo>
                    <a:pt x="2418" y="990"/>
                  </a:lnTo>
                  <a:lnTo>
                    <a:pt x="2429" y="988"/>
                  </a:lnTo>
                  <a:lnTo>
                    <a:pt x="2439" y="985"/>
                  </a:lnTo>
                  <a:lnTo>
                    <a:pt x="2450" y="981"/>
                  </a:lnTo>
                  <a:lnTo>
                    <a:pt x="2462" y="977"/>
                  </a:lnTo>
                  <a:lnTo>
                    <a:pt x="2473" y="971"/>
                  </a:lnTo>
                  <a:lnTo>
                    <a:pt x="2485" y="965"/>
                  </a:lnTo>
                  <a:lnTo>
                    <a:pt x="2497" y="958"/>
                  </a:lnTo>
                  <a:lnTo>
                    <a:pt x="2509" y="950"/>
                  </a:lnTo>
                  <a:lnTo>
                    <a:pt x="2522" y="941"/>
                  </a:lnTo>
                  <a:lnTo>
                    <a:pt x="2535" y="931"/>
                  </a:lnTo>
                  <a:lnTo>
                    <a:pt x="2548" y="921"/>
                  </a:lnTo>
                  <a:lnTo>
                    <a:pt x="2562" y="909"/>
                  </a:lnTo>
                  <a:lnTo>
                    <a:pt x="2576" y="897"/>
                  </a:lnTo>
                  <a:lnTo>
                    <a:pt x="2590" y="883"/>
                  </a:lnTo>
                  <a:lnTo>
                    <a:pt x="2606" y="868"/>
                  </a:lnTo>
                  <a:lnTo>
                    <a:pt x="2620" y="854"/>
                  </a:lnTo>
                  <a:lnTo>
                    <a:pt x="2622" y="865"/>
                  </a:lnTo>
                  <a:lnTo>
                    <a:pt x="2626" y="875"/>
                  </a:lnTo>
                  <a:lnTo>
                    <a:pt x="2629" y="884"/>
                  </a:lnTo>
                  <a:lnTo>
                    <a:pt x="2633" y="893"/>
                  </a:lnTo>
                  <a:lnTo>
                    <a:pt x="2637" y="902"/>
                  </a:lnTo>
                  <a:lnTo>
                    <a:pt x="2641" y="910"/>
                  </a:lnTo>
                  <a:lnTo>
                    <a:pt x="2645" y="918"/>
                  </a:lnTo>
                  <a:lnTo>
                    <a:pt x="2650" y="925"/>
                  </a:lnTo>
                  <a:lnTo>
                    <a:pt x="2654" y="931"/>
                  </a:lnTo>
                  <a:lnTo>
                    <a:pt x="2659" y="938"/>
                  </a:lnTo>
                  <a:lnTo>
                    <a:pt x="2664" y="943"/>
                  </a:lnTo>
                  <a:lnTo>
                    <a:pt x="2669" y="949"/>
                  </a:lnTo>
                  <a:lnTo>
                    <a:pt x="2675" y="954"/>
                  </a:lnTo>
                  <a:lnTo>
                    <a:pt x="2680" y="958"/>
                  </a:lnTo>
                  <a:lnTo>
                    <a:pt x="2686" y="963"/>
                  </a:lnTo>
                  <a:lnTo>
                    <a:pt x="2691" y="966"/>
                  </a:lnTo>
                  <a:lnTo>
                    <a:pt x="2702" y="973"/>
                  </a:lnTo>
                  <a:lnTo>
                    <a:pt x="2714" y="979"/>
                  </a:lnTo>
                  <a:lnTo>
                    <a:pt x="2719" y="981"/>
                  </a:lnTo>
                  <a:lnTo>
                    <a:pt x="2725" y="983"/>
                  </a:lnTo>
                  <a:lnTo>
                    <a:pt x="2737" y="986"/>
                  </a:lnTo>
                  <a:lnTo>
                    <a:pt x="2748" y="989"/>
                  </a:lnTo>
                  <a:lnTo>
                    <a:pt x="2759" y="990"/>
                  </a:lnTo>
                  <a:lnTo>
                    <a:pt x="2770" y="991"/>
                  </a:lnTo>
                  <a:lnTo>
                    <a:pt x="2779" y="991"/>
                  </a:lnTo>
                  <a:lnTo>
                    <a:pt x="2793" y="991"/>
                  </a:lnTo>
                  <a:lnTo>
                    <a:pt x="2807" y="990"/>
                  </a:lnTo>
                  <a:lnTo>
                    <a:pt x="2821" y="987"/>
                  </a:lnTo>
                  <a:lnTo>
                    <a:pt x="2835" y="984"/>
                  </a:lnTo>
                  <a:lnTo>
                    <a:pt x="2850" y="980"/>
                  </a:lnTo>
                  <a:lnTo>
                    <a:pt x="2864" y="975"/>
                  </a:lnTo>
                  <a:lnTo>
                    <a:pt x="2879" y="969"/>
                  </a:lnTo>
                  <a:lnTo>
                    <a:pt x="2894" y="962"/>
                  </a:lnTo>
                  <a:lnTo>
                    <a:pt x="2909" y="954"/>
                  </a:lnTo>
                  <a:lnTo>
                    <a:pt x="2925" y="946"/>
                  </a:lnTo>
                  <a:lnTo>
                    <a:pt x="2940" y="936"/>
                  </a:lnTo>
                  <a:lnTo>
                    <a:pt x="2956" y="925"/>
                  </a:lnTo>
                  <a:lnTo>
                    <a:pt x="2973" y="914"/>
                  </a:lnTo>
                  <a:lnTo>
                    <a:pt x="2989" y="901"/>
                  </a:lnTo>
                  <a:lnTo>
                    <a:pt x="3006" y="888"/>
                  </a:lnTo>
                  <a:lnTo>
                    <a:pt x="3023" y="873"/>
                  </a:lnTo>
                  <a:lnTo>
                    <a:pt x="3038" y="860"/>
                  </a:lnTo>
                  <a:lnTo>
                    <a:pt x="3053" y="846"/>
                  </a:lnTo>
                  <a:lnTo>
                    <a:pt x="3067" y="832"/>
                  </a:lnTo>
                  <a:lnTo>
                    <a:pt x="3082" y="817"/>
                  </a:lnTo>
                  <a:lnTo>
                    <a:pt x="3096" y="801"/>
                  </a:lnTo>
                  <a:lnTo>
                    <a:pt x="3111" y="786"/>
                  </a:lnTo>
                  <a:lnTo>
                    <a:pt x="3125" y="769"/>
                  </a:lnTo>
                  <a:lnTo>
                    <a:pt x="3139" y="753"/>
                  </a:lnTo>
                  <a:lnTo>
                    <a:pt x="3136" y="775"/>
                  </a:lnTo>
                  <a:lnTo>
                    <a:pt x="3130" y="856"/>
                  </a:lnTo>
                  <a:lnTo>
                    <a:pt x="3130" y="867"/>
                  </a:lnTo>
                  <a:lnTo>
                    <a:pt x="3131" y="878"/>
                  </a:lnTo>
                  <a:lnTo>
                    <a:pt x="3132" y="888"/>
                  </a:lnTo>
                  <a:lnTo>
                    <a:pt x="3133" y="898"/>
                  </a:lnTo>
                  <a:lnTo>
                    <a:pt x="3135" y="907"/>
                  </a:lnTo>
                  <a:lnTo>
                    <a:pt x="3138" y="915"/>
                  </a:lnTo>
                  <a:lnTo>
                    <a:pt x="3140" y="923"/>
                  </a:lnTo>
                  <a:lnTo>
                    <a:pt x="3144" y="930"/>
                  </a:lnTo>
                  <a:lnTo>
                    <a:pt x="3147" y="937"/>
                  </a:lnTo>
                  <a:lnTo>
                    <a:pt x="3150" y="943"/>
                  </a:lnTo>
                  <a:lnTo>
                    <a:pt x="3154" y="949"/>
                  </a:lnTo>
                  <a:lnTo>
                    <a:pt x="3158" y="954"/>
                  </a:lnTo>
                  <a:lnTo>
                    <a:pt x="3163" y="959"/>
                  </a:lnTo>
                  <a:lnTo>
                    <a:pt x="3167" y="963"/>
                  </a:lnTo>
                  <a:lnTo>
                    <a:pt x="3172" y="967"/>
                  </a:lnTo>
                  <a:lnTo>
                    <a:pt x="3176" y="971"/>
                  </a:lnTo>
                  <a:lnTo>
                    <a:pt x="3186" y="977"/>
                  </a:lnTo>
                  <a:lnTo>
                    <a:pt x="3195" y="982"/>
                  </a:lnTo>
                  <a:lnTo>
                    <a:pt x="3200" y="984"/>
                  </a:lnTo>
                  <a:lnTo>
                    <a:pt x="3205" y="985"/>
                  </a:lnTo>
                  <a:lnTo>
                    <a:pt x="3209" y="987"/>
                  </a:lnTo>
                  <a:lnTo>
                    <a:pt x="3214" y="988"/>
                  </a:lnTo>
                  <a:lnTo>
                    <a:pt x="3223" y="990"/>
                  </a:lnTo>
                  <a:lnTo>
                    <a:pt x="3230" y="991"/>
                  </a:lnTo>
                  <a:lnTo>
                    <a:pt x="3243" y="991"/>
                  </a:lnTo>
                  <a:lnTo>
                    <a:pt x="3257" y="991"/>
                  </a:lnTo>
                  <a:lnTo>
                    <a:pt x="3272" y="989"/>
                  </a:lnTo>
                  <a:lnTo>
                    <a:pt x="3279" y="987"/>
                  </a:lnTo>
                  <a:lnTo>
                    <a:pt x="3286" y="985"/>
                  </a:lnTo>
                  <a:lnTo>
                    <a:pt x="3293" y="983"/>
                  </a:lnTo>
                  <a:lnTo>
                    <a:pt x="3300" y="980"/>
                  </a:lnTo>
                  <a:lnTo>
                    <a:pt x="3314" y="974"/>
                  </a:lnTo>
                  <a:lnTo>
                    <a:pt x="3321" y="971"/>
                  </a:lnTo>
                  <a:lnTo>
                    <a:pt x="3328" y="967"/>
                  </a:lnTo>
                  <a:lnTo>
                    <a:pt x="3335" y="963"/>
                  </a:lnTo>
                  <a:lnTo>
                    <a:pt x="3342" y="959"/>
                  </a:lnTo>
                  <a:lnTo>
                    <a:pt x="3357" y="949"/>
                  </a:lnTo>
                  <a:lnTo>
                    <a:pt x="3356" y="948"/>
                  </a:lnTo>
                  <a:lnTo>
                    <a:pt x="3354" y="946"/>
                  </a:lnTo>
                  <a:lnTo>
                    <a:pt x="3353" y="944"/>
                  </a:lnTo>
                  <a:lnTo>
                    <a:pt x="3352" y="940"/>
                  </a:lnTo>
                  <a:lnTo>
                    <a:pt x="3351" y="936"/>
                  </a:lnTo>
                  <a:lnTo>
                    <a:pt x="3350" y="924"/>
                  </a:lnTo>
                  <a:lnTo>
                    <a:pt x="3350" y="908"/>
                  </a:lnTo>
                  <a:lnTo>
                    <a:pt x="3351" y="889"/>
                  </a:lnTo>
                  <a:lnTo>
                    <a:pt x="3352" y="866"/>
                  </a:lnTo>
                  <a:lnTo>
                    <a:pt x="3357" y="813"/>
                  </a:lnTo>
                  <a:lnTo>
                    <a:pt x="3361" y="783"/>
                  </a:lnTo>
                  <a:lnTo>
                    <a:pt x="3365" y="751"/>
                  </a:lnTo>
                  <a:lnTo>
                    <a:pt x="3374" y="682"/>
                  </a:lnTo>
                  <a:lnTo>
                    <a:pt x="3384" y="608"/>
                  </a:lnTo>
                  <a:lnTo>
                    <a:pt x="3395" y="532"/>
                  </a:lnTo>
                  <a:lnTo>
                    <a:pt x="3419" y="383"/>
                  </a:lnTo>
                  <a:lnTo>
                    <a:pt x="3440" y="254"/>
                  </a:lnTo>
                  <a:lnTo>
                    <a:pt x="3461" y="128"/>
                  </a:lnTo>
                  <a:lnTo>
                    <a:pt x="3462" y="127"/>
                  </a:lnTo>
                  <a:lnTo>
                    <a:pt x="3462" y="122"/>
                  </a:lnTo>
                  <a:lnTo>
                    <a:pt x="3463" y="118"/>
                  </a:lnTo>
                  <a:lnTo>
                    <a:pt x="3463" y="110"/>
                  </a:lnTo>
                  <a:lnTo>
                    <a:pt x="3462" y="106"/>
                  </a:lnTo>
                  <a:lnTo>
                    <a:pt x="3461" y="102"/>
                  </a:lnTo>
                  <a:lnTo>
                    <a:pt x="3461" y="98"/>
                  </a:lnTo>
                  <a:lnTo>
                    <a:pt x="3459" y="95"/>
                  </a:lnTo>
                  <a:lnTo>
                    <a:pt x="3456" y="88"/>
                  </a:lnTo>
                  <a:lnTo>
                    <a:pt x="3452" y="82"/>
                  </a:lnTo>
                  <a:lnTo>
                    <a:pt x="3447" y="76"/>
                  </a:lnTo>
                  <a:lnTo>
                    <a:pt x="3441" y="70"/>
                  </a:lnTo>
                  <a:lnTo>
                    <a:pt x="3435" y="65"/>
                  </a:lnTo>
                  <a:lnTo>
                    <a:pt x="3432" y="63"/>
                  </a:lnTo>
                  <a:lnTo>
                    <a:pt x="3428" y="61"/>
                  </a:lnTo>
                  <a:lnTo>
                    <a:pt x="3420" y="57"/>
                  </a:lnTo>
                  <a:lnTo>
                    <a:pt x="3412" y="53"/>
                  </a:lnTo>
                  <a:lnTo>
                    <a:pt x="3404" y="49"/>
                  </a:lnTo>
                  <a:lnTo>
                    <a:pt x="3395" y="46"/>
                  </a:lnTo>
                  <a:lnTo>
                    <a:pt x="3376" y="41"/>
                  </a:lnTo>
                  <a:lnTo>
                    <a:pt x="3357" y="36"/>
                  </a:lnTo>
                  <a:lnTo>
                    <a:pt x="3337" y="33"/>
                  </a:lnTo>
                  <a:lnTo>
                    <a:pt x="3317" y="30"/>
                  </a:lnTo>
                  <a:lnTo>
                    <a:pt x="3299" y="29"/>
                  </a:lnTo>
                  <a:lnTo>
                    <a:pt x="3282" y="28"/>
                  </a:lnTo>
                  <a:lnTo>
                    <a:pt x="3267" y="27"/>
                  </a:lnTo>
                  <a:lnTo>
                    <a:pt x="3244" y="27"/>
                  </a:lnTo>
                  <a:close/>
                  <a:moveTo>
                    <a:pt x="929" y="821"/>
                  </a:moveTo>
                  <a:lnTo>
                    <a:pt x="923" y="888"/>
                  </a:lnTo>
                  <a:lnTo>
                    <a:pt x="917" y="950"/>
                  </a:lnTo>
                  <a:lnTo>
                    <a:pt x="910" y="1009"/>
                  </a:lnTo>
                  <a:lnTo>
                    <a:pt x="904" y="1063"/>
                  </a:lnTo>
                  <a:lnTo>
                    <a:pt x="897" y="1114"/>
                  </a:lnTo>
                  <a:lnTo>
                    <a:pt x="890" y="1160"/>
                  </a:lnTo>
                  <a:lnTo>
                    <a:pt x="882" y="1202"/>
                  </a:lnTo>
                  <a:lnTo>
                    <a:pt x="875" y="1240"/>
                  </a:lnTo>
                  <a:lnTo>
                    <a:pt x="868" y="1275"/>
                  </a:lnTo>
                  <a:lnTo>
                    <a:pt x="861" y="1306"/>
                  </a:lnTo>
                  <a:lnTo>
                    <a:pt x="854" y="1333"/>
                  </a:lnTo>
                  <a:lnTo>
                    <a:pt x="847" y="1357"/>
                  </a:lnTo>
                  <a:lnTo>
                    <a:pt x="843" y="1368"/>
                  </a:lnTo>
                  <a:lnTo>
                    <a:pt x="840" y="1378"/>
                  </a:lnTo>
                  <a:lnTo>
                    <a:pt x="833" y="1395"/>
                  </a:lnTo>
                  <a:lnTo>
                    <a:pt x="830" y="1403"/>
                  </a:lnTo>
                  <a:lnTo>
                    <a:pt x="826" y="1410"/>
                  </a:lnTo>
                  <a:lnTo>
                    <a:pt x="823" y="1415"/>
                  </a:lnTo>
                  <a:lnTo>
                    <a:pt x="820" y="1421"/>
                  </a:lnTo>
                  <a:lnTo>
                    <a:pt x="809" y="1437"/>
                  </a:lnTo>
                  <a:lnTo>
                    <a:pt x="798" y="1452"/>
                  </a:lnTo>
                  <a:lnTo>
                    <a:pt x="791" y="1460"/>
                  </a:lnTo>
                  <a:lnTo>
                    <a:pt x="785" y="1467"/>
                  </a:lnTo>
                  <a:lnTo>
                    <a:pt x="779" y="1473"/>
                  </a:lnTo>
                  <a:lnTo>
                    <a:pt x="773" y="1480"/>
                  </a:lnTo>
                  <a:lnTo>
                    <a:pt x="766" y="1486"/>
                  </a:lnTo>
                  <a:lnTo>
                    <a:pt x="760" y="1492"/>
                  </a:lnTo>
                  <a:lnTo>
                    <a:pt x="746" y="1503"/>
                  </a:lnTo>
                  <a:lnTo>
                    <a:pt x="732" y="1513"/>
                  </a:lnTo>
                  <a:lnTo>
                    <a:pt x="724" y="1517"/>
                  </a:lnTo>
                  <a:lnTo>
                    <a:pt x="717" y="1522"/>
                  </a:lnTo>
                  <a:lnTo>
                    <a:pt x="701" y="1529"/>
                  </a:lnTo>
                  <a:lnTo>
                    <a:pt x="694" y="1533"/>
                  </a:lnTo>
                  <a:lnTo>
                    <a:pt x="686" y="1536"/>
                  </a:lnTo>
                  <a:lnTo>
                    <a:pt x="669" y="1542"/>
                  </a:lnTo>
                  <a:lnTo>
                    <a:pt x="661" y="1544"/>
                  </a:lnTo>
                  <a:lnTo>
                    <a:pt x="652" y="1546"/>
                  </a:lnTo>
                  <a:lnTo>
                    <a:pt x="635" y="1550"/>
                  </a:lnTo>
                  <a:lnTo>
                    <a:pt x="616" y="1552"/>
                  </a:lnTo>
                  <a:lnTo>
                    <a:pt x="598" y="1554"/>
                  </a:lnTo>
                  <a:lnTo>
                    <a:pt x="578" y="1554"/>
                  </a:lnTo>
                  <a:lnTo>
                    <a:pt x="565" y="1554"/>
                  </a:lnTo>
                  <a:lnTo>
                    <a:pt x="549" y="1552"/>
                  </a:lnTo>
                  <a:lnTo>
                    <a:pt x="541" y="1550"/>
                  </a:lnTo>
                  <a:lnTo>
                    <a:pt x="533" y="1548"/>
                  </a:lnTo>
                  <a:lnTo>
                    <a:pt x="515" y="1543"/>
                  </a:lnTo>
                  <a:lnTo>
                    <a:pt x="506" y="1540"/>
                  </a:lnTo>
                  <a:lnTo>
                    <a:pt x="496" y="1536"/>
                  </a:lnTo>
                  <a:lnTo>
                    <a:pt x="478" y="1527"/>
                  </a:lnTo>
                  <a:lnTo>
                    <a:pt x="468" y="1522"/>
                  </a:lnTo>
                  <a:lnTo>
                    <a:pt x="459" y="1516"/>
                  </a:lnTo>
                  <a:lnTo>
                    <a:pt x="450" y="1509"/>
                  </a:lnTo>
                  <a:lnTo>
                    <a:pt x="441" y="1503"/>
                  </a:lnTo>
                  <a:lnTo>
                    <a:pt x="432" y="1495"/>
                  </a:lnTo>
                  <a:lnTo>
                    <a:pt x="423" y="1487"/>
                  </a:lnTo>
                  <a:lnTo>
                    <a:pt x="415" y="1478"/>
                  </a:lnTo>
                  <a:lnTo>
                    <a:pt x="407" y="1469"/>
                  </a:lnTo>
                  <a:lnTo>
                    <a:pt x="399" y="1459"/>
                  </a:lnTo>
                  <a:lnTo>
                    <a:pt x="392" y="1448"/>
                  </a:lnTo>
                  <a:lnTo>
                    <a:pt x="385" y="1436"/>
                  </a:lnTo>
                  <a:lnTo>
                    <a:pt x="379" y="1424"/>
                  </a:lnTo>
                  <a:lnTo>
                    <a:pt x="373" y="1411"/>
                  </a:lnTo>
                  <a:lnTo>
                    <a:pt x="368" y="1398"/>
                  </a:lnTo>
                  <a:lnTo>
                    <a:pt x="364" y="1383"/>
                  </a:lnTo>
                  <a:lnTo>
                    <a:pt x="360" y="1368"/>
                  </a:lnTo>
                  <a:lnTo>
                    <a:pt x="357" y="1352"/>
                  </a:lnTo>
                  <a:lnTo>
                    <a:pt x="355" y="1335"/>
                  </a:lnTo>
                  <a:lnTo>
                    <a:pt x="353" y="1317"/>
                  </a:lnTo>
                  <a:lnTo>
                    <a:pt x="353" y="1299"/>
                  </a:lnTo>
                  <a:lnTo>
                    <a:pt x="354" y="1281"/>
                  </a:lnTo>
                  <a:lnTo>
                    <a:pt x="356" y="1264"/>
                  </a:lnTo>
                  <a:lnTo>
                    <a:pt x="360" y="1246"/>
                  </a:lnTo>
                  <a:lnTo>
                    <a:pt x="365" y="1227"/>
                  </a:lnTo>
                  <a:lnTo>
                    <a:pt x="372" y="1209"/>
                  </a:lnTo>
                  <a:lnTo>
                    <a:pt x="380" y="1189"/>
                  </a:lnTo>
                  <a:lnTo>
                    <a:pt x="390" y="1170"/>
                  </a:lnTo>
                  <a:lnTo>
                    <a:pt x="401" y="1150"/>
                  </a:lnTo>
                  <a:lnTo>
                    <a:pt x="414" y="1130"/>
                  </a:lnTo>
                  <a:lnTo>
                    <a:pt x="428" y="1109"/>
                  </a:lnTo>
                  <a:lnTo>
                    <a:pt x="444" y="1088"/>
                  </a:lnTo>
                  <a:lnTo>
                    <a:pt x="452" y="1077"/>
                  </a:lnTo>
                  <a:lnTo>
                    <a:pt x="461" y="1066"/>
                  </a:lnTo>
                  <a:lnTo>
                    <a:pt x="470" y="1055"/>
                  </a:lnTo>
                  <a:lnTo>
                    <a:pt x="479" y="1044"/>
                  </a:lnTo>
                  <a:lnTo>
                    <a:pt x="499" y="1022"/>
                  </a:lnTo>
                  <a:lnTo>
                    <a:pt x="520" y="1000"/>
                  </a:lnTo>
                  <a:lnTo>
                    <a:pt x="542" y="977"/>
                  </a:lnTo>
                  <a:lnTo>
                    <a:pt x="551" y="978"/>
                  </a:lnTo>
                  <a:lnTo>
                    <a:pt x="573" y="977"/>
                  </a:lnTo>
                  <a:lnTo>
                    <a:pt x="585" y="976"/>
                  </a:lnTo>
                  <a:lnTo>
                    <a:pt x="596" y="974"/>
                  </a:lnTo>
                  <a:lnTo>
                    <a:pt x="608" y="972"/>
                  </a:lnTo>
                  <a:lnTo>
                    <a:pt x="619" y="970"/>
                  </a:lnTo>
                  <a:lnTo>
                    <a:pt x="643" y="963"/>
                  </a:lnTo>
                  <a:lnTo>
                    <a:pt x="654" y="959"/>
                  </a:lnTo>
                  <a:lnTo>
                    <a:pt x="666" y="954"/>
                  </a:lnTo>
                  <a:lnTo>
                    <a:pt x="678" y="949"/>
                  </a:lnTo>
                  <a:lnTo>
                    <a:pt x="690" y="944"/>
                  </a:lnTo>
                  <a:lnTo>
                    <a:pt x="702" y="937"/>
                  </a:lnTo>
                  <a:lnTo>
                    <a:pt x="714" y="931"/>
                  </a:lnTo>
                  <a:lnTo>
                    <a:pt x="726" y="924"/>
                  </a:lnTo>
                  <a:lnTo>
                    <a:pt x="738" y="916"/>
                  </a:lnTo>
                  <a:lnTo>
                    <a:pt x="762" y="900"/>
                  </a:lnTo>
                  <a:lnTo>
                    <a:pt x="786" y="881"/>
                  </a:lnTo>
                  <a:lnTo>
                    <a:pt x="799" y="871"/>
                  </a:lnTo>
                  <a:lnTo>
                    <a:pt x="811" y="861"/>
                  </a:lnTo>
                  <a:lnTo>
                    <a:pt x="836" y="839"/>
                  </a:lnTo>
                  <a:lnTo>
                    <a:pt x="861" y="814"/>
                  </a:lnTo>
                  <a:lnTo>
                    <a:pt x="886" y="788"/>
                  </a:lnTo>
                  <a:lnTo>
                    <a:pt x="899" y="774"/>
                  </a:lnTo>
                  <a:lnTo>
                    <a:pt x="912" y="760"/>
                  </a:lnTo>
                  <a:lnTo>
                    <a:pt x="925" y="745"/>
                  </a:lnTo>
                  <a:lnTo>
                    <a:pt x="938" y="729"/>
                  </a:lnTo>
                  <a:lnTo>
                    <a:pt x="929" y="821"/>
                  </a:lnTo>
                  <a:close/>
                  <a:moveTo>
                    <a:pt x="987" y="304"/>
                  </a:moveTo>
                  <a:lnTo>
                    <a:pt x="986" y="316"/>
                  </a:lnTo>
                  <a:lnTo>
                    <a:pt x="984" y="328"/>
                  </a:lnTo>
                  <a:lnTo>
                    <a:pt x="979" y="352"/>
                  </a:lnTo>
                  <a:lnTo>
                    <a:pt x="973" y="376"/>
                  </a:lnTo>
                  <a:lnTo>
                    <a:pt x="967" y="399"/>
                  </a:lnTo>
                  <a:lnTo>
                    <a:pt x="959" y="423"/>
                  </a:lnTo>
                  <a:lnTo>
                    <a:pt x="950" y="445"/>
                  </a:lnTo>
                  <a:lnTo>
                    <a:pt x="941" y="468"/>
                  </a:lnTo>
                  <a:lnTo>
                    <a:pt x="930" y="490"/>
                  </a:lnTo>
                  <a:lnTo>
                    <a:pt x="924" y="501"/>
                  </a:lnTo>
                  <a:lnTo>
                    <a:pt x="918" y="512"/>
                  </a:lnTo>
                  <a:lnTo>
                    <a:pt x="906" y="534"/>
                  </a:lnTo>
                  <a:lnTo>
                    <a:pt x="899" y="544"/>
                  </a:lnTo>
                  <a:lnTo>
                    <a:pt x="892" y="555"/>
                  </a:lnTo>
                  <a:lnTo>
                    <a:pt x="877" y="576"/>
                  </a:lnTo>
                  <a:lnTo>
                    <a:pt x="862" y="596"/>
                  </a:lnTo>
                  <a:lnTo>
                    <a:pt x="845" y="616"/>
                  </a:lnTo>
                  <a:lnTo>
                    <a:pt x="828" y="636"/>
                  </a:lnTo>
                  <a:lnTo>
                    <a:pt x="810" y="656"/>
                  </a:lnTo>
                  <a:lnTo>
                    <a:pt x="793" y="672"/>
                  </a:lnTo>
                  <a:lnTo>
                    <a:pt x="778" y="687"/>
                  </a:lnTo>
                  <a:lnTo>
                    <a:pt x="763" y="699"/>
                  </a:lnTo>
                  <a:lnTo>
                    <a:pt x="750" y="711"/>
                  </a:lnTo>
                  <a:lnTo>
                    <a:pt x="737" y="721"/>
                  </a:lnTo>
                  <a:lnTo>
                    <a:pt x="725" y="729"/>
                  </a:lnTo>
                  <a:lnTo>
                    <a:pt x="714" y="736"/>
                  </a:lnTo>
                  <a:lnTo>
                    <a:pt x="703" y="743"/>
                  </a:lnTo>
                  <a:lnTo>
                    <a:pt x="694" y="748"/>
                  </a:lnTo>
                  <a:lnTo>
                    <a:pt x="685" y="752"/>
                  </a:lnTo>
                  <a:lnTo>
                    <a:pt x="677" y="755"/>
                  </a:lnTo>
                  <a:lnTo>
                    <a:pt x="670" y="757"/>
                  </a:lnTo>
                  <a:lnTo>
                    <a:pt x="663" y="759"/>
                  </a:lnTo>
                  <a:lnTo>
                    <a:pt x="657" y="760"/>
                  </a:lnTo>
                  <a:lnTo>
                    <a:pt x="648" y="761"/>
                  </a:lnTo>
                  <a:lnTo>
                    <a:pt x="644" y="760"/>
                  </a:lnTo>
                  <a:lnTo>
                    <a:pt x="641" y="759"/>
                  </a:lnTo>
                  <a:lnTo>
                    <a:pt x="639" y="756"/>
                  </a:lnTo>
                  <a:lnTo>
                    <a:pt x="636" y="753"/>
                  </a:lnTo>
                  <a:lnTo>
                    <a:pt x="634" y="749"/>
                  </a:lnTo>
                  <a:lnTo>
                    <a:pt x="633" y="744"/>
                  </a:lnTo>
                  <a:lnTo>
                    <a:pt x="630" y="734"/>
                  </a:lnTo>
                  <a:lnTo>
                    <a:pt x="629" y="729"/>
                  </a:lnTo>
                  <a:lnTo>
                    <a:pt x="629" y="723"/>
                  </a:lnTo>
                  <a:lnTo>
                    <a:pt x="628" y="712"/>
                  </a:lnTo>
                  <a:lnTo>
                    <a:pt x="628" y="692"/>
                  </a:lnTo>
                  <a:lnTo>
                    <a:pt x="629" y="667"/>
                  </a:lnTo>
                  <a:lnTo>
                    <a:pt x="630" y="641"/>
                  </a:lnTo>
                  <a:lnTo>
                    <a:pt x="632" y="616"/>
                  </a:lnTo>
                  <a:lnTo>
                    <a:pt x="635" y="592"/>
                  </a:lnTo>
                  <a:lnTo>
                    <a:pt x="638" y="568"/>
                  </a:lnTo>
                  <a:lnTo>
                    <a:pt x="642" y="545"/>
                  </a:lnTo>
                  <a:lnTo>
                    <a:pt x="647" y="522"/>
                  </a:lnTo>
                  <a:lnTo>
                    <a:pt x="649" y="510"/>
                  </a:lnTo>
                  <a:lnTo>
                    <a:pt x="652" y="499"/>
                  </a:lnTo>
                  <a:lnTo>
                    <a:pt x="657" y="478"/>
                  </a:lnTo>
                  <a:lnTo>
                    <a:pt x="664" y="456"/>
                  </a:lnTo>
                  <a:lnTo>
                    <a:pt x="671" y="436"/>
                  </a:lnTo>
                  <a:lnTo>
                    <a:pt x="678" y="415"/>
                  </a:lnTo>
                  <a:lnTo>
                    <a:pt x="682" y="406"/>
                  </a:lnTo>
                  <a:lnTo>
                    <a:pt x="687" y="396"/>
                  </a:lnTo>
                  <a:lnTo>
                    <a:pt x="695" y="377"/>
                  </a:lnTo>
                  <a:lnTo>
                    <a:pt x="705" y="358"/>
                  </a:lnTo>
                  <a:lnTo>
                    <a:pt x="715" y="341"/>
                  </a:lnTo>
                  <a:lnTo>
                    <a:pt x="724" y="325"/>
                  </a:lnTo>
                  <a:lnTo>
                    <a:pt x="734" y="311"/>
                  </a:lnTo>
                  <a:lnTo>
                    <a:pt x="744" y="297"/>
                  </a:lnTo>
                  <a:lnTo>
                    <a:pt x="748" y="291"/>
                  </a:lnTo>
                  <a:lnTo>
                    <a:pt x="753" y="285"/>
                  </a:lnTo>
                  <a:lnTo>
                    <a:pt x="763" y="274"/>
                  </a:lnTo>
                  <a:lnTo>
                    <a:pt x="774" y="263"/>
                  </a:lnTo>
                  <a:lnTo>
                    <a:pt x="784" y="254"/>
                  </a:lnTo>
                  <a:lnTo>
                    <a:pt x="795" y="246"/>
                  </a:lnTo>
                  <a:lnTo>
                    <a:pt x="805" y="238"/>
                  </a:lnTo>
                  <a:lnTo>
                    <a:pt x="816" y="232"/>
                  </a:lnTo>
                  <a:lnTo>
                    <a:pt x="827" y="227"/>
                  </a:lnTo>
                  <a:lnTo>
                    <a:pt x="838" y="222"/>
                  </a:lnTo>
                  <a:lnTo>
                    <a:pt x="850" y="219"/>
                  </a:lnTo>
                  <a:lnTo>
                    <a:pt x="861" y="216"/>
                  </a:lnTo>
                  <a:lnTo>
                    <a:pt x="873" y="214"/>
                  </a:lnTo>
                  <a:lnTo>
                    <a:pt x="885" y="213"/>
                  </a:lnTo>
                  <a:lnTo>
                    <a:pt x="901" y="213"/>
                  </a:lnTo>
                  <a:lnTo>
                    <a:pt x="917" y="214"/>
                  </a:lnTo>
                  <a:lnTo>
                    <a:pt x="933" y="215"/>
                  </a:lnTo>
                  <a:lnTo>
                    <a:pt x="948" y="217"/>
                  </a:lnTo>
                  <a:lnTo>
                    <a:pt x="962" y="220"/>
                  </a:lnTo>
                  <a:lnTo>
                    <a:pt x="975" y="223"/>
                  </a:lnTo>
                  <a:lnTo>
                    <a:pt x="998" y="229"/>
                  </a:lnTo>
                  <a:lnTo>
                    <a:pt x="991" y="277"/>
                  </a:lnTo>
                  <a:lnTo>
                    <a:pt x="987" y="304"/>
                  </a:lnTo>
                  <a:close/>
                  <a:moveTo>
                    <a:pt x="3204" y="299"/>
                  </a:moveTo>
                  <a:lnTo>
                    <a:pt x="3200" y="325"/>
                  </a:lnTo>
                  <a:lnTo>
                    <a:pt x="3195" y="350"/>
                  </a:lnTo>
                  <a:lnTo>
                    <a:pt x="3192" y="362"/>
                  </a:lnTo>
                  <a:lnTo>
                    <a:pt x="3189" y="374"/>
                  </a:lnTo>
                  <a:lnTo>
                    <a:pt x="3182" y="399"/>
                  </a:lnTo>
                  <a:lnTo>
                    <a:pt x="3174" y="422"/>
                  </a:lnTo>
                  <a:lnTo>
                    <a:pt x="3165" y="446"/>
                  </a:lnTo>
                  <a:lnTo>
                    <a:pt x="3156" y="469"/>
                  </a:lnTo>
                  <a:lnTo>
                    <a:pt x="3145" y="491"/>
                  </a:lnTo>
                  <a:lnTo>
                    <a:pt x="3134" y="513"/>
                  </a:lnTo>
                  <a:lnTo>
                    <a:pt x="3122" y="535"/>
                  </a:lnTo>
                  <a:lnTo>
                    <a:pt x="3109" y="557"/>
                  </a:lnTo>
                  <a:lnTo>
                    <a:pt x="3095" y="577"/>
                  </a:lnTo>
                  <a:lnTo>
                    <a:pt x="3080" y="598"/>
                  </a:lnTo>
                  <a:lnTo>
                    <a:pt x="3072" y="608"/>
                  </a:lnTo>
                  <a:lnTo>
                    <a:pt x="3064" y="618"/>
                  </a:lnTo>
                  <a:lnTo>
                    <a:pt x="3056" y="628"/>
                  </a:lnTo>
                  <a:lnTo>
                    <a:pt x="3048" y="638"/>
                  </a:lnTo>
                  <a:lnTo>
                    <a:pt x="3031" y="657"/>
                  </a:lnTo>
                  <a:lnTo>
                    <a:pt x="3015" y="673"/>
                  </a:lnTo>
                  <a:lnTo>
                    <a:pt x="3000" y="688"/>
                  </a:lnTo>
                  <a:lnTo>
                    <a:pt x="2986" y="701"/>
                  </a:lnTo>
                  <a:lnTo>
                    <a:pt x="2972" y="712"/>
                  </a:lnTo>
                  <a:lnTo>
                    <a:pt x="2960" y="722"/>
                  </a:lnTo>
                  <a:lnTo>
                    <a:pt x="2948" y="731"/>
                  </a:lnTo>
                  <a:lnTo>
                    <a:pt x="2937" y="738"/>
                  </a:lnTo>
                  <a:lnTo>
                    <a:pt x="2927" y="744"/>
                  </a:lnTo>
                  <a:lnTo>
                    <a:pt x="2917" y="749"/>
                  </a:lnTo>
                  <a:lnTo>
                    <a:pt x="2909" y="754"/>
                  </a:lnTo>
                  <a:lnTo>
                    <a:pt x="2901" y="757"/>
                  </a:lnTo>
                  <a:lnTo>
                    <a:pt x="2893" y="759"/>
                  </a:lnTo>
                  <a:lnTo>
                    <a:pt x="2887" y="761"/>
                  </a:lnTo>
                  <a:lnTo>
                    <a:pt x="2881" y="762"/>
                  </a:lnTo>
                  <a:lnTo>
                    <a:pt x="2871" y="763"/>
                  </a:lnTo>
                  <a:lnTo>
                    <a:pt x="2868" y="762"/>
                  </a:lnTo>
                  <a:lnTo>
                    <a:pt x="2865" y="761"/>
                  </a:lnTo>
                  <a:lnTo>
                    <a:pt x="2862" y="759"/>
                  </a:lnTo>
                  <a:lnTo>
                    <a:pt x="2860" y="756"/>
                  </a:lnTo>
                  <a:lnTo>
                    <a:pt x="2858" y="752"/>
                  </a:lnTo>
                  <a:lnTo>
                    <a:pt x="2856" y="748"/>
                  </a:lnTo>
                  <a:lnTo>
                    <a:pt x="2853" y="738"/>
                  </a:lnTo>
                  <a:lnTo>
                    <a:pt x="2852" y="733"/>
                  </a:lnTo>
                  <a:lnTo>
                    <a:pt x="2852" y="727"/>
                  </a:lnTo>
                  <a:lnTo>
                    <a:pt x="2850" y="716"/>
                  </a:lnTo>
                  <a:lnTo>
                    <a:pt x="2850" y="695"/>
                  </a:lnTo>
                  <a:lnTo>
                    <a:pt x="2850" y="669"/>
                  </a:lnTo>
                  <a:lnTo>
                    <a:pt x="2851" y="643"/>
                  </a:lnTo>
                  <a:lnTo>
                    <a:pt x="2853" y="618"/>
                  </a:lnTo>
                  <a:lnTo>
                    <a:pt x="2855" y="593"/>
                  </a:lnTo>
                  <a:lnTo>
                    <a:pt x="2858" y="569"/>
                  </a:lnTo>
                  <a:lnTo>
                    <a:pt x="2862" y="546"/>
                  </a:lnTo>
                  <a:lnTo>
                    <a:pt x="2866" y="523"/>
                  </a:lnTo>
                  <a:lnTo>
                    <a:pt x="2871" y="501"/>
                  </a:lnTo>
                  <a:lnTo>
                    <a:pt x="2876" y="479"/>
                  </a:lnTo>
                  <a:lnTo>
                    <a:pt x="2882" y="457"/>
                  </a:lnTo>
                  <a:lnTo>
                    <a:pt x="2889" y="437"/>
                  </a:lnTo>
                  <a:lnTo>
                    <a:pt x="2896" y="416"/>
                  </a:lnTo>
                  <a:lnTo>
                    <a:pt x="2903" y="397"/>
                  </a:lnTo>
                  <a:lnTo>
                    <a:pt x="2911" y="378"/>
                  </a:lnTo>
                  <a:lnTo>
                    <a:pt x="2920" y="359"/>
                  </a:lnTo>
                  <a:lnTo>
                    <a:pt x="2929" y="341"/>
                  </a:lnTo>
                  <a:lnTo>
                    <a:pt x="2938" y="325"/>
                  </a:lnTo>
                  <a:lnTo>
                    <a:pt x="2942" y="318"/>
                  </a:lnTo>
                  <a:lnTo>
                    <a:pt x="2947" y="311"/>
                  </a:lnTo>
                  <a:lnTo>
                    <a:pt x="2955" y="298"/>
                  </a:lnTo>
                  <a:lnTo>
                    <a:pt x="2965" y="286"/>
                  </a:lnTo>
                  <a:lnTo>
                    <a:pt x="2974" y="276"/>
                  </a:lnTo>
                  <a:lnTo>
                    <a:pt x="2983" y="266"/>
                  </a:lnTo>
                  <a:lnTo>
                    <a:pt x="2993" y="257"/>
                  </a:lnTo>
                  <a:lnTo>
                    <a:pt x="3002" y="249"/>
                  </a:lnTo>
                  <a:lnTo>
                    <a:pt x="3012" y="241"/>
                  </a:lnTo>
                  <a:lnTo>
                    <a:pt x="3022" y="235"/>
                  </a:lnTo>
                  <a:lnTo>
                    <a:pt x="3032" y="230"/>
                  </a:lnTo>
                  <a:lnTo>
                    <a:pt x="3042" y="225"/>
                  </a:lnTo>
                  <a:lnTo>
                    <a:pt x="3052" y="221"/>
                  </a:lnTo>
                  <a:lnTo>
                    <a:pt x="3062" y="217"/>
                  </a:lnTo>
                  <a:lnTo>
                    <a:pt x="3071" y="214"/>
                  </a:lnTo>
                  <a:lnTo>
                    <a:pt x="3081" y="212"/>
                  </a:lnTo>
                  <a:lnTo>
                    <a:pt x="3101" y="209"/>
                  </a:lnTo>
                  <a:lnTo>
                    <a:pt x="3110" y="208"/>
                  </a:lnTo>
                  <a:lnTo>
                    <a:pt x="3120" y="208"/>
                  </a:lnTo>
                  <a:lnTo>
                    <a:pt x="3129" y="208"/>
                  </a:lnTo>
                  <a:lnTo>
                    <a:pt x="3139" y="208"/>
                  </a:lnTo>
                  <a:lnTo>
                    <a:pt x="3156" y="209"/>
                  </a:lnTo>
                  <a:lnTo>
                    <a:pt x="3165" y="210"/>
                  </a:lnTo>
                  <a:lnTo>
                    <a:pt x="3174" y="212"/>
                  </a:lnTo>
                  <a:lnTo>
                    <a:pt x="3190" y="214"/>
                  </a:lnTo>
                  <a:lnTo>
                    <a:pt x="3219" y="219"/>
                  </a:lnTo>
                  <a:lnTo>
                    <a:pt x="3217" y="230"/>
                  </a:lnTo>
                  <a:lnTo>
                    <a:pt x="3215" y="242"/>
                  </a:lnTo>
                  <a:lnTo>
                    <a:pt x="3211" y="268"/>
                  </a:lnTo>
                  <a:lnTo>
                    <a:pt x="3204" y="29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37F84D35-9BC0-4FCD-83FF-D56C3900F0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463" y="2379977"/>
              <a:ext cx="173166" cy="244721"/>
            </a:xfrm>
            <a:custGeom>
              <a:avLst/>
              <a:gdLst>
                <a:gd name="T0" fmla="*/ 698 w 901"/>
                <a:gd name="T1" fmla="*/ 227 h 1274"/>
                <a:gd name="T2" fmla="*/ 760 w 901"/>
                <a:gd name="T3" fmla="*/ 277 h 1274"/>
                <a:gd name="T4" fmla="*/ 813 w 901"/>
                <a:gd name="T5" fmla="*/ 288 h 1274"/>
                <a:gd name="T6" fmla="*/ 855 w 901"/>
                <a:gd name="T7" fmla="*/ 274 h 1274"/>
                <a:gd name="T8" fmla="*/ 887 w 901"/>
                <a:gd name="T9" fmla="*/ 234 h 1274"/>
                <a:gd name="T10" fmla="*/ 900 w 901"/>
                <a:gd name="T11" fmla="*/ 154 h 1274"/>
                <a:gd name="T12" fmla="*/ 882 w 901"/>
                <a:gd name="T13" fmla="*/ 97 h 1274"/>
                <a:gd name="T14" fmla="*/ 837 w 901"/>
                <a:gd name="T15" fmla="*/ 54 h 1274"/>
                <a:gd name="T16" fmla="*/ 730 w 901"/>
                <a:gd name="T17" fmla="*/ 14 h 1274"/>
                <a:gd name="T18" fmla="*/ 601 w 901"/>
                <a:gd name="T19" fmla="*/ 0 h 1274"/>
                <a:gd name="T20" fmla="*/ 475 w 901"/>
                <a:gd name="T21" fmla="*/ 15 h 1274"/>
                <a:gd name="T22" fmla="*/ 367 w 901"/>
                <a:gd name="T23" fmla="*/ 57 h 1274"/>
                <a:gd name="T24" fmla="*/ 296 w 901"/>
                <a:gd name="T25" fmla="*/ 107 h 1274"/>
                <a:gd name="T26" fmla="*/ 238 w 901"/>
                <a:gd name="T27" fmla="*/ 171 h 1274"/>
                <a:gd name="T28" fmla="*/ 196 w 901"/>
                <a:gd name="T29" fmla="*/ 251 h 1274"/>
                <a:gd name="T30" fmla="*/ 179 w 901"/>
                <a:gd name="T31" fmla="*/ 341 h 1274"/>
                <a:gd name="T32" fmla="*/ 188 w 901"/>
                <a:gd name="T33" fmla="*/ 433 h 1274"/>
                <a:gd name="T34" fmla="*/ 216 w 901"/>
                <a:gd name="T35" fmla="*/ 499 h 1274"/>
                <a:gd name="T36" fmla="*/ 272 w 901"/>
                <a:gd name="T37" fmla="*/ 569 h 1274"/>
                <a:gd name="T38" fmla="*/ 398 w 901"/>
                <a:gd name="T39" fmla="*/ 682 h 1274"/>
                <a:gd name="T40" fmla="*/ 573 w 901"/>
                <a:gd name="T41" fmla="*/ 835 h 1274"/>
                <a:gd name="T42" fmla="*/ 616 w 901"/>
                <a:gd name="T43" fmla="*/ 905 h 1274"/>
                <a:gd name="T44" fmla="*/ 628 w 901"/>
                <a:gd name="T45" fmla="*/ 985 h 1274"/>
                <a:gd name="T46" fmla="*/ 616 w 901"/>
                <a:gd name="T47" fmla="*/ 1029 h 1274"/>
                <a:gd name="T48" fmla="*/ 578 w 901"/>
                <a:gd name="T49" fmla="*/ 1078 h 1274"/>
                <a:gd name="T50" fmla="*/ 517 w 901"/>
                <a:gd name="T51" fmla="*/ 1113 h 1274"/>
                <a:gd name="T52" fmla="*/ 449 w 901"/>
                <a:gd name="T53" fmla="*/ 1124 h 1274"/>
                <a:gd name="T54" fmla="*/ 371 w 901"/>
                <a:gd name="T55" fmla="*/ 1112 h 1274"/>
                <a:gd name="T56" fmla="*/ 314 w 901"/>
                <a:gd name="T57" fmla="*/ 1079 h 1274"/>
                <a:gd name="T58" fmla="*/ 259 w 901"/>
                <a:gd name="T59" fmla="*/ 1007 h 1274"/>
                <a:gd name="T60" fmla="*/ 219 w 901"/>
                <a:gd name="T61" fmla="*/ 929 h 1274"/>
                <a:gd name="T62" fmla="*/ 184 w 901"/>
                <a:gd name="T63" fmla="*/ 901 h 1274"/>
                <a:gd name="T64" fmla="*/ 131 w 901"/>
                <a:gd name="T65" fmla="*/ 888 h 1274"/>
                <a:gd name="T66" fmla="*/ 83 w 901"/>
                <a:gd name="T67" fmla="*/ 898 h 1274"/>
                <a:gd name="T68" fmla="*/ 37 w 901"/>
                <a:gd name="T69" fmla="*/ 929 h 1274"/>
                <a:gd name="T70" fmla="*/ 6 w 901"/>
                <a:gd name="T71" fmla="*/ 978 h 1274"/>
                <a:gd name="T72" fmla="*/ 3 w 901"/>
                <a:gd name="T73" fmla="*/ 1044 h 1274"/>
                <a:gd name="T74" fmla="*/ 35 w 901"/>
                <a:gd name="T75" fmla="*/ 1119 h 1274"/>
                <a:gd name="T76" fmla="*/ 90 w 901"/>
                <a:gd name="T77" fmla="*/ 1184 h 1274"/>
                <a:gd name="T78" fmla="*/ 176 w 901"/>
                <a:gd name="T79" fmla="*/ 1240 h 1274"/>
                <a:gd name="T80" fmla="*/ 271 w 901"/>
                <a:gd name="T81" fmla="*/ 1268 h 1274"/>
                <a:gd name="T82" fmla="*/ 400 w 901"/>
                <a:gd name="T83" fmla="*/ 1273 h 1274"/>
                <a:gd name="T84" fmla="*/ 539 w 901"/>
                <a:gd name="T85" fmla="*/ 1247 h 1274"/>
                <a:gd name="T86" fmla="*/ 678 w 901"/>
                <a:gd name="T87" fmla="*/ 1178 h 1274"/>
                <a:gd name="T88" fmla="*/ 772 w 901"/>
                <a:gd name="T89" fmla="*/ 1087 h 1274"/>
                <a:gd name="T90" fmla="*/ 817 w 901"/>
                <a:gd name="T91" fmla="*/ 1008 h 1274"/>
                <a:gd name="T92" fmla="*/ 839 w 901"/>
                <a:gd name="T93" fmla="*/ 920 h 1274"/>
                <a:gd name="T94" fmla="*/ 835 w 901"/>
                <a:gd name="T95" fmla="*/ 819 h 1274"/>
                <a:gd name="T96" fmla="*/ 808 w 901"/>
                <a:gd name="T97" fmla="*/ 743 h 1274"/>
                <a:gd name="T98" fmla="*/ 760 w 901"/>
                <a:gd name="T99" fmla="*/ 670 h 1274"/>
                <a:gd name="T100" fmla="*/ 670 w 901"/>
                <a:gd name="T101" fmla="*/ 582 h 1274"/>
                <a:gd name="T102" fmla="*/ 425 w 901"/>
                <a:gd name="T103" fmla="*/ 369 h 1274"/>
                <a:gd name="T104" fmla="*/ 389 w 901"/>
                <a:gd name="T105" fmla="*/ 314 h 1274"/>
                <a:gd name="T106" fmla="*/ 382 w 901"/>
                <a:gd name="T107" fmla="*/ 249 h 1274"/>
                <a:gd name="T108" fmla="*/ 407 w 901"/>
                <a:gd name="T109" fmla="*/ 198 h 1274"/>
                <a:gd name="T110" fmla="*/ 456 w 901"/>
                <a:gd name="T111" fmla="*/ 157 h 1274"/>
                <a:gd name="T112" fmla="*/ 520 w 901"/>
                <a:gd name="T113" fmla="*/ 139 h 1274"/>
                <a:gd name="T114" fmla="*/ 597 w 901"/>
                <a:gd name="T115" fmla="*/ 152 h 127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901" h="1274">
                  <a:moveTo>
                    <a:pt x="654" y="183"/>
                  </a:moveTo>
                  <a:lnTo>
                    <a:pt x="660" y="188"/>
                  </a:lnTo>
                  <a:lnTo>
                    <a:pt x="665" y="192"/>
                  </a:lnTo>
                  <a:lnTo>
                    <a:pt x="671" y="198"/>
                  </a:lnTo>
                  <a:lnTo>
                    <a:pt x="676" y="203"/>
                  </a:lnTo>
                  <a:lnTo>
                    <a:pt x="687" y="215"/>
                  </a:lnTo>
                  <a:lnTo>
                    <a:pt x="698" y="227"/>
                  </a:lnTo>
                  <a:lnTo>
                    <a:pt x="709" y="239"/>
                  </a:lnTo>
                  <a:lnTo>
                    <a:pt x="720" y="251"/>
                  </a:lnTo>
                  <a:lnTo>
                    <a:pt x="728" y="256"/>
                  </a:lnTo>
                  <a:lnTo>
                    <a:pt x="734" y="261"/>
                  </a:lnTo>
                  <a:lnTo>
                    <a:pt x="741" y="266"/>
                  </a:lnTo>
                  <a:lnTo>
                    <a:pt x="748" y="271"/>
                  </a:lnTo>
                  <a:lnTo>
                    <a:pt x="760" y="277"/>
                  </a:lnTo>
                  <a:lnTo>
                    <a:pt x="771" y="282"/>
                  </a:lnTo>
                  <a:lnTo>
                    <a:pt x="777" y="284"/>
                  </a:lnTo>
                  <a:lnTo>
                    <a:pt x="782" y="285"/>
                  </a:lnTo>
                  <a:lnTo>
                    <a:pt x="787" y="286"/>
                  </a:lnTo>
                  <a:lnTo>
                    <a:pt x="793" y="287"/>
                  </a:lnTo>
                  <a:lnTo>
                    <a:pt x="803" y="288"/>
                  </a:lnTo>
                  <a:lnTo>
                    <a:pt x="813" y="288"/>
                  </a:lnTo>
                  <a:lnTo>
                    <a:pt x="822" y="287"/>
                  </a:lnTo>
                  <a:lnTo>
                    <a:pt x="831" y="285"/>
                  </a:lnTo>
                  <a:lnTo>
                    <a:pt x="835" y="284"/>
                  </a:lnTo>
                  <a:lnTo>
                    <a:pt x="840" y="282"/>
                  </a:lnTo>
                  <a:lnTo>
                    <a:pt x="844" y="280"/>
                  </a:lnTo>
                  <a:lnTo>
                    <a:pt x="848" y="278"/>
                  </a:lnTo>
                  <a:lnTo>
                    <a:pt x="855" y="274"/>
                  </a:lnTo>
                  <a:lnTo>
                    <a:pt x="858" y="272"/>
                  </a:lnTo>
                  <a:lnTo>
                    <a:pt x="862" y="269"/>
                  </a:lnTo>
                  <a:lnTo>
                    <a:pt x="868" y="263"/>
                  </a:lnTo>
                  <a:lnTo>
                    <a:pt x="874" y="257"/>
                  </a:lnTo>
                  <a:lnTo>
                    <a:pt x="879" y="251"/>
                  </a:lnTo>
                  <a:lnTo>
                    <a:pt x="883" y="244"/>
                  </a:lnTo>
                  <a:lnTo>
                    <a:pt x="887" y="234"/>
                  </a:lnTo>
                  <a:lnTo>
                    <a:pt x="892" y="224"/>
                  </a:lnTo>
                  <a:lnTo>
                    <a:pt x="895" y="213"/>
                  </a:lnTo>
                  <a:lnTo>
                    <a:pt x="898" y="202"/>
                  </a:lnTo>
                  <a:lnTo>
                    <a:pt x="900" y="190"/>
                  </a:lnTo>
                  <a:lnTo>
                    <a:pt x="901" y="179"/>
                  </a:lnTo>
                  <a:lnTo>
                    <a:pt x="901" y="167"/>
                  </a:lnTo>
                  <a:lnTo>
                    <a:pt x="900" y="154"/>
                  </a:lnTo>
                  <a:lnTo>
                    <a:pt x="899" y="142"/>
                  </a:lnTo>
                  <a:lnTo>
                    <a:pt x="896" y="130"/>
                  </a:lnTo>
                  <a:lnTo>
                    <a:pt x="892" y="119"/>
                  </a:lnTo>
                  <a:lnTo>
                    <a:pt x="890" y="113"/>
                  </a:lnTo>
                  <a:lnTo>
                    <a:pt x="888" y="108"/>
                  </a:lnTo>
                  <a:lnTo>
                    <a:pt x="885" y="103"/>
                  </a:lnTo>
                  <a:lnTo>
                    <a:pt x="882" y="97"/>
                  </a:lnTo>
                  <a:lnTo>
                    <a:pt x="879" y="92"/>
                  </a:lnTo>
                  <a:lnTo>
                    <a:pt x="876" y="87"/>
                  </a:lnTo>
                  <a:lnTo>
                    <a:pt x="868" y="78"/>
                  </a:lnTo>
                  <a:lnTo>
                    <a:pt x="863" y="73"/>
                  </a:lnTo>
                  <a:lnTo>
                    <a:pt x="859" y="69"/>
                  </a:lnTo>
                  <a:lnTo>
                    <a:pt x="848" y="61"/>
                  </a:lnTo>
                  <a:lnTo>
                    <a:pt x="837" y="54"/>
                  </a:lnTo>
                  <a:lnTo>
                    <a:pt x="824" y="47"/>
                  </a:lnTo>
                  <a:lnTo>
                    <a:pt x="811" y="40"/>
                  </a:lnTo>
                  <a:lnTo>
                    <a:pt x="796" y="34"/>
                  </a:lnTo>
                  <a:lnTo>
                    <a:pt x="780" y="29"/>
                  </a:lnTo>
                  <a:lnTo>
                    <a:pt x="764" y="23"/>
                  </a:lnTo>
                  <a:lnTo>
                    <a:pt x="747" y="19"/>
                  </a:lnTo>
                  <a:lnTo>
                    <a:pt x="730" y="14"/>
                  </a:lnTo>
                  <a:lnTo>
                    <a:pt x="711" y="11"/>
                  </a:lnTo>
                  <a:lnTo>
                    <a:pt x="693" y="7"/>
                  </a:lnTo>
                  <a:lnTo>
                    <a:pt x="674" y="5"/>
                  </a:lnTo>
                  <a:lnTo>
                    <a:pt x="656" y="3"/>
                  </a:lnTo>
                  <a:lnTo>
                    <a:pt x="638" y="1"/>
                  </a:lnTo>
                  <a:lnTo>
                    <a:pt x="619" y="0"/>
                  </a:lnTo>
                  <a:lnTo>
                    <a:pt x="601" y="0"/>
                  </a:lnTo>
                  <a:lnTo>
                    <a:pt x="579" y="0"/>
                  </a:lnTo>
                  <a:lnTo>
                    <a:pt x="557" y="2"/>
                  </a:lnTo>
                  <a:lnTo>
                    <a:pt x="536" y="4"/>
                  </a:lnTo>
                  <a:lnTo>
                    <a:pt x="515" y="6"/>
                  </a:lnTo>
                  <a:lnTo>
                    <a:pt x="495" y="10"/>
                  </a:lnTo>
                  <a:lnTo>
                    <a:pt x="485" y="12"/>
                  </a:lnTo>
                  <a:lnTo>
                    <a:pt x="475" y="15"/>
                  </a:lnTo>
                  <a:lnTo>
                    <a:pt x="466" y="17"/>
                  </a:lnTo>
                  <a:lnTo>
                    <a:pt x="456" y="20"/>
                  </a:lnTo>
                  <a:lnTo>
                    <a:pt x="437" y="26"/>
                  </a:lnTo>
                  <a:lnTo>
                    <a:pt x="419" y="33"/>
                  </a:lnTo>
                  <a:lnTo>
                    <a:pt x="401" y="40"/>
                  </a:lnTo>
                  <a:lnTo>
                    <a:pt x="384" y="48"/>
                  </a:lnTo>
                  <a:lnTo>
                    <a:pt x="367" y="57"/>
                  </a:lnTo>
                  <a:lnTo>
                    <a:pt x="350" y="67"/>
                  </a:lnTo>
                  <a:lnTo>
                    <a:pt x="342" y="72"/>
                  </a:lnTo>
                  <a:lnTo>
                    <a:pt x="334" y="78"/>
                  </a:lnTo>
                  <a:lnTo>
                    <a:pt x="319" y="89"/>
                  </a:lnTo>
                  <a:lnTo>
                    <a:pt x="311" y="95"/>
                  </a:lnTo>
                  <a:lnTo>
                    <a:pt x="303" y="101"/>
                  </a:lnTo>
                  <a:lnTo>
                    <a:pt x="296" y="107"/>
                  </a:lnTo>
                  <a:lnTo>
                    <a:pt x="288" y="114"/>
                  </a:lnTo>
                  <a:lnTo>
                    <a:pt x="281" y="120"/>
                  </a:lnTo>
                  <a:lnTo>
                    <a:pt x="274" y="127"/>
                  </a:lnTo>
                  <a:lnTo>
                    <a:pt x="261" y="141"/>
                  </a:lnTo>
                  <a:lnTo>
                    <a:pt x="249" y="155"/>
                  </a:lnTo>
                  <a:lnTo>
                    <a:pt x="243" y="163"/>
                  </a:lnTo>
                  <a:lnTo>
                    <a:pt x="238" y="171"/>
                  </a:lnTo>
                  <a:lnTo>
                    <a:pt x="227" y="186"/>
                  </a:lnTo>
                  <a:lnTo>
                    <a:pt x="218" y="202"/>
                  </a:lnTo>
                  <a:lnTo>
                    <a:pt x="214" y="210"/>
                  </a:lnTo>
                  <a:lnTo>
                    <a:pt x="210" y="218"/>
                  </a:lnTo>
                  <a:lnTo>
                    <a:pt x="203" y="234"/>
                  </a:lnTo>
                  <a:lnTo>
                    <a:pt x="199" y="242"/>
                  </a:lnTo>
                  <a:lnTo>
                    <a:pt x="196" y="251"/>
                  </a:lnTo>
                  <a:lnTo>
                    <a:pt x="191" y="268"/>
                  </a:lnTo>
                  <a:lnTo>
                    <a:pt x="188" y="277"/>
                  </a:lnTo>
                  <a:lnTo>
                    <a:pt x="186" y="286"/>
                  </a:lnTo>
                  <a:lnTo>
                    <a:pt x="183" y="304"/>
                  </a:lnTo>
                  <a:lnTo>
                    <a:pt x="180" y="323"/>
                  </a:lnTo>
                  <a:lnTo>
                    <a:pt x="180" y="332"/>
                  </a:lnTo>
                  <a:lnTo>
                    <a:pt x="179" y="341"/>
                  </a:lnTo>
                  <a:lnTo>
                    <a:pt x="178" y="361"/>
                  </a:lnTo>
                  <a:lnTo>
                    <a:pt x="179" y="371"/>
                  </a:lnTo>
                  <a:lnTo>
                    <a:pt x="179" y="382"/>
                  </a:lnTo>
                  <a:lnTo>
                    <a:pt x="180" y="392"/>
                  </a:lnTo>
                  <a:lnTo>
                    <a:pt x="182" y="403"/>
                  </a:lnTo>
                  <a:lnTo>
                    <a:pt x="185" y="423"/>
                  </a:lnTo>
                  <a:lnTo>
                    <a:pt x="188" y="433"/>
                  </a:lnTo>
                  <a:lnTo>
                    <a:pt x="191" y="443"/>
                  </a:lnTo>
                  <a:lnTo>
                    <a:pt x="194" y="452"/>
                  </a:lnTo>
                  <a:lnTo>
                    <a:pt x="198" y="462"/>
                  </a:lnTo>
                  <a:lnTo>
                    <a:pt x="202" y="471"/>
                  </a:lnTo>
                  <a:lnTo>
                    <a:pt x="206" y="481"/>
                  </a:lnTo>
                  <a:lnTo>
                    <a:pt x="211" y="490"/>
                  </a:lnTo>
                  <a:lnTo>
                    <a:pt x="216" y="499"/>
                  </a:lnTo>
                  <a:lnTo>
                    <a:pt x="222" y="507"/>
                  </a:lnTo>
                  <a:lnTo>
                    <a:pt x="227" y="516"/>
                  </a:lnTo>
                  <a:lnTo>
                    <a:pt x="233" y="524"/>
                  </a:lnTo>
                  <a:lnTo>
                    <a:pt x="240" y="532"/>
                  </a:lnTo>
                  <a:lnTo>
                    <a:pt x="247" y="541"/>
                  </a:lnTo>
                  <a:lnTo>
                    <a:pt x="255" y="550"/>
                  </a:lnTo>
                  <a:lnTo>
                    <a:pt x="272" y="569"/>
                  </a:lnTo>
                  <a:lnTo>
                    <a:pt x="282" y="579"/>
                  </a:lnTo>
                  <a:lnTo>
                    <a:pt x="292" y="589"/>
                  </a:lnTo>
                  <a:lnTo>
                    <a:pt x="303" y="599"/>
                  </a:lnTo>
                  <a:lnTo>
                    <a:pt x="315" y="610"/>
                  </a:lnTo>
                  <a:lnTo>
                    <a:pt x="340" y="633"/>
                  </a:lnTo>
                  <a:lnTo>
                    <a:pt x="368" y="657"/>
                  </a:lnTo>
                  <a:lnTo>
                    <a:pt x="398" y="682"/>
                  </a:lnTo>
                  <a:lnTo>
                    <a:pt x="499" y="763"/>
                  </a:lnTo>
                  <a:lnTo>
                    <a:pt x="515" y="777"/>
                  </a:lnTo>
                  <a:lnTo>
                    <a:pt x="529" y="790"/>
                  </a:lnTo>
                  <a:lnTo>
                    <a:pt x="543" y="803"/>
                  </a:lnTo>
                  <a:lnTo>
                    <a:pt x="556" y="816"/>
                  </a:lnTo>
                  <a:lnTo>
                    <a:pt x="567" y="829"/>
                  </a:lnTo>
                  <a:lnTo>
                    <a:pt x="573" y="835"/>
                  </a:lnTo>
                  <a:lnTo>
                    <a:pt x="578" y="841"/>
                  </a:lnTo>
                  <a:lnTo>
                    <a:pt x="588" y="854"/>
                  </a:lnTo>
                  <a:lnTo>
                    <a:pt x="596" y="867"/>
                  </a:lnTo>
                  <a:lnTo>
                    <a:pt x="604" y="880"/>
                  </a:lnTo>
                  <a:lnTo>
                    <a:pt x="610" y="893"/>
                  </a:lnTo>
                  <a:lnTo>
                    <a:pt x="613" y="899"/>
                  </a:lnTo>
                  <a:lnTo>
                    <a:pt x="616" y="905"/>
                  </a:lnTo>
                  <a:lnTo>
                    <a:pt x="621" y="918"/>
                  </a:lnTo>
                  <a:lnTo>
                    <a:pt x="624" y="931"/>
                  </a:lnTo>
                  <a:lnTo>
                    <a:pt x="627" y="943"/>
                  </a:lnTo>
                  <a:lnTo>
                    <a:pt x="628" y="956"/>
                  </a:lnTo>
                  <a:lnTo>
                    <a:pt x="629" y="968"/>
                  </a:lnTo>
                  <a:lnTo>
                    <a:pt x="628" y="976"/>
                  </a:lnTo>
                  <a:lnTo>
                    <a:pt x="628" y="985"/>
                  </a:lnTo>
                  <a:lnTo>
                    <a:pt x="627" y="993"/>
                  </a:lnTo>
                  <a:lnTo>
                    <a:pt x="626" y="1000"/>
                  </a:lnTo>
                  <a:lnTo>
                    <a:pt x="624" y="1008"/>
                  </a:lnTo>
                  <a:lnTo>
                    <a:pt x="623" y="1012"/>
                  </a:lnTo>
                  <a:lnTo>
                    <a:pt x="622" y="1015"/>
                  </a:lnTo>
                  <a:lnTo>
                    <a:pt x="619" y="1022"/>
                  </a:lnTo>
                  <a:lnTo>
                    <a:pt x="616" y="1029"/>
                  </a:lnTo>
                  <a:lnTo>
                    <a:pt x="613" y="1036"/>
                  </a:lnTo>
                  <a:lnTo>
                    <a:pt x="609" y="1043"/>
                  </a:lnTo>
                  <a:lnTo>
                    <a:pt x="605" y="1049"/>
                  </a:lnTo>
                  <a:lnTo>
                    <a:pt x="601" y="1055"/>
                  </a:lnTo>
                  <a:lnTo>
                    <a:pt x="596" y="1061"/>
                  </a:lnTo>
                  <a:lnTo>
                    <a:pt x="590" y="1067"/>
                  </a:lnTo>
                  <a:lnTo>
                    <a:pt x="578" y="1078"/>
                  </a:lnTo>
                  <a:lnTo>
                    <a:pt x="572" y="1084"/>
                  </a:lnTo>
                  <a:lnTo>
                    <a:pt x="565" y="1089"/>
                  </a:lnTo>
                  <a:lnTo>
                    <a:pt x="550" y="1098"/>
                  </a:lnTo>
                  <a:lnTo>
                    <a:pt x="542" y="1103"/>
                  </a:lnTo>
                  <a:lnTo>
                    <a:pt x="534" y="1106"/>
                  </a:lnTo>
                  <a:lnTo>
                    <a:pt x="525" y="1110"/>
                  </a:lnTo>
                  <a:lnTo>
                    <a:pt x="517" y="1113"/>
                  </a:lnTo>
                  <a:lnTo>
                    <a:pt x="508" y="1115"/>
                  </a:lnTo>
                  <a:lnTo>
                    <a:pt x="499" y="1118"/>
                  </a:lnTo>
                  <a:lnTo>
                    <a:pt x="489" y="1120"/>
                  </a:lnTo>
                  <a:lnTo>
                    <a:pt x="480" y="1121"/>
                  </a:lnTo>
                  <a:lnTo>
                    <a:pt x="470" y="1122"/>
                  </a:lnTo>
                  <a:lnTo>
                    <a:pt x="459" y="1123"/>
                  </a:lnTo>
                  <a:lnTo>
                    <a:pt x="449" y="1124"/>
                  </a:lnTo>
                  <a:lnTo>
                    <a:pt x="438" y="1124"/>
                  </a:lnTo>
                  <a:lnTo>
                    <a:pt x="426" y="1123"/>
                  </a:lnTo>
                  <a:lnTo>
                    <a:pt x="414" y="1122"/>
                  </a:lnTo>
                  <a:lnTo>
                    <a:pt x="402" y="1120"/>
                  </a:lnTo>
                  <a:lnTo>
                    <a:pt x="391" y="1118"/>
                  </a:lnTo>
                  <a:lnTo>
                    <a:pt x="381" y="1115"/>
                  </a:lnTo>
                  <a:lnTo>
                    <a:pt x="371" y="1112"/>
                  </a:lnTo>
                  <a:lnTo>
                    <a:pt x="361" y="1109"/>
                  </a:lnTo>
                  <a:lnTo>
                    <a:pt x="352" y="1104"/>
                  </a:lnTo>
                  <a:lnTo>
                    <a:pt x="344" y="1100"/>
                  </a:lnTo>
                  <a:lnTo>
                    <a:pt x="336" y="1095"/>
                  </a:lnTo>
                  <a:lnTo>
                    <a:pt x="328" y="1090"/>
                  </a:lnTo>
                  <a:lnTo>
                    <a:pt x="321" y="1085"/>
                  </a:lnTo>
                  <a:lnTo>
                    <a:pt x="314" y="1079"/>
                  </a:lnTo>
                  <a:lnTo>
                    <a:pt x="308" y="1073"/>
                  </a:lnTo>
                  <a:lnTo>
                    <a:pt x="301" y="1067"/>
                  </a:lnTo>
                  <a:lnTo>
                    <a:pt x="296" y="1061"/>
                  </a:lnTo>
                  <a:lnTo>
                    <a:pt x="285" y="1048"/>
                  </a:lnTo>
                  <a:lnTo>
                    <a:pt x="275" y="1034"/>
                  </a:lnTo>
                  <a:lnTo>
                    <a:pt x="267" y="1021"/>
                  </a:lnTo>
                  <a:lnTo>
                    <a:pt x="259" y="1007"/>
                  </a:lnTo>
                  <a:lnTo>
                    <a:pt x="253" y="994"/>
                  </a:lnTo>
                  <a:lnTo>
                    <a:pt x="247" y="981"/>
                  </a:lnTo>
                  <a:lnTo>
                    <a:pt x="236" y="958"/>
                  </a:lnTo>
                  <a:lnTo>
                    <a:pt x="232" y="950"/>
                  </a:lnTo>
                  <a:lnTo>
                    <a:pt x="228" y="943"/>
                  </a:lnTo>
                  <a:lnTo>
                    <a:pt x="223" y="936"/>
                  </a:lnTo>
                  <a:lnTo>
                    <a:pt x="219" y="929"/>
                  </a:lnTo>
                  <a:lnTo>
                    <a:pt x="213" y="923"/>
                  </a:lnTo>
                  <a:lnTo>
                    <a:pt x="211" y="921"/>
                  </a:lnTo>
                  <a:lnTo>
                    <a:pt x="208" y="918"/>
                  </a:lnTo>
                  <a:lnTo>
                    <a:pt x="202" y="913"/>
                  </a:lnTo>
                  <a:lnTo>
                    <a:pt x="197" y="909"/>
                  </a:lnTo>
                  <a:lnTo>
                    <a:pt x="190" y="905"/>
                  </a:lnTo>
                  <a:lnTo>
                    <a:pt x="184" y="901"/>
                  </a:lnTo>
                  <a:lnTo>
                    <a:pt x="178" y="898"/>
                  </a:lnTo>
                  <a:lnTo>
                    <a:pt x="171" y="896"/>
                  </a:lnTo>
                  <a:lnTo>
                    <a:pt x="164" y="893"/>
                  </a:lnTo>
                  <a:lnTo>
                    <a:pt x="158" y="891"/>
                  </a:lnTo>
                  <a:lnTo>
                    <a:pt x="151" y="890"/>
                  </a:lnTo>
                  <a:lnTo>
                    <a:pt x="143" y="889"/>
                  </a:lnTo>
                  <a:lnTo>
                    <a:pt x="131" y="888"/>
                  </a:lnTo>
                  <a:lnTo>
                    <a:pt x="124" y="888"/>
                  </a:lnTo>
                  <a:lnTo>
                    <a:pt x="118" y="889"/>
                  </a:lnTo>
                  <a:lnTo>
                    <a:pt x="111" y="890"/>
                  </a:lnTo>
                  <a:lnTo>
                    <a:pt x="104" y="891"/>
                  </a:lnTo>
                  <a:lnTo>
                    <a:pt x="97" y="893"/>
                  </a:lnTo>
                  <a:lnTo>
                    <a:pt x="90" y="896"/>
                  </a:lnTo>
                  <a:lnTo>
                    <a:pt x="83" y="898"/>
                  </a:lnTo>
                  <a:lnTo>
                    <a:pt x="76" y="902"/>
                  </a:lnTo>
                  <a:lnTo>
                    <a:pt x="69" y="905"/>
                  </a:lnTo>
                  <a:lnTo>
                    <a:pt x="62" y="909"/>
                  </a:lnTo>
                  <a:lnTo>
                    <a:pt x="55" y="914"/>
                  </a:lnTo>
                  <a:lnTo>
                    <a:pt x="49" y="918"/>
                  </a:lnTo>
                  <a:lnTo>
                    <a:pt x="42" y="924"/>
                  </a:lnTo>
                  <a:lnTo>
                    <a:pt x="37" y="929"/>
                  </a:lnTo>
                  <a:lnTo>
                    <a:pt x="31" y="935"/>
                  </a:lnTo>
                  <a:lnTo>
                    <a:pt x="26" y="941"/>
                  </a:lnTo>
                  <a:lnTo>
                    <a:pt x="21" y="948"/>
                  </a:lnTo>
                  <a:lnTo>
                    <a:pt x="16" y="955"/>
                  </a:lnTo>
                  <a:lnTo>
                    <a:pt x="12" y="962"/>
                  </a:lnTo>
                  <a:lnTo>
                    <a:pt x="9" y="970"/>
                  </a:lnTo>
                  <a:lnTo>
                    <a:pt x="6" y="978"/>
                  </a:lnTo>
                  <a:lnTo>
                    <a:pt x="3" y="987"/>
                  </a:lnTo>
                  <a:lnTo>
                    <a:pt x="2" y="995"/>
                  </a:lnTo>
                  <a:lnTo>
                    <a:pt x="1" y="1004"/>
                  </a:lnTo>
                  <a:lnTo>
                    <a:pt x="0" y="1014"/>
                  </a:lnTo>
                  <a:lnTo>
                    <a:pt x="0" y="1024"/>
                  </a:lnTo>
                  <a:lnTo>
                    <a:pt x="1" y="1034"/>
                  </a:lnTo>
                  <a:lnTo>
                    <a:pt x="3" y="1044"/>
                  </a:lnTo>
                  <a:lnTo>
                    <a:pt x="6" y="1055"/>
                  </a:lnTo>
                  <a:lnTo>
                    <a:pt x="10" y="1066"/>
                  </a:lnTo>
                  <a:lnTo>
                    <a:pt x="14" y="1077"/>
                  </a:lnTo>
                  <a:lnTo>
                    <a:pt x="19" y="1088"/>
                  </a:lnTo>
                  <a:lnTo>
                    <a:pt x="24" y="1098"/>
                  </a:lnTo>
                  <a:lnTo>
                    <a:pt x="29" y="1109"/>
                  </a:lnTo>
                  <a:lnTo>
                    <a:pt x="35" y="1119"/>
                  </a:lnTo>
                  <a:lnTo>
                    <a:pt x="42" y="1129"/>
                  </a:lnTo>
                  <a:lnTo>
                    <a:pt x="49" y="1139"/>
                  </a:lnTo>
                  <a:lnTo>
                    <a:pt x="56" y="1148"/>
                  </a:lnTo>
                  <a:lnTo>
                    <a:pt x="64" y="1158"/>
                  </a:lnTo>
                  <a:lnTo>
                    <a:pt x="72" y="1167"/>
                  </a:lnTo>
                  <a:lnTo>
                    <a:pt x="81" y="1175"/>
                  </a:lnTo>
                  <a:lnTo>
                    <a:pt x="90" y="1184"/>
                  </a:lnTo>
                  <a:lnTo>
                    <a:pt x="99" y="1192"/>
                  </a:lnTo>
                  <a:lnTo>
                    <a:pt x="109" y="1200"/>
                  </a:lnTo>
                  <a:lnTo>
                    <a:pt x="130" y="1215"/>
                  </a:lnTo>
                  <a:lnTo>
                    <a:pt x="141" y="1221"/>
                  </a:lnTo>
                  <a:lnTo>
                    <a:pt x="152" y="1228"/>
                  </a:lnTo>
                  <a:lnTo>
                    <a:pt x="164" y="1234"/>
                  </a:lnTo>
                  <a:lnTo>
                    <a:pt x="176" y="1240"/>
                  </a:lnTo>
                  <a:lnTo>
                    <a:pt x="189" y="1245"/>
                  </a:lnTo>
                  <a:lnTo>
                    <a:pt x="202" y="1250"/>
                  </a:lnTo>
                  <a:lnTo>
                    <a:pt x="215" y="1254"/>
                  </a:lnTo>
                  <a:lnTo>
                    <a:pt x="229" y="1258"/>
                  </a:lnTo>
                  <a:lnTo>
                    <a:pt x="243" y="1262"/>
                  </a:lnTo>
                  <a:lnTo>
                    <a:pt x="257" y="1265"/>
                  </a:lnTo>
                  <a:lnTo>
                    <a:pt x="271" y="1268"/>
                  </a:lnTo>
                  <a:lnTo>
                    <a:pt x="286" y="1270"/>
                  </a:lnTo>
                  <a:lnTo>
                    <a:pt x="302" y="1272"/>
                  </a:lnTo>
                  <a:lnTo>
                    <a:pt x="317" y="1273"/>
                  </a:lnTo>
                  <a:lnTo>
                    <a:pt x="333" y="1274"/>
                  </a:lnTo>
                  <a:lnTo>
                    <a:pt x="350" y="1274"/>
                  </a:lnTo>
                  <a:lnTo>
                    <a:pt x="375" y="1274"/>
                  </a:lnTo>
                  <a:lnTo>
                    <a:pt x="400" y="1273"/>
                  </a:lnTo>
                  <a:lnTo>
                    <a:pt x="412" y="1272"/>
                  </a:lnTo>
                  <a:lnTo>
                    <a:pt x="424" y="1270"/>
                  </a:lnTo>
                  <a:lnTo>
                    <a:pt x="448" y="1267"/>
                  </a:lnTo>
                  <a:lnTo>
                    <a:pt x="472" y="1264"/>
                  </a:lnTo>
                  <a:lnTo>
                    <a:pt x="495" y="1259"/>
                  </a:lnTo>
                  <a:lnTo>
                    <a:pt x="517" y="1253"/>
                  </a:lnTo>
                  <a:lnTo>
                    <a:pt x="539" y="1247"/>
                  </a:lnTo>
                  <a:lnTo>
                    <a:pt x="561" y="1239"/>
                  </a:lnTo>
                  <a:lnTo>
                    <a:pt x="581" y="1231"/>
                  </a:lnTo>
                  <a:lnTo>
                    <a:pt x="602" y="1222"/>
                  </a:lnTo>
                  <a:lnTo>
                    <a:pt x="622" y="1212"/>
                  </a:lnTo>
                  <a:lnTo>
                    <a:pt x="641" y="1202"/>
                  </a:lnTo>
                  <a:lnTo>
                    <a:pt x="660" y="1190"/>
                  </a:lnTo>
                  <a:lnTo>
                    <a:pt x="678" y="1178"/>
                  </a:lnTo>
                  <a:lnTo>
                    <a:pt x="695" y="1164"/>
                  </a:lnTo>
                  <a:lnTo>
                    <a:pt x="713" y="1150"/>
                  </a:lnTo>
                  <a:lnTo>
                    <a:pt x="721" y="1143"/>
                  </a:lnTo>
                  <a:lnTo>
                    <a:pt x="730" y="1135"/>
                  </a:lnTo>
                  <a:lnTo>
                    <a:pt x="745" y="1120"/>
                  </a:lnTo>
                  <a:lnTo>
                    <a:pt x="759" y="1104"/>
                  </a:lnTo>
                  <a:lnTo>
                    <a:pt x="772" y="1087"/>
                  </a:lnTo>
                  <a:lnTo>
                    <a:pt x="778" y="1079"/>
                  </a:lnTo>
                  <a:lnTo>
                    <a:pt x="784" y="1071"/>
                  </a:lnTo>
                  <a:lnTo>
                    <a:pt x="795" y="1053"/>
                  </a:lnTo>
                  <a:lnTo>
                    <a:pt x="800" y="1045"/>
                  </a:lnTo>
                  <a:lnTo>
                    <a:pt x="805" y="1036"/>
                  </a:lnTo>
                  <a:lnTo>
                    <a:pt x="813" y="1017"/>
                  </a:lnTo>
                  <a:lnTo>
                    <a:pt x="817" y="1008"/>
                  </a:lnTo>
                  <a:lnTo>
                    <a:pt x="820" y="999"/>
                  </a:lnTo>
                  <a:lnTo>
                    <a:pt x="827" y="980"/>
                  </a:lnTo>
                  <a:lnTo>
                    <a:pt x="829" y="970"/>
                  </a:lnTo>
                  <a:lnTo>
                    <a:pt x="832" y="960"/>
                  </a:lnTo>
                  <a:lnTo>
                    <a:pt x="836" y="940"/>
                  </a:lnTo>
                  <a:lnTo>
                    <a:pt x="837" y="930"/>
                  </a:lnTo>
                  <a:lnTo>
                    <a:pt x="839" y="920"/>
                  </a:lnTo>
                  <a:lnTo>
                    <a:pt x="840" y="899"/>
                  </a:lnTo>
                  <a:lnTo>
                    <a:pt x="841" y="888"/>
                  </a:lnTo>
                  <a:lnTo>
                    <a:pt x="841" y="878"/>
                  </a:lnTo>
                  <a:lnTo>
                    <a:pt x="840" y="858"/>
                  </a:lnTo>
                  <a:lnTo>
                    <a:pt x="839" y="848"/>
                  </a:lnTo>
                  <a:lnTo>
                    <a:pt x="838" y="839"/>
                  </a:lnTo>
                  <a:lnTo>
                    <a:pt x="835" y="819"/>
                  </a:lnTo>
                  <a:lnTo>
                    <a:pt x="833" y="810"/>
                  </a:lnTo>
                  <a:lnTo>
                    <a:pt x="830" y="800"/>
                  </a:lnTo>
                  <a:lnTo>
                    <a:pt x="827" y="790"/>
                  </a:lnTo>
                  <a:lnTo>
                    <a:pt x="824" y="781"/>
                  </a:lnTo>
                  <a:lnTo>
                    <a:pt x="817" y="762"/>
                  </a:lnTo>
                  <a:lnTo>
                    <a:pt x="813" y="753"/>
                  </a:lnTo>
                  <a:lnTo>
                    <a:pt x="808" y="743"/>
                  </a:lnTo>
                  <a:lnTo>
                    <a:pt x="803" y="734"/>
                  </a:lnTo>
                  <a:lnTo>
                    <a:pt x="798" y="725"/>
                  </a:lnTo>
                  <a:lnTo>
                    <a:pt x="787" y="706"/>
                  </a:lnTo>
                  <a:lnTo>
                    <a:pt x="781" y="697"/>
                  </a:lnTo>
                  <a:lnTo>
                    <a:pt x="774" y="688"/>
                  </a:lnTo>
                  <a:lnTo>
                    <a:pt x="767" y="679"/>
                  </a:lnTo>
                  <a:lnTo>
                    <a:pt x="760" y="670"/>
                  </a:lnTo>
                  <a:lnTo>
                    <a:pt x="745" y="652"/>
                  </a:lnTo>
                  <a:lnTo>
                    <a:pt x="737" y="643"/>
                  </a:lnTo>
                  <a:lnTo>
                    <a:pt x="728" y="634"/>
                  </a:lnTo>
                  <a:lnTo>
                    <a:pt x="709" y="616"/>
                  </a:lnTo>
                  <a:lnTo>
                    <a:pt x="700" y="608"/>
                  </a:lnTo>
                  <a:lnTo>
                    <a:pt x="690" y="599"/>
                  </a:lnTo>
                  <a:lnTo>
                    <a:pt x="670" y="582"/>
                  </a:lnTo>
                  <a:lnTo>
                    <a:pt x="589" y="515"/>
                  </a:lnTo>
                  <a:lnTo>
                    <a:pt x="528" y="464"/>
                  </a:lnTo>
                  <a:lnTo>
                    <a:pt x="501" y="442"/>
                  </a:lnTo>
                  <a:lnTo>
                    <a:pt x="478" y="421"/>
                  </a:lnTo>
                  <a:lnTo>
                    <a:pt x="458" y="402"/>
                  </a:lnTo>
                  <a:lnTo>
                    <a:pt x="440" y="384"/>
                  </a:lnTo>
                  <a:lnTo>
                    <a:pt x="425" y="369"/>
                  </a:lnTo>
                  <a:lnTo>
                    <a:pt x="419" y="362"/>
                  </a:lnTo>
                  <a:lnTo>
                    <a:pt x="414" y="356"/>
                  </a:lnTo>
                  <a:lnTo>
                    <a:pt x="406" y="345"/>
                  </a:lnTo>
                  <a:lnTo>
                    <a:pt x="399" y="335"/>
                  </a:lnTo>
                  <a:lnTo>
                    <a:pt x="396" y="330"/>
                  </a:lnTo>
                  <a:lnTo>
                    <a:pt x="394" y="324"/>
                  </a:lnTo>
                  <a:lnTo>
                    <a:pt x="389" y="314"/>
                  </a:lnTo>
                  <a:lnTo>
                    <a:pt x="386" y="303"/>
                  </a:lnTo>
                  <a:lnTo>
                    <a:pt x="383" y="293"/>
                  </a:lnTo>
                  <a:lnTo>
                    <a:pt x="381" y="282"/>
                  </a:lnTo>
                  <a:lnTo>
                    <a:pt x="380" y="272"/>
                  </a:lnTo>
                  <a:lnTo>
                    <a:pt x="380" y="264"/>
                  </a:lnTo>
                  <a:lnTo>
                    <a:pt x="380" y="257"/>
                  </a:lnTo>
                  <a:lnTo>
                    <a:pt x="382" y="249"/>
                  </a:lnTo>
                  <a:lnTo>
                    <a:pt x="384" y="241"/>
                  </a:lnTo>
                  <a:lnTo>
                    <a:pt x="386" y="233"/>
                  </a:lnTo>
                  <a:lnTo>
                    <a:pt x="390" y="225"/>
                  </a:lnTo>
                  <a:lnTo>
                    <a:pt x="394" y="217"/>
                  </a:lnTo>
                  <a:lnTo>
                    <a:pt x="398" y="210"/>
                  </a:lnTo>
                  <a:lnTo>
                    <a:pt x="404" y="202"/>
                  </a:lnTo>
                  <a:lnTo>
                    <a:pt x="407" y="198"/>
                  </a:lnTo>
                  <a:lnTo>
                    <a:pt x="410" y="195"/>
                  </a:lnTo>
                  <a:lnTo>
                    <a:pt x="416" y="188"/>
                  </a:lnTo>
                  <a:lnTo>
                    <a:pt x="423" y="181"/>
                  </a:lnTo>
                  <a:lnTo>
                    <a:pt x="431" y="174"/>
                  </a:lnTo>
                  <a:lnTo>
                    <a:pt x="439" y="168"/>
                  </a:lnTo>
                  <a:lnTo>
                    <a:pt x="447" y="163"/>
                  </a:lnTo>
                  <a:lnTo>
                    <a:pt x="456" y="157"/>
                  </a:lnTo>
                  <a:lnTo>
                    <a:pt x="466" y="152"/>
                  </a:lnTo>
                  <a:lnTo>
                    <a:pt x="476" y="148"/>
                  </a:lnTo>
                  <a:lnTo>
                    <a:pt x="486" y="145"/>
                  </a:lnTo>
                  <a:lnTo>
                    <a:pt x="497" y="142"/>
                  </a:lnTo>
                  <a:lnTo>
                    <a:pt x="509" y="140"/>
                  </a:lnTo>
                  <a:lnTo>
                    <a:pt x="514" y="139"/>
                  </a:lnTo>
                  <a:lnTo>
                    <a:pt x="520" y="139"/>
                  </a:lnTo>
                  <a:lnTo>
                    <a:pt x="532" y="139"/>
                  </a:lnTo>
                  <a:lnTo>
                    <a:pt x="545" y="139"/>
                  </a:lnTo>
                  <a:lnTo>
                    <a:pt x="557" y="141"/>
                  </a:lnTo>
                  <a:lnTo>
                    <a:pt x="570" y="143"/>
                  </a:lnTo>
                  <a:lnTo>
                    <a:pt x="584" y="147"/>
                  </a:lnTo>
                  <a:lnTo>
                    <a:pt x="590" y="149"/>
                  </a:lnTo>
                  <a:lnTo>
                    <a:pt x="597" y="152"/>
                  </a:lnTo>
                  <a:lnTo>
                    <a:pt x="611" y="157"/>
                  </a:lnTo>
                  <a:lnTo>
                    <a:pt x="625" y="165"/>
                  </a:lnTo>
                  <a:lnTo>
                    <a:pt x="639" y="174"/>
                  </a:lnTo>
                  <a:lnTo>
                    <a:pt x="654" y="18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CBE1737F-B77F-4D0C-AE0F-0063DA6D7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2887" y="2291616"/>
              <a:ext cx="522380" cy="117366"/>
            </a:xfrm>
            <a:custGeom>
              <a:avLst/>
              <a:gdLst>
                <a:gd name="T0" fmla="*/ 355 w 2718"/>
                <a:gd name="T1" fmla="*/ 506 h 611"/>
                <a:gd name="T2" fmla="*/ 571 w 2718"/>
                <a:gd name="T3" fmla="*/ 436 h 611"/>
                <a:gd name="T4" fmla="*/ 776 w 2718"/>
                <a:gd name="T5" fmla="*/ 379 h 611"/>
                <a:gd name="T6" fmla="*/ 972 w 2718"/>
                <a:gd name="T7" fmla="*/ 334 h 611"/>
                <a:gd name="T8" fmla="*/ 1141 w 2718"/>
                <a:gd name="T9" fmla="*/ 303 h 611"/>
                <a:gd name="T10" fmla="*/ 1335 w 2718"/>
                <a:gd name="T11" fmla="*/ 278 h 611"/>
                <a:gd name="T12" fmla="*/ 1516 w 2718"/>
                <a:gd name="T13" fmla="*/ 265 h 611"/>
                <a:gd name="T14" fmla="*/ 1718 w 2718"/>
                <a:gd name="T15" fmla="*/ 262 h 611"/>
                <a:gd name="T16" fmla="*/ 1875 w 2718"/>
                <a:gd name="T17" fmla="*/ 270 h 611"/>
                <a:gd name="T18" fmla="*/ 2020 w 2718"/>
                <a:gd name="T19" fmla="*/ 286 h 611"/>
                <a:gd name="T20" fmla="*/ 2153 w 2718"/>
                <a:gd name="T21" fmla="*/ 309 h 611"/>
                <a:gd name="T22" fmla="*/ 2298 w 2718"/>
                <a:gd name="T23" fmla="*/ 345 h 611"/>
                <a:gd name="T24" fmla="*/ 2427 w 2718"/>
                <a:gd name="T25" fmla="*/ 387 h 611"/>
                <a:gd name="T26" fmla="*/ 2540 w 2718"/>
                <a:gd name="T27" fmla="*/ 433 h 611"/>
                <a:gd name="T28" fmla="*/ 2666 w 2718"/>
                <a:gd name="T29" fmla="*/ 500 h 611"/>
                <a:gd name="T30" fmla="*/ 2718 w 2718"/>
                <a:gd name="T31" fmla="*/ 526 h 611"/>
                <a:gd name="T32" fmla="*/ 2713 w 2718"/>
                <a:gd name="T33" fmla="*/ 509 h 611"/>
                <a:gd name="T34" fmla="*/ 2693 w 2718"/>
                <a:gd name="T35" fmla="*/ 478 h 611"/>
                <a:gd name="T36" fmla="*/ 2658 w 2718"/>
                <a:gd name="T37" fmla="*/ 440 h 611"/>
                <a:gd name="T38" fmla="*/ 2589 w 2718"/>
                <a:gd name="T39" fmla="*/ 383 h 611"/>
                <a:gd name="T40" fmla="*/ 2496 w 2718"/>
                <a:gd name="T41" fmla="*/ 323 h 611"/>
                <a:gd name="T42" fmla="*/ 2380 w 2718"/>
                <a:gd name="T43" fmla="*/ 262 h 611"/>
                <a:gd name="T44" fmla="*/ 2242 w 2718"/>
                <a:gd name="T45" fmla="*/ 204 h 611"/>
                <a:gd name="T46" fmla="*/ 2083 w 2718"/>
                <a:gd name="T47" fmla="*/ 153 h 611"/>
                <a:gd name="T48" fmla="*/ 1917 w 2718"/>
                <a:gd name="T49" fmla="*/ 115 h 611"/>
                <a:gd name="T50" fmla="*/ 1784 w 2718"/>
                <a:gd name="T51" fmla="*/ 97 h 611"/>
                <a:gd name="T52" fmla="*/ 1648 w 2718"/>
                <a:gd name="T53" fmla="*/ 87 h 611"/>
                <a:gd name="T54" fmla="*/ 1478 w 2718"/>
                <a:gd name="T55" fmla="*/ 87 h 611"/>
                <a:gd name="T56" fmla="*/ 1343 w 2718"/>
                <a:gd name="T57" fmla="*/ 96 h 611"/>
                <a:gd name="T58" fmla="*/ 1177 w 2718"/>
                <a:gd name="T59" fmla="*/ 114 h 611"/>
                <a:gd name="T60" fmla="*/ 1047 w 2718"/>
                <a:gd name="T61" fmla="*/ 135 h 611"/>
                <a:gd name="T62" fmla="*/ 893 w 2718"/>
                <a:gd name="T63" fmla="*/ 165 h 611"/>
                <a:gd name="T64" fmla="*/ 667 w 2718"/>
                <a:gd name="T65" fmla="*/ 220 h 611"/>
                <a:gd name="T66" fmla="*/ 477 w 2718"/>
                <a:gd name="T67" fmla="*/ 277 h 611"/>
                <a:gd name="T68" fmla="*/ 278 w 2718"/>
                <a:gd name="T69" fmla="*/ 345 h 611"/>
                <a:gd name="T70" fmla="*/ 252 w 2718"/>
                <a:gd name="T71" fmla="*/ 269 h 611"/>
                <a:gd name="T72" fmla="*/ 265 w 2718"/>
                <a:gd name="T73" fmla="*/ 153 h 611"/>
                <a:gd name="T74" fmla="*/ 263 w 2718"/>
                <a:gd name="T75" fmla="*/ 99 h 611"/>
                <a:gd name="T76" fmla="*/ 254 w 2718"/>
                <a:gd name="T77" fmla="*/ 62 h 611"/>
                <a:gd name="T78" fmla="*/ 237 w 2718"/>
                <a:gd name="T79" fmla="*/ 30 h 611"/>
                <a:gd name="T80" fmla="*/ 217 w 2718"/>
                <a:gd name="T81" fmla="*/ 12 h 611"/>
                <a:gd name="T82" fmla="*/ 192 w 2718"/>
                <a:gd name="T83" fmla="*/ 3 h 611"/>
                <a:gd name="T84" fmla="*/ 163 w 2718"/>
                <a:gd name="T85" fmla="*/ 1 h 611"/>
                <a:gd name="T86" fmla="*/ 132 w 2718"/>
                <a:gd name="T87" fmla="*/ 6 h 611"/>
                <a:gd name="T88" fmla="*/ 103 w 2718"/>
                <a:gd name="T89" fmla="*/ 20 h 611"/>
                <a:gd name="T90" fmla="*/ 76 w 2718"/>
                <a:gd name="T91" fmla="*/ 44 h 611"/>
                <a:gd name="T92" fmla="*/ 56 w 2718"/>
                <a:gd name="T93" fmla="*/ 79 h 611"/>
                <a:gd name="T94" fmla="*/ 43 w 2718"/>
                <a:gd name="T95" fmla="*/ 126 h 611"/>
                <a:gd name="T96" fmla="*/ 26 w 2718"/>
                <a:gd name="T97" fmla="*/ 308 h 611"/>
                <a:gd name="T98" fmla="*/ 0 w 2718"/>
                <a:gd name="T99" fmla="*/ 527 h 611"/>
                <a:gd name="T100" fmla="*/ 3 w 2718"/>
                <a:gd name="T101" fmla="*/ 570 h 611"/>
                <a:gd name="T102" fmla="*/ 14 w 2718"/>
                <a:gd name="T103" fmla="*/ 596 h 611"/>
                <a:gd name="T104" fmla="*/ 34 w 2718"/>
                <a:gd name="T105" fmla="*/ 609 h 611"/>
                <a:gd name="T106" fmla="*/ 61 w 2718"/>
                <a:gd name="T107" fmla="*/ 610 h 611"/>
                <a:gd name="T108" fmla="*/ 110 w 2718"/>
                <a:gd name="T109" fmla="*/ 598 h 611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718" h="611">
                  <a:moveTo>
                    <a:pt x="187" y="568"/>
                  </a:moveTo>
                  <a:lnTo>
                    <a:pt x="244" y="546"/>
                  </a:lnTo>
                  <a:lnTo>
                    <a:pt x="300" y="526"/>
                  </a:lnTo>
                  <a:lnTo>
                    <a:pt x="355" y="506"/>
                  </a:lnTo>
                  <a:lnTo>
                    <a:pt x="410" y="487"/>
                  </a:lnTo>
                  <a:lnTo>
                    <a:pt x="464" y="469"/>
                  </a:lnTo>
                  <a:lnTo>
                    <a:pt x="518" y="452"/>
                  </a:lnTo>
                  <a:lnTo>
                    <a:pt x="571" y="436"/>
                  </a:lnTo>
                  <a:lnTo>
                    <a:pt x="623" y="420"/>
                  </a:lnTo>
                  <a:lnTo>
                    <a:pt x="675" y="406"/>
                  </a:lnTo>
                  <a:lnTo>
                    <a:pt x="726" y="392"/>
                  </a:lnTo>
                  <a:lnTo>
                    <a:pt x="776" y="379"/>
                  </a:lnTo>
                  <a:lnTo>
                    <a:pt x="826" y="366"/>
                  </a:lnTo>
                  <a:lnTo>
                    <a:pt x="876" y="355"/>
                  </a:lnTo>
                  <a:lnTo>
                    <a:pt x="924" y="344"/>
                  </a:lnTo>
                  <a:lnTo>
                    <a:pt x="972" y="334"/>
                  </a:lnTo>
                  <a:lnTo>
                    <a:pt x="1020" y="325"/>
                  </a:lnTo>
                  <a:lnTo>
                    <a:pt x="1061" y="317"/>
                  </a:lnTo>
                  <a:lnTo>
                    <a:pt x="1101" y="310"/>
                  </a:lnTo>
                  <a:lnTo>
                    <a:pt x="1141" y="303"/>
                  </a:lnTo>
                  <a:lnTo>
                    <a:pt x="1181" y="297"/>
                  </a:lnTo>
                  <a:lnTo>
                    <a:pt x="1259" y="287"/>
                  </a:lnTo>
                  <a:lnTo>
                    <a:pt x="1297" y="282"/>
                  </a:lnTo>
                  <a:lnTo>
                    <a:pt x="1335" y="278"/>
                  </a:lnTo>
                  <a:lnTo>
                    <a:pt x="1409" y="271"/>
                  </a:lnTo>
                  <a:lnTo>
                    <a:pt x="1445" y="269"/>
                  </a:lnTo>
                  <a:lnTo>
                    <a:pt x="1481" y="266"/>
                  </a:lnTo>
                  <a:lnTo>
                    <a:pt x="1516" y="265"/>
                  </a:lnTo>
                  <a:lnTo>
                    <a:pt x="1551" y="263"/>
                  </a:lnTo>
                  <a:lnTo>
                    <a:pt x="1619" y="262"/>
                  </a:lnTo>
                  <a:lnTo>
                    <a:pt x="1686" y="261"/>
                  </a:lnTo>
                  <a:lnTo>
                    <a:pt x="1718" y="262"/>
                  </a:lnTo>
                  <a:lnTo>
                    <a:pt x="1751" y="263"/>
                  </a:lnTo>
                  <a:lnTo>
                    <a:pt x="1814" y="266"/>
                  </a:lnTo>
                  <a:lnTo>
                    <a:pt x="1844" y="268"/>
                  </a:lnTo>
                  <a:lnTo>
                    <a:pt x="1875" y="270"/>
                  </a:lnTo>
                  <a:lnTo>
                    <a:pt x="1934" y="276"/>
                  </a:lnTo>
                  <a:lnTo>
                    <a:pt x="1963" y="279"/>
                  </a:lnTo>
                  <a:lnTo>
                    <a:pt x="1992" y="282"/>
                  </a:lnTo>
                  <a:lnTo>
                    <a:pt x="2020" y="286"/>
                  </a:lnTo>
                  <a:lnTo>
                    <a:pt x="2047" y="290"/>
                  </a:lnTo>
                  <a:lnTo>
                    <a:pt x="2074" y="295"/>
                  </a:lnTo>
                  <a:lnTo>
                    <a:pt x="2101" y="299"/>
                  </a:lnTo>
                  <a:lnTo>
                    <a:pt x="2153" y="309"/>
                  </a:lnTo>
                  <a:lnTo>
                    <a:pt x="2203" y="320"/>
                  </a:lnTo>
                  <a:lnTo>
                    <a:pt x="2252" y="332"/>
                  </a:lnTo>
                  <a:lnTo>
                    <a:pt x="2275" y="338"/>
                  </a:lnTo>
                  <a:lnTo>
                    <a:pt x="2298" y="345"/>
                  </a:lnTo>
                  <a:lnTo>
                    <a:pt x="2343" y="358"/>
                  </a:lnTo>
                  <a:lnTo>
                    <a:pt x="2365" y="365"/>
                  </a:lnTo>
                  <a:lnTo>
                    <a:pt x="2386" y="372"/>
                  </a:lnTo>
                  <a:lnTo>
                    <a:pt x="2427" y="387"/>
                  </a:lnTo>
                  <a:lnTo>
                    <a:pt x="2467" y="402"/>
                  </a:lnTo>
                  <a:lnTo>
                    <a:pt x="2504" y="417"/>
                  </a:lnTo>
                  <a:lnTo>
                    <a:pt x="2522" y="425"/>
                  </a:lnTo>
                  <a:lnTo>
                    <a:pt x="2540" y="433"/>
                  </a:lnTo>
                  <a:lnTo>
                    <a:pt x="2574" y="450"/>
                  </a:lnTo>
                  <a:lnTo>
                    <a:pt x="2606" y="466"/>
                  </a:lnTo>
                  <a:lnTo>
                    <a:pt x="2638" y="483"/>
                  </a:lnTo>
                  <a:lnTo>
                    <a:pt x="2666" y="500"/>
                  </a:lnTo>
                  <a:lnTo>
                    <a:pt x="2680" y="508"/>
                  </a:lnTo>
                  <a:lnTo>
                    <a:pt x="2693" y="517"/>
                  </a:lnTo>
                  <a:lnTo>
                    <a:pt x="2718" y="534"/>
                  </a:lnTo>
                  <a:lnTo>
                    <a:pt x="2718" y="526"/>
                  </a:lnTo>
                  <a:lnTo>
                    <a:pt x="2717" y="523"/>
                  </a:lnTo>
                  <a:lnTo>
                    <a:pt x="2716" y="518"/>
                  </a:lnTo>
                  <a:lnTo>
                    <a:pt x="2715" y="514"/>
                  </a:lnTo>
                  <a:lnTo>
                    <a:pt x="2713" y="509"/>
                  </a:lnTo>
                  <a:lnTo>
                    <a:pt x="2710" y="505"/>
                  </a:lnTo>
                  <a:lnTo>
                    <a:pt x="2708" y="499"/>
                  </a:lnTo>
                  <a:lnTo>
                    <a:pt x="2701" y="489"/>
                  </a:lnTo>
                  <a:lnTo>
                    <a:pt x="2693" y="478"/>
                  </a:lnTo>
                  <a:lnTo>
                    <a:pt x="2683" y="466"/>
                  </a:lnTo>
                  <a:lnTo>
                    <a:pt x="2671" y="453"/>
                  </a:lnTo>
                  <a:lnTo>
                    <a:pt x="2665" y="447"/>
                  </a:lnTo>
                  <a:lnTo>
                    <a:pt x="2658" y="440"/>
                  </a:lnTo>
                  <a:lnTo>
                    <a:pt x="2643" y="426"/>
                  </a:lnTo>
                  <a:lnTo>
                    <a:pt x="2627" y="412"/>
                  </a:lnTo>
                  <a:lnTo>
                    <a:pt x="2608" y="398"/>
                  </a:lnTo>
                  <a:lnTo>
                    <a:pt x="2589" y="383"/>
                  </a:lnTo>
                  <a:lnTo>
                    <a:pt x="2568" y="368"/>
                  </a:lnTo>
                  <a:lnTo>
                    <a:pt x="2545" y="353"/>
                  </a:lnTo>
                  <a:lnTo>
                    <a:pt x="2521" y="338"/>
                  </a:lnTo>
                  <a:lnTo>
                    <a:pt x="2496" y="323"/>
                  </a:lnTo>
                  <a:lnTo>
                    <a:pt x="2469" y="307"/>
                  </a:lnTo>
                  <a:lnTo>
                    <a:pt x="2441" y="292"/>
                  </a:lnTo>
                  <a:lnTo>
                    <a:pt x="2411" y="277"/>
                  </a:lnTo>
                  <a:lnTo>
                    <a:pt x="2380" y="262"/>
                  </a:lnTo>
                  <a:lnTo>
                    <a:pt x="2348" y="247"/>
                  </a:lnTo>
                  <a:lnTo>
                    <a:pt x="2314" y="232"/>
                  </a:lnTo>
                  <a:lnTo>
                    <a:pt x="2279" y="218"/>
                  </a:lnTo>
                  <a:lnTo>
                    <a:pt x="2242" y="204"/>
                  </a:lnTo>
                  <a:lnTo>
                    <a:pt x="2204" y="190"/>
                  </a:lnTo>
                  <a:lnTo>
                    <a:pt x="2165" y="177"/>
                  </a:lnTo>
                  <a:lnTo>
                    <a:pt x="2125" y="165"/>
                  </a:lnTo>
                  <a:lnTo>
                    <a:pt x="2083" y="153"/>
                  </a:lnTo>
                  <a:lnTo>
                    <a:pt x="2040" y="142"/>
                  </a:lnTo>
                  <a:lnTo>
                    <a:pt x="1996" y="131"/>
                  </a:lnTo>
                  <a:lnTo>
                    <a:pt x="1950" y="122"/>
                  </a:lnTo>
                  <a:lnTo>
                    <a:pt x="1917" y="115"/>
                  </a:lnTo>
                  <a:lnTo>
                    <a:pt x="1884" y="110"/>
                  </a:lnTo>
                  <a:lnTo>
                    <a:pt x="1851" y="105"/>
                  </a:lnTo>
                  <a:lnTo>
                    <a:pt x="1817" y="100"/>
                  </a:lnTo>
                  <a:lnTo>
                    <a:pt x="1784" y="97"/>
                  </a:lnTo>
                  <a:lnTo>
                    <a:pt x="1750" y="93"/>
                  </a:lnTo>
                  <a:lnTo>
                    <a:pt x="1716" y="91"/>
                  </a:lnTo>
                  <a:lnTo>
                    <a:pt x="1682" y="89"/>
                  </a:lnTo>
                  <a:lnTo>
                    <a:pt x="1648" y="87"/>
                  </a:lnTo>
                  <a:lnTo>
                    <a:pt x="1614" y="86"/>
                  </a:lnTo>
                  <a:lnTo>
                    <a:pt x="1580" y="86"/>
                  </a:lnTo>
                  <a:lnTo>
                    <a:pt x="1546" y="86"/>
                  </a:lnTo>
                  <a:lnTo>
                    <a:pt x="1478" y="87"/>
                  </a:lnTo>
                  <a:lnTo>
                    <a:pt x="1444" y="89"/>
                  </a:lnTo>
                  <a:lnTo>
                    <a:pt x="1410" y="91"/>
                  </a:lnTo>
                  <a:lnTo>
                    <a:pt x="1377" y="93"/>
                  </a:lnTo>
                  <a:lnTo>
                    <a:pt x="1343" y="96"/>
                  </a:lnTo>
                  <a:lnTo>
                    <a:pt x="1309" y="99"/>
                  </a:lnTo>
                  <a:lnTo>
                    <a:pt x="1276" y="102"/>
                  </a:lnTo>
                  <a:lnTo>
                    <a:pt x="1210" y="110"/>
                  </a:lnTo>
                  <a:lnTo>
                    <a:pt x="1177" y="114"/>
                  </a:lnTo>
                  <a:lnTo>
                    <a:pt x="1143" y="119"/>
                  </a:lnTo>
                  <a:lnTo>
                    <a:pt x="1111" y="124"/>
                  </a:lnTo>
                  <a:lnTo>
                    <a:pt x="1079" y="129"/>
                  </a:lnTo>
                  <a:lnTo>
                    <a:pt x="1047" y="135"/>
                  </a:lnTo>
                  <a:lnTo>
                    <a:pt x="1015" y="140"/>
                  </a:lnTo>
                  <a:lnTo>
                    <a:pt x="984" y="146"/>
                  </a:lnTo>
                  <a:lnTo>
                    <a:pt x="953" y="152"/>
                  </a:lnTo>
                  <a:lnTo>
                    <a:pt x="893" y="165"/>
                  </a:lnTo>
                  <a:lnTo>
                    <a:pt x="833" y="178"/>
                  </a:lnTo>
                  <a:lnTo>
                    <a:pt x="776" y="192"/>
                  </a:lnTo>
                  <a:lnTo>
                    <a:pt x="721" y="206"/>
                  </a:lnTo>
                  <a:lnTo>
                    <a:pt x="667" y="220"/>
                  </a:lnTo>
                  <a:lnTo>
                    <a:pt x="616" y="235"/>
                  </a:lnTo>
                  <a:lnTo>
                    <a:pt x="567" y="249"/>
                  </a:lnTo>
                  <a:lnTo>
                    <a:pt x="520" y="263"/>
                  </a:lnTo>
                  <a:lnTo>
                    <a:pt x="477" y="277"/>
                  </a:lnTo>
                  <a:lnTo>
                    <a:pt x="436" y="290"/>
                  </a:lnTo>
                  <a:lnTo>
                    <a:pt x="397" y="303"/>
                  </a:lnTo>
                  <a:lnTo>
                    <a:pt x="331" y="326"/>
                  </a:lnTo>
                  <a:lnTo>
                    <a:pt x="278" y="345"/>
                  </a:lnTo>
                  <a:lnTo>
                    <a:pt x="239" y="360"/>
                  </a:lnTo>
                  <a:lnTo>
                    <a:pt x="242" y="338"/>
                  </a:lnTo>
                  <a:lnTo>
                    <a:pt x="245" y="316"/>
                  </a:lnTo>
                  <a:lnTo>
                    <a:pt x="252" y="269"/>
                  </a:lnTo>
                  <a:lnTo>
                    <a:pt x="259" y="222"/>
                  </a:lnTo>
                  <a:lnTo>
                    <a:pt x="262" y="199"/>
                  </a:lnTo>
                  <a:lnTo>
                    <a:pt x="264" y="175"/>
                  </a:lnTo>
                  <a:lnTo>
                    <a:pt x="265" y="153"/>
                  </a:lnTo>
                  <a:lnTo>
                    <a:pt x="266" y="131"/>
                  </a:lnTo>
                  <a:lnTo>
                    <a:pt x="265" y="120"/>
                  </a:lnTo>
                  <a:lnTo>
                    <a:pt x="264" y="110"/>
                  </a:lnTo>
                  <a:lnTo>
                    <a:pt x="263" y="99"/>
                  </a:lnTo>
                  <a:lnTo>
                    <a:pt x="262" y="89"/>
                  </a:lnTo>
                  <a:lnTo>
                    <a:pt x="260" y="80"/>
                  </a:lnTo>
                  <a:lnTo>
                    <a:pt x="257" y="71"/>
                  </a:lnTo>
                  <a:lnTo>
                    <a:pt x="254" y="62"/>
                  </a:lnTo>
                  <a:lnTo>
                    <a:pt x="251" y="53"/>
                  </a:lnTo>
                  <a:lnTo>
                    <a:pt x="247" y="45"/>
                  </a:lnTo>
                  <a:lnTo>
                    <a:pt x="242" y="37"/>
                  </a:lnTo>
                  <a:lnTo>
                    <a:pt x="237" y="30"/>
                  </a:lnTo>
                  <a:lnTo>
                    <a:pt x="231" y="23"/>
                  </a:lnTo>
                  <a:lnTo>
                    <a:pt x="227" y="19"/>
                  </a:lnTo>
                  <a:lnTo>
                    <a:pt x="222" y="16"/>
                  </a:lnTo>
                  <a:lnTo>
                    <a:pt x="217" y="12"/>
                  </a:lnTo>
                  <a:lnTo>
                    <a:pt x="211" y="9"/>
                  </a:lnTo>
                  <a:lnTo>
                    <a:pt x="205" y="7"/>
                  </a:lnTo>
                  <a:lnTo>
                    <a:pt x="199" y="5"/>
                  </a:lnTo>
                  <a:lnTo>
                    <a:pt x="192" y="3"/>
                  </a:lnTo>
                  <a:lnTo>
                    <a:pt x="185" y="2"/>
                  </a:lnTo>
                  <a:lnTo>
                    <a:pt x="178" y="1"/>
                  </a:lnTo>
                  <a:lnTo>
                    <a:pt x="171" y="0"/>
                  </a:lnTo>
                  <a:lnTo>
                    <a:pt x="163" y="1"/>
                  </a:lnTo>
                  <a:lnTo>
                    <a:pt x="155" y="1"/>
                  </a:lnTo>
                  <a:lnTo>
                    <a:pt x="148" y="2"/>
                  </a:lnTo>
                  <a:lnTo>
                    <a:pt x="140" y="4"/>
                  </a:lnTo>
                  <a:lnTo>
                    <a:pt x="132" y="6"/>
                  </a:lnTo>
                  <a:lnTo>
                    <a:pt x="125" y="9"/>
                  </a:lnTo>
                  <a:lnTo>
                    <a:pt x="117" y="12"/>
                  </a:lnTo>
                  <a:lnTo>
                    <a:pt x="110" y="16"/>
                  </a:lnTo>
                  <a:lnTo>
                    <a:pt x="103" y="20"/>
                  </a:lnTo>
                  <a:lnTo>
                    <a:pt x="96" y="25"/>
                  </a:lnTo>
                  <a:lnTo>
                    <a:pt x="89" y="31"/>
                  </a:lnTo>
                  <a:lnTo>
                    <a:pt x="82" y="37"/>
                  </a:lnTo>
                  <a:lnTo>
                    <a:pt x="76" y="44"/>
                  </a:lnTo>
                  <a:lnTo>
                    <a:pt x="70" y="52"/>
                  </a:lnTo>
                  <a:lnTo>
                    <a:pt x="65" y="60"/>
                  </a:lnTo>
                  <a:lnTo>
                    <a:pt x="60" y="69"/>
                  </a:lnTo>
                  <a:lnTo>
                    <a:pt x="56" y="79"/>
                  </a:lnTo>
                  <a:lnTo>
                    <a:pt x="52" y="89"/>
                  </a:lnTo>
                  <a:lnTo>
                    <a:pt x="48" y="101"/>
                  </a:lnTo>
                  <a:lnTo>
                    <a:pt x="46" y="113"/>
                  </a:lnTo>
                  <a:lnTo>
                    <a:pt x="43" y="126"/>
                  </a:lnTo>
                  <a:lnTo>
                    <a:pt x="42" y="139"/>
                  </a:lnTo>
                  <a:lnTo>
                    <a:pt x="39" y="180"/>
                  </a:lnTo>
                  <a:lnTo>
                    <a:pt x="35" y="221"/>
                  </a:lnTo>
                  <a:lnTo>
                    <a:pt x="26" y="308"/>
                  </a:lnTo>
                  <a:lnTo>
                    <a:pt x="15" y="401"/>
                  </a:lnTo>
                  <a:lnTo>
                    <a:pt x="3" y="498"/>
                  </a:lnTo>
                  <a:lnTo>
                    <a:pt x="1" y="513"/>
                  </a:lnTo>
                  <a:lnTo>
                    <a:pt x="0" y="527"/>
                  </a:lnTo>
                  <a:lnTo>
                    <a:pt x="0" y="539"/>
                  </a:lnTo>
                  <a:lnTo>
                    <a:pt x="0" y="551"/>
                  </a:lnTo>
                  <a:lnTo>
                    <a:pt x="1" y="561"/>
                  </a:lnTo>
                  <a:lnTo>
                    <a:pt x="3" y="570"/>
                  </a:lnTo>
                  <a:lnTo>
                    <a:pt x="5" y="578"/>
                  </a:lnTo>
                  <a:lnTo>
                    <a:pt x="7" y="585"/>
                  </a:lnTo>
                  <a:lnTo>
                    <a:pt x="11" y="591"/>
                  </a:lnTo>
                  <a:lnTo>
                    <a:pt x="14" y="596"/>
                  </a:lnTo>
                  <a:lnTo>
                    <a:pt x="19" y="601"/>
                  </a:lnTo>
                  <a:lnTo>
                    <a:pt x="23" y="604"/>
                  </a:lnTo>
                  <a:lnTo>
                    <a:pt x="29" y="607"/>
                  </a:lnTo>
                  <a:lnTo>
                    <a:pt x="34" y="609"/>
                  </a:lnTo>
                  <a:lnTo>
                    <a:pt x="40" y="610"/>
                  </a:lnTo>
                  <a:lnTo>
                    <a:pt x="47" y="611"/>
                  </a:lnTo>
                  <a:lnTo>
                    <a:pt x="54" y="611"/>
                  </a:lnTo>
                  <a:lnTo>
                    <a:pt x="61" y="610"/>
                  </a:lnTo>
                  <a:lnTo>
                    <a:pt x="68" y="609"/>
                  </a:lnTo>
                  <a:lnTo>
                    <a:pt x="76" y="608"/>
                  </a:lnTo>
                  <a:lnTo>
                    <a:pt x="93" y="603"/>
                  </a:lnTo>
                  <a:lnTo>
                    <a:pt x="110" y="598"/>
                  </a:lnTo>
                  <a:lnTo>
                    <a:pt x="129" y="591"/>
                  </a:lnTo>
                  <a:lnTo>
                    <a:pt x="148" y="583"/>
                  </a:lnTo>
                  <a:lnTo>
                    <a:pt x="187" y="568"/>
                  </a:lnTo>
                  <a:close/>
                </a:path>
              </a:pathLst>
            </a:custGeom>
            <a:solidFill>
              <a:srgbClr val="FF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8" name="Title 1">
            <a:extLst>
              <a:ext uri="{FF2B5EF4-FFF2-40B4-BE49-F238E27FC236}">
                <a16:creationId xmlns:a16="http://schemas.microsoft.com/office/drawing/2014/main" id="{615FC1EB-41C0-4A40-AEE5-5A35B4ECAD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599" y="3171326"/>
            <a:ext cx="4691968" cy="2203511"/>
          </a:xfrm>
          <a:prstGeom prst="rect">
            <a:avLst/>
          </a:prstGeom>
        </p:spPr>
        <p:txBody>
          <a:bodyPr anchor="t"/>
          <a:lstStyle>
            <a:lvl1pPr algn="ctr"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ES_tradnl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18FD03B-A8C9-4E32-895E-3C46AFCE93A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2599" y="6057875"/>
            <a:ext cx="6986693" cy="5461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9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073765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1_SIGMA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E8A660DA-1C2B-42EF-97AB-1753B066A194}"/>
              </a:ext>
            </a:extLst>
          </p:cNvPr>
          <p:cNvSpPr/>
          <p:nvPr/>
        </p:nvSpPr>
        <p:spPr>
          <a:xfrm>
            <a:off x="0" y="6057875"/>
            <a:ext cx="12192000" cy="547340"/>
          </a:xfrm>
          <a:prstGeom prst="rect">
            <a:avLst/>
          </a:prstGeom>
          <a:solidFill>
            <a:srgbClr val="FFBA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6000" rIns="96000" rtlCol="0" anchor="ctr"/>
          <a:lstStyle/>
          <a:p>
            <a:pPr lvl="0" algn="ctr" defTabSz="1219170"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44635FF0-89A9-476D-9BD4-BE80E1AFFD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599" y="3171326"/>
            <a:ext cx="4691968" cy="2203511"/>
          </a:xfrm>
          <a:prstGeom prst="rect">
            <a:avLst/>
          </a:prstGeom>
        </p:spPr>
        <p:txBody>
          <a:bodyPr anchor="t"/>
          <a:lstStyle>
            <a:lvl1pPr algn="ctr"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ES_tradnl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597A4852-B76B-4C35-9D89-18A5949884B6}"/>
              </a:ext>
            </a:extLst>
          </p:cNvPr>
          <p:cNvGrpSpPr>
            <a:grpSpLocks noChangeAspect="1"/>
          </p:cNvGrpSpPr>
          <p:nvPr/>
        </p:nvGrpSpPr>
        <p:grpSpPr>
          <a:xfrm>
            <a:off x="1495176" y="1328013"/>
            <a:ext cx="2563264" cy="1457520"/>
            <a:chOff x="1541463" y="2291616"/>
            <a:chExt cx="833732" cy="474074"/>
          </a:xfrm>
          <a:effectLst/>
        </p:grpSpPr>
        <p:sp>
          <p:nvSpPr>
            <p:cNvPr id="32" name="Freeform 7">
              <a:extLst>
                <a:ext uri="{FF2B5EF4-FFF2-40B4-BE49-F238E27FC236}">
                  <a16:creationId xmlns:a16="http://schemas.microsoft.com/office/drawing/2014/main" id="{3E184764-F83E-45A1-896C-2AE84D72F3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632" y="2438564"/>
              <a:ext cx="665563" cy="327126"/>
            </a:xfrm>
            <a:custGeom>
              <a:avLst/>
              <a:gdLst>
                <a:gd name="T0" fmla="*/ 2937 w 3463"/>
                <a:gd name="T1" fmla="*/ 123 h 1703"/>
                <a:gd name="T2" fmla="*/ 2655 w 3463"/>
                <a:gd name="T3" fmla="*/ 476 h 1703"/>
                <a:gd name="T4" fmla="*/ 2529 w 3463"/>
                <a:gd name="T5" fmla="*/ 752 h 1703"/>
                <a:gd name="T6" fmla="*/ 2571 w 3463"/>
                <a:gd name="T7" fmla="*/ 266 h 1703"/>
                <a:gd name="T8" fmla="*/ 2529 w 3463"/>
                <a:gd name="T9" fmla="*/ 44 h 1703"/>
                <a:gd name="T10" fmla="*/ 2296 w 3463"/>
                <a:gd name="T11" fmla="*/ 64 h 1703"/>
                <a:gd name="T12" fmla="*/ 2102 w 3463"/>
                <a:gd name="T13" fmla="*/ 101 h 1703"/>
                <a:gd name="T14" fmla="*/ 1962 w 3463"/>
                <a:gd name="T15" fmla="*/ 15 h 1703"/>
                <a:gd name="T16" fmla="*/ 1673 w 3463"/>
                <a:gd name="T17" fmla="*/ 210 h 1703"/>
                <a:gd name="T18" fmla="*/ 1605 w 3463"/>
                <a:gd name="T19" fmla="*/ 37 h 1703"/>
                <a:gd name="T20" fmla="*/ 1447 w 3463"/>
                <a:gd name="T21" fmla="*/ 60 h 1703"/>
                <a:gd name="T22" fmla="*/ 1235 w 3463"/>
                <a:gd name="T23" fmla="*/ 79 h 1703"/>
                <a:gd name="T24" fmla="*/ 1019 w 3463"/>
                <a:gd name="T25" fmla="*/ 31 h 1703"/>
                <a:gd name="T26" fmla="*/ 703 w 3463"/>
                <a:gd name="T27" fmla="*/ 139 h 1703"/>
                <a:gd name="T28" fmla="*/ 437 w 3463"/>
                <a:gd name="T29" fmla="*/ 471 h 1703"/>
                <a:gd name="T30" fmla="*/ 271 w 3463"/>
                <a:gd name="T31" fmla="*/ 734 h 1703"/>
                <a:gd name="T32" fmla="*/ 307 w 3463"/>
                <a:gd name="T33" fmla="*/ 221 h 1703"/>
                <a:gd name="T34" fmla="*/ 261 w 3463"/>
                <a:gd name="T35" fmla="*/ 17 h 1703"/>
                <a:gd name="T36" fmla="*/ 105 w 3463"/>
                <a:gd name="T37" fmla="*/ 30 h 1703"/>
                <a:gd name="T38" fmla="*/ 21 w 3463"/>
                <a:gd name="T39" fmla="*/ 927 h 1703"/>
                <a:gd name="T40" fmla="*/ 185 w 3463"/>
                <a:gd name="T41" fmla="*/ 961 h 1703"/>
                <a:gd name="T42" fmla="*/ 393 w 3463"/>
                <a:gd name="T43" fmla="*/ 839 h 1703"/>
                <a:gd name="T44" fmla="*/ 223 w 3463"/>
                <a:gd name="T45" fmla="*/ 1153 h 1703"/>
                <a:gd name="T46" fmla="*/ 140 w 3463"/>
                <a:gd name="T47" fmla="*/ 1447 h 1703"/>
                <a:gd name="T48" fmla="*/ 283 w 3463"/>
                <a:gd name="T49" fmla="*/ 1659 h 1703"/>
                <a:gd name="T50" fmla="*/ 629 w 3463"/>
                <a:gd name="T51" fmla="*/ 1676 h 1703"/>
                <a:gd name="T52" fmla="*/ 963 w 3463"/>
                <a:gd name="T53" fmla="*/ 1455 h 1703"/>
                <a:gd name="T54" fmla="*/ 1128 w 3463"/>
                <a:gd name="T55" fmla="*/ 1112 h 1703"/>
                <a:gd name="T56" fmla="*/ 1403 w 3463"/>
                <a:gd name="T57" fmla="*/ 251 h 1703"/>
                <a:gd name="T58" fmla="*/ 1401 w 3463"/>
                <a:gd name="T59" fmla="*/ 955 h 1703"/>
                <a:gd name="T60" fmla="*/ 1556 w 3463"/>
                <a:gd name="T61" fmla="*/ 963 h 1703"/>
                <a:gd name="T62" fmla="*/ 1633 w 3463"/>
                <a:gd name="T63" fmla="*/ 552 h 1703"/>
                <a:gd name="T64" fmla="*/ 1846 w 3463"/>
                <a:gd name="T65" fmla="*/ 233 h 1703"/>
                <a:gd name="T66" fmla="*/ 1874 w 3463"/>
                <a:gd name="T67" fmla="*/ 338 h 1703"/>
                <a:gd name="T68" fmla="*/ 1867 w 3463"/>
                <a:gd name="T69" fmla="*/ 962 h 1703"/>
                <a:gd name="T70" fmla="*/ 2040 w 3463"/>
                <a:gd name="T71" fmla="*/ 947 h 1703"/>
                <a:gd name="T72" fmla="*/ 2125 w 3463"/>
                <a:gd name="T73" fmla="*/ 476 h 1703"/>
                <a:gd name="T74" fmla="*/ 2330 w 3463"/>
                <a:gd name="T75" fmla="*/ 229 h 1703"/>
                <a:gd name="T76" fmla="*/ 2278 w 3463"/>
                <a:gd name="T77" fmla="*/ 756 h 1703"/>
                <a:gd name="T78" fmla="*/ 2335 w 3463"/>
                <a:gd name="T79" fmla="*/ 975 h 1703"/>
                <a:gd name="T80" fmla="*/ 2562 w 3463"/>
                <a:gd name="T81" fmla="*/ 909 h 1703"/>
                <a:gd name="T82" fmla="*/ 2691 w 3463"/>
                <a:gd name="T83" fmla="*/ 966 h 1703"/>
                <a:gd name="T84" fmla="*/ 2940 w 3463"/>
                <a:gd name="T85" fmla="*/ 936 h 1703"/>
                <a:gd name="T86" fmla="*/ 3135 w 3463"/>
                <a:gd name="T87" fmla="*/ 907 h 1703"/>
                <a:gd name="T88" fmla="*/ 3243 w 3463"/>
                <a:gd name="T89" fmla="*/ 991 h 1703"/>
                <a:gd name="T90" fmla="*/ 3351 w 3463"/>
                <a:gd name="T91" fmla="*/ 889 h 1703"/>
                <a:gd name="T92" fmla="*/ 3452 w 3463"/>
                <a:gd name="T93" fmla="*/ 82 h 1703"/>
                <a:gd name="T94" fmla="*/ 917 w 3463"/>
                <a:gd name="T95" fmla="*/ 950 h 1703"/>
                <a:gd name="T96" fmla="*/ 791 w 3463"/>
                <a:gd name="T97" fmla="*/ 1460 h 1703"/>
                <a:gd name="T98" fmla="*/ 565 w 3463"/>
                <a:gd name="T99" fmla="*/ 1554 h 1703"/>
                <a:gd name="T100" fmla="*/ 373 w 3463"/>
                <a:gd name="T101" fmla="*/ 1411 h 1703"/>
                <a:gd name="T102" fmla="*/ 461 w 3463"/>
                <a:gd name="T103" fmla="*/ 1066 h 1703"/>
                <a:gd name="T104" fmla="*/ 738 w 3463"/>
                <a:gd name="T105" fmla="*/ 916 h 1703"/>
                <a:gd name="T106" fmla="*/ 950 w 3463"/>
                <a:gd name="T107" fmla="*/ 445 h 1703"/>
                <a:gd name="T108" fmla="*/ 703 w 3463"/>
                <a:gd name="T109" fmla="*/ 743 h 1703"/>
                <a:gd name="T110" fmla="*/ 630 w 3463"/>
                <a:gd name="T111" fmla="*/ 641 h 1703"/>
                <a:gd name="T112" fmla="*/ 748 w 3463"/>
                <a:gd name="T113" fmla="*/ 291 h 1703"/>
                <a:gd name="T114" fmla="*/ 998 w 3463"/>
                <a:gd name="T115" fmla="*/ 229 h 1703"/>
                <a:gd name="T116" fmla="*/ 3056 w 3463"/>
                <a:gd name="T117" fmla="*/ 628 h 1703"/>
                <a:gd name="T118" fmla="*/ 2862 w 3463"/>
                <a:gd name="T119" fmla="*/ 759 h 1703"/>
                <a:gd name="T120" fmla="*/ 2896 w 3463"/>
                <a:gd name="T121" fmla="*/ 416 h 1703"/>
                <a:gd name="T122" fmla="*/ 3071 w 3463"/>
                <a:gd name="T123" fmla="*/ 214 h 1703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463" h="1703">
                  <a:moveTo>
                    <a:pt x="3244" y="27"/>
                  </a:moveTo>
                  <a:lnTo>
                    <a:pt x="3228" y="28"/>
                  </a:lnTo>
                  <a:lnTo>
                    <a:pt x="3212" y="29"/>
                  </a:lnTo>
                  <a:lnTo>
                    <a:pt x="3197" y="30"/>
                  </a:lnTo>
                  <a:lnTo>
                    <a:pt x="3181" y="32"/>
                  </a:lnTo>
                  <a:lnTo>
                    <a:pt x="3166" y="34"/>
                  </a:lnTo>
                  <a:lnTo>
                    <a:pt x="3151" y="37"/>
                  </a:lnTo>
                  <a:lnTo>
                    <a:pt x="3135" y="40"/>
                  </a:lnTo>
                  <a:lnTo>
                    <a:pt x="3120" y="43"/>
                  </a:lnTo>
                  <a:lnTo>
                    <a:pt x="3106" y="47"/>
                  </a:lnTo>
                  <a:lnTo>
                    <a:pt x="3091" y="51"/>
                  </a:lnTo>
                  <a:lnTo>
                    <a:pt x="3076" y="55"/>
                  </a:lnTo>
                  <a:lnTo>
                    <a:pt x="3062" y="60"/>
                  </a:lnTo>
                  <a:lnTo>
                    <a:pt x="3033" y="71"/>
                  </a:lnTo>
                  <a:lnTo>
                    <a:pt x="3019" y="78"/>
                  </a:lnTo>
                  <a:lnTo>
                    <a:pt x="3005" y="84"/>
                  </a:lnTo>
                  <a:lnTo>
                    <a:pt x="2991" y="91"/>
                  </a:lnTo>
                  <a:lnTo>
                    <a:pt x="2977" y="98"/>
                  </a:lnTo>
                  <a:lnTo>
                    <a:pt x="2950" y="114"/>
                  </a:lnTo>
                  <a:lnTo>
                    <a:pt x="2937" y="123"/>
                  </a:lnTo>
                  <a:lnTo>
                    <a:pt x="2924" y="132"/>
                  </a:lnTo>
                  <a:lnTo>
                    <a:pt x="2911" y="141"/>
                  </a:lnTo>
                  <a:lnTo>
                    <a:pt x="2898" y="150"/>
                  </a:lnTo>
                  <a:lnTo>
                    <a:pt x="2885" y="160"/>
                  </a:lnTo>
                  <a:lnTo>
                    <a:pt x="2873" y="171"/>
                  </a:lnTo>
                  <a:lnTo>
                    <a:pt x="2848" y="193"/>
                  </a:lnTo>
                  <a:lnTo>
                    <a:pt x="2836" y="205"/>
                  </a:lnTo>
                  <a:lnTo>
                    <a:pt x="2824" y="217"/>
                  </a:lnTo>
                  <a:lnTo>
                    <a:pt x="2800" y="242"/>
                  </a:lnTo>
                  <a:lnTo>
                    <a:pt x="2783" y="261"/>
                  </a:lnTo>
                  <a:lnTo>
                    <a:pt x="2767" y="281"/>
                  </a:lnTo>
                  <a:lnTo>
                    <a:pt x="2751" y="302"/>
                  </a:lnTo>
                  <a:lnTo>
                    <a:pt x="2737" y="322"/>
                  </a:lnTo>
                  <a:lnTo>
                    <a:pt x="2722" y="343"/>
                  </a:lnTo>
                  <a:lnTo>
                    <a:pt x="2709" y="364"/>
                  </a:lnTo>
                  <a:lnTo>
                    <a:pt x="2696" y="386"/>
                  </a:lnTo>
                  <a:lnTo>
                    <a:pt x="2685" y="408"/>
                  </a:lnTo>
                  <a:lnTo>
                    <a:pt x="2674" y="430"/>
                  </a:lnTo>
                  <a:lnTo>
                    <a:pt x="2664" y="453"/>
                  </a:lnTo>
                  <a:lnTo>
                    <a:pt x="2655" y="476"/>
                  </a:lnTo>
                  <a:lnTo>
                    <a:pt x="2647" y="499"/>
                  </a:lnTo>
                  <a:lnTo>
                    <a:pt x="2643" y="511"/>
                  </a:lnTo>
                  <a:lnTo>
                    <a:pt x="2639" y="523"/>
                  </a:lnTo>
                  <a:lnTo>
                    <a:pt x="2632" y="547"/>
                  </a:lnTo>
                  <a:lnTo>
                    <a:pt x="2627" y="571"/>
                  </a:lnTo>
                  <a:lnTo>
                    <a:pt x="2621" y="596"/>
                  </a:lnTo>
                  <a:lnTo>
                    <a:pt x="2618" y="608"/>
                  </a:lnTo>
                  <a:lnTo>
                    <a:pt x="2612" y="625"/>
                  </a:lnTo>
                  <a:lnTo>
                    <a:pt x="2604" y="645"/>
                  </a:lnTo>
                  <a:lnTo>
                    <a:pt x="2600" y="656"/>
                  </a:lnTo>
                  <a:lnTo>
                    <a:pt x="2594" y="667"/>
                  </a:lnTo>
                  <a:lnTo>
                    <a:pt x="2588" y="678"/>
                  </a:lnTo>
                  <a:lnTo>
                    <a:pt x="2582" y="690"/>
                  </a:lnTo>
                  <a:lnTo>
                    <a:pt x="2575" y="701"/>
                  </a:lnTo>
                  <a:lnTo>
                    <a:pt x="2567" y="712"/>
                  </a:lnTo>
                  <a:lnTo>
                    <a:pt x="2558" y="723"/>
                  </a:lnTo>
                  <a:lnTo>
                    <a:pt x="2549" y="734"/>
                  </a:lnTo>
                  <a:lnTo>
                    <a:pt x="2544" y="739"/>
                  </a:lnTo>
                  <a:lnTo>
                    <a:pt x="2539" y="743"/>
                  </a:lnTo>
                  <a:lnTo>
                    <a:pt x="2529" y="752"/>
                  </a:lnTo>
                  <a:lnTo>
                    <a:pt x="2525" y="755"/>
                  </a:lnTo>
                  <a:lnTo>
                    <a:pt x="2522" y="757"/>
                  </a:lnTo>
                  <a:lnTo>
                    <a:pt x="2520" y="758"/>
                  </a:lnTo>
                  <a:lnTo>
                    <a:pt x="2517" y="759"/>
                  </a:lnTo>
                  <a:lnTo>
                    <a:pt x="2515" y="759"/>
                  </a:lnTo>
                  <a:lnTo>
                    <a:pt x="2513" y="759"/>
                  </a:lnTo>
                  <a:lnTo>
                    <a:pt x="2512" y="759"/>
                  </a:lnTo>
                  <a:lnTo>
                    <a:pt x="2510" y="758"/>
                  </a:lnTo>
                  <a:lnTo>
                    <a:pt x="2508" y="756"/>
                  </a:lnTo>
                  <a:lnTo>
                    <a:pt x="2507" y="754"/>
                  </a:lnTo>
                  <a:lnTo>
                    <a:pt x="2506" y="751"/>
                  </a:lnTo>
                  <a:lnTo>
                    <a:pt x="2506" y="748"/>
                  </a:lnTo>
                  <a:lnTo>
                    <a:pt x="2505" y="738"/>
                  </a:lnTo>
                  <a:lnTo>
                    <a:pt x="2506" y="729"/>
                  </a:lnTo>
                  <a:lnTo>
                    <a:pt x="2509" y="711"/>
                  </a:lnTo>
                  <a:lnTo>
                    <a:pt x="2516" y="658"/>
                  </a:lnTo>
                  <a:lnTo>
                    <a:pt x="2537" y="508"/>
                  </a:lnTo>
                  <a:lnTo>
                    <a:pt x="2566" y="300"/>
                  </a:lnTo>
                  <a:lnTo>
                    <a:pt x="2569" y="283"/>
                  </a:lnTo>
                  <a:lnTo>
                    <a:pt x="2571" y="266"/>
                  </a:lnTo>
                  <a:lnTo>
                    <a:pt x="2574" y="234"/>
                  </a:lnTo>
                  <a:lnTo>
                    <a:pt x="2576" y="218"/>
                  </a:lnTo>
                  <a:lnTo>
                    <a:pt x="2576" y="204"/>
                  </a:lnTo>
                  <a:lnTo>
                    <a:pt x="2577" y="176"/>
                  </a:lnTo>
                  <a:lnTo>
                    <a:pt x="2577" y="163"/>
                  </a:lnTo>
                  <a:lnTo>
                    <a:pt x="2576" y="150"/>
                  </a:lnTo>
                  <a:lnTo>
                    <a:pt x="2575" y="138"/>
                  </a:lnTo>
                  <a:lnTo>
                    <a:pt x="2573" y="127"/>
                  </a:lnTo>
                  <a:lnTo>
                    <a:pt x="2571" y="117"/>
                  </a:lnTo>
                  <a:lnTo>
                    <a:pt x="2568" y="107"/>
                  </a:lnTo>
                  <a:lnTo>
                    <a:pt x="2565" y="98"/>
                  </a:lnTo>
                  <a:lnTo>
                    <a:pt x="2562" y="89"/>
                  </a:lnTo>
                  <a:lnTo>
                    <a:pt x="2558" y="81"/>
                  </a:lnTo>
                  <a:lnTo>
                    <a:pt x="2554" y="74"/>
                  </a:lnTo>
                  <a:lnTo>
                    <a:pt x="2551" y="70"/>
                  </a:lnTo>
                  <a:lnTo>
                    <a:pt x="2549" y="67"/>
                  </a:lnTo>
                  <a:lnTo>
                    <a:pt x="2545" y="60"/>
                  </a:lnTo>
                  <a:lnTo>
                    <a:pt x="2540" y="55"/>
                  </a:lnTo>
                  <a:lnTo>
                    <a:pt x="2535" y="49"/>
                  </a:lnTo>
                  <a:lnTo>
                    <a:pt x="2529" y="44"/>
                  </a:lnTo>
                  <a:lnTo>
                    <a:pt x="2524" y="40"/>
                  </a:lnTo>
                  <a:lnTo>
                    <a:pt x="2513" y="33"/>
                  </a:lnTo>
                  <a:lnTo>
                    <a:pt x="2507" y="29"/>
                  </a:lnTo>
                  <a:lnTo>
                    <a:pt x="2502" y="27"/>
                  </a:lnTo>
                  <a:lnTo>
                    <a:pt x="2490" y="22"/>
                  </a:lnTo>
                  <a:lnTo>
                    <a:pt x="2479" y="19"/>
                  </a:lnTo>
                  <a:lnTo>
                    <a:pt x="2468" y="16"/>
                  </a:lnTo>
                  <a:lnTo>
                    <a:pt x="2458" y="15"/>
                  </a:lnTo>
                  <a:lnTo>
                    <a:pt x="2448" y="14"/>
                  </a:lnTo>
                  <a:lnTo>
                    <a:pt x="2440" y="14"/>
                  </a:lnTo>
                  <a:lnTo>
                    <a:pt x="2426" y="14"/>
                  </a:lnTo>
                  <a:lnTo>
                    <a:pt x="2412" y="16"/>
                  </a:lnTo>
                  <a:lnTo>
                    <a:pt x="2398" y="18"/>
                  </a:lnTo>
                  <a:lnTo>
                    <a:pt x="2384" y="22"/>
                  </a:lnTo>
                  <a:lnTo>
                    <a:pt x="2370" y="26"/>
                  </a:lnTo>
                  <a:lnTo>
                    <a:pt x="2355" y="32"/>
                  </a:lnTo>
                  <a:lnTo>
                    <a:pt x="2340" y="38"/>
                  </a:lnTo>
                  <a:lnTo>
                    <a:pt x="2326" y="46"/>
                  </a:lnTo>
                  <a:lnTo>
                    <a:pt x="2311" y="54"/>
                  </a:lnTo>
                  <a:lnTo>
                    <a:pt x="2296" y="64"/>
                  </a:lnTo>
                  <a:lnTo>
                    <a:pt x="2280" y="74"/>
                  </a:lnTo>
                  <a:lnTo>
                    <a:pt x="2265" y="86"/>
                  </a:lnTo>
                  <a:lnTo>
                    <a:pt x="2249" y="98"/>
                  </a:lnTo>
                  <a:lnTo>
                    <a:pt x="2234" y="112"/>
                  </a:lnTo>
                  <a:lnTo>
                    <a:pt x="2218" y="126"/>
                  </a:lnTo>
                  <a:lnTo>
                    <a:pt x="2202" y="142"/>
                  </a:lnTo>
                  <a:lnTo>
                    <a:pt x="2189" y="155"/>
                  </a:lnTo>
                  <a:lnTo>
                    <a:pt x="2177" y="168"/>
                  </a:lnTo>
                  <a:lnTo>
                    <a:pt x="2165" y="181"/>
                  </a:lnTo>
                  <a:lnTo>
                    <a:pt x="2153" y="195"/>
                  </a:lnTo>
                  <a:lnTo>
                    <a:pt x="2130" y="224"/>
                  </a:lnTo>
                  <a:lnTo>
                    <a:pt x="2108" y="253"/>
                  </a:lnTo>
                  <a:lnTo>
                    <a:pt x="2113" y="182"/>
                  </a:lnTo>
                  <a:lnTo>
                    <a:pt x="2113" y="168"/>
                  </a:lnTo>
                  <a:lnTo>
                    <a:pt x="2112" y="155"/>
                  </a:lnTo>
                  <a:lnTo>
                    <a:pt x="2111" y="143"/>
                  </a:lnTo>
                  <a:lnTo>
                    <a:pt x="2109" y="131"/>
                  </a:lnTo>
                  <a:lnTo>
                    <a:pt x="2107" y="120"/>
                  </a:lnTo>
                  <a:lnTo>
                    <a:pt x="2105" y="110"/>
                  </a:lnTo>
                  <a:lnTo>
                    <a:pt x="2102" y="101"/>
                  </a:lnTo>
                  <a:lnTo>
                    <a:pt x="2098" y="92"/>
                  </a:lnTo>
                  <a:lnTo>
                    <a:pt x="2095" y="83"/>
                  </a:lnTo>
                  <a:lnTo>
                    <a:pt x="2091" y="76"/>
                  </a:lnTo>
                  <a:lnTo>
                    <a:pt x="2087" y="69"/>
                  </a:lnTo>
                  <a:lnTo>
                    <a:pt x="2082" y="62"/>
                  </a:lnTo>
                  <a:lnTo>
                    <a:pt x="2078" y="56"/>
                  </a:lnTo>
                  <a:lnTo>
                    <a:pt x="2073" y="51"/>
                  </a:lnTo>
                  <a:lnTo>
                    <a:pt x="2068" y="46"/>
                  </a:lnTo>
                  <a:lnTo>
                    <a:pt x="2062" y="41"/>
                  </a:lnTo>
                  <a:lnTo>
                    <a:pt x="2057" y="37"/>
                  </a:lnTo>
                  <a:lnTo>
                    <a:pt x="2052" y="33"/>
                  </a:lnTo>
                  <a:lnTo>
                    <a:pt x="2041" y="27"/>
                  </a:lnTo>
                  <a:lnTo>
                    <a:pt x="2035" y="24"/>
                  </a:lnTo>
                  <a:lnTo>
                    <a:pt x="2030" y="22"/>
                  </a:lnTo>
                  <a:lnTo>
                    <a:pt x="2019" y="19"/>
                  </a:lnTo>
                  <a:lnTo>
                    <a:pt x="2009" y="16"/>
                  </a:lnTo>
                  <a:lnTo>
                    <a:pt x="1999" y="15"/>
                  </a:lnTo>
                  <a:lnTo>
                    <a:pt x="1990" y="14"/>
                  </a:lnTo>
                  <a:lnTo>
                    <a:pt x="1982" y="14"/>
                  </a:lnTo>
                  <a:lnTo>
                    <a:pt x="1962" y="15"/>
                  </a:lnTo>
                  <a:lnTo>
                    <a:pt x="1952" y="16"/>
                  </a:lnTo>
                  <a:lnTo>
                    <a:pt x="1941" y="17"/>
                  </a:lnTo>
                  <a:lnTo>
                    <a:pt x="1931" y="19"/>
                  </a:lnTo>
                  <a:lnTo>
                    <a:pt x="1921" y="22"/>
                  </a:lnTo>
                  <a:lnTo>
                    <a:pt x="1901" y="28"/>
                  </a:lnTo>
                  <a:lnTo>
                    <a:pt x="1891" y="31"/>
                  </a:lnTo>
                  <a:lnTo>
                    <a:pt x="1880" y="36"/>
                  </a:lnTo>
                  <a:lnTo>
                    <a:pt x="1870" y="40"/>
                  </a:lnTo>
                  <a:lnTo>
                    <a:pt x="1860" y="45"/>
                  </a:lnTo>
                  <a:lnTo>
                    <a:pt x="1839" y="57"/>
                  </a:lnTo>
                  <a:lnTo>
                    <a:pt x="1819" y="70"/>
                  </a:lnTo>
                  <a:lnTo>
                    <a:pt x="1798" y="85"/>
                  </a:lnTo>
                  <a:lnTo>
                    <a:pt x="1778" y="101"/>
                  </a:lnTo>
                  <a:lnTo>
                    <a:pt x="1767" y="110"/>
                  </a:lnTo>
                  <a:lnTo>
                    <a:pt x="1757" y="119"/>
                  </a:lnTo>
                  <a:lnTo>
                    <a:pt x="1746" y="129"/>
                  </a:lnTo>
                  <a:lnTo>
                    <a:pt x="1736" y="140"/>
                  </a:lnTo>
                  <a:lnTo>
                    <a:pt x="1715" y="161"/>
                  </a:lnTo>
                  <a:lnTo>
                    <a:pt x="1694" y="185"/>
                  </a:lnTo>
                  <a:lnTo>
                    <a:pt x="1673" y="210"/>
                  </a:lnTo>
                  <a:lnTo>
                    <a:pt x="1662" y="224"/>
                  </a:lnTo>
                  <a:lnTo>
                    <a:pt x="1651" y="238"/>
                  </a:lnTo>
                  <a:lnTo>
                    <a:pt x="1652" y="232"/>
                  </a:lnTo>
                  <a:lnTo>
                    <a:pt x="1657" y="160"/>
                  </a:lnTo>
                  <a:lnTo>
                    <a:pt x="1656" y="148"/>
                  </a:lnTo>
                  <a:lnTo>
                    <a:pt x="1656" y="136"/>
                  </a:lnTo>
                  <a:lnTo>
                    <a:pt x="1654" y="125"/>
                  </a:lnTo>
                  <a:lnTo>
                    <a:pt x="1653" y="115"/>
                  </a:lnTo>
                  <a:lnTo>
                    <a:pt x="1650" y="105"/>
                  </a:lnTo>
                  <a:lnTo>
                    <a:pt x="1648" y="96"/>
                  </a:lnTo>
                  <a:lnTo>
                    <a:pt x="1645" y="88"/>
                  </a:lnTo>
                  <a:lnTo>
                    <a:pt x="1641" y="80"/>
                  </a:lnTo>
                  <a:lnTo>
                    <a:pt x="1638" y="73"/>
                  </a:lnTo>
                  <a:lnTo>
                    <a:pt x="1634" y="66"/>
                  </a:lnTo>
                  <a:lnTo>
                    <a:pt x="1629" y="60"/>
                  </a:lnTo>
                  <a:lnTo>
                    <a:pt x="1625" y="55"/>
                  </a:lnTo>
                  <a:lnTo>
                    <a:pt x="1620" y="49"/>
                  </a:lnTo>
                  <a:lnTo>
                    <a:pt x="1615" y="45"/>
                  </a:lnTo>
                  <a:lnTo>
                    <a:pt x="1610" y="41"/>
                  </a:lnTo>
                  <a:lnTo>
                    <a:pt x="1605" y="37"/>
                  </a:lnTo>
                  <a:lnTo>
                    <a:pt x="1600" y="33"/>
                  </a:lnTo>
                  <a:lnTo>
                    <a:pt x="1595" y="30"/>
                  </a:lnTo>
                  <a:lnTo>
                    <a:pt x="1589" y="28"/>
                  </a:lnTo>
                  <a:lnTo>
                    <a:pt x="1584" y="25"/>
                  </a:lnTo>
                  <a:lnTo>
                    <a:pt x="1574" y="22"/>
                  </a:lnTo>
                  <a:lnTo>
                    <a:pt x="1568" y="20"/>
                  </a:lnTo>
                  <a:lnTo>
                    <a:pt x="1563" y="19"/>
                  </a:lnTo>
                  <a:lnTo>
                    <a:pt x="1554" y="17"/>
                  </a:lnTo>
                  <a:lnTo>
                    <a:pt x="1545" y="17"/>
                  </a:lnTo>
                  <a:lnTo>
                    <a:pt x="1531" y="16"/>
                  </a:lnTo>
                  <a:lnTo>
                    <a:pt x="1526" y="17"/>
                  </a:lnTo>
                  <a:lnTo>
                    <a:pt x="1520" y="19"/>
                  </a:lnTo>
                  <a:lnTo>
                    <a:pt x="1514" y="21"/>
                  </a:lnTo>
                  <a:lnTo>
                    <a:pt x="1507" y="24"/>
                  </a:lnTo>
                  <a:lnTo>
                    <a:pt x="1500" y="27"/>
                  </a:lnTo>
                  <a:lnTo>
                    <a:pt x="1492" y="31"/>
                  </a:lnTo>
                  <a:lnTo>
                    <a:pt x="1475" y="41"/>
                  </a:lnTo>
                  <a:lnTo>
                    <a:pt x="1466" y="47"/>
                  </a:lnTo>
                  <a:lnTo>
                    <a:pt x="1456" y="53"/>
                  </a:lnTo>
                  <a:lnTo>
                    <a:pt x="1447" y="60"/>
                  </a:lnTo>
                  <a:lnTo>
                    <a:pt x="1436" y="67"/>
                  </a:lnTo>
                  <a:lnTo>
                    <a:pt x="1416" y="83"/>
                  </a:lnTo>
                  <a:lnTo>
                    <a:pt x="1394" y="100"/>
                  </a:lnTo>
                  <a:lnTo>
                    <a:pt x="1372" y="118"/>
                  </a:lnTo>
                  <a:lnTo>
                    <a:pt x="1349" y="137"/>
                  </a:lnTo>
                  <a:lnTo>
                    <a:pt x="1305" y="177"/>
                  </a:lnTo>
                  <a:lnTo>
                    <a:pt x="1282" y="197"/>
                  </a:lnTo>
                  <a:lnTo>
                    <a:pt x="1261" y="217"/>
                  </a:lnTo>
                  <a:lnTo>
                    <a:pt x="1241" y="236"/>
                  </a:lnTo>
                  <a:lnTo>
                    <a:pt x="1222" y="255"/>
                  </a:lnTo>
                  <a:lnTo>
                    <a:pt x="1239" y="130"/>
                  </a:lnTo>
                  <a:lnTo>
                    <a:pt x="1240" y="123"/>
                  </a:lnTo>
                  <a:lnTo>
                    <a:pt x="1241" y="117"/>
                  </a:lnTo>
                  <a:lnTo>
                    <a:pt x="1241" y="111"/>
                  </a:lnTo>
                  <a:lnTo>
                    <a:pt x="1241" y="105"/>
                  </a:lnTo>
                  <a:lnTo>
                    <a:pt x="1241" y="99"/>
                  </a:lnTo>
                  <a:lnTo>
                    <a:pt x="1240" y="94"/>
                  </a:lnTo>
                  <a:lnTo>
                    <a:pt x="1239" y="89"/>
                  </a:lnTo>
                  <a:lnTo>
                    <a:pt x="1237" y="84"/>
                  </a:lnTo>
                  <a:lnTo>
                    <a:pt x="1235" y="79"/>
                  </a:lnTo>
                  <a:lnTo>
                    <a:pt x="1233" y="75"/>
                  </a:lnTo>
                  <a:lnTo>
                    <a:pt x="1230" y="70"/>
                  </a:lnTo>
                  <a:lnTo>
                    <a:pt x="1226" y="66"/>
                  </a:lnTo>
                  <a:lnTo>
                    <a:pt x="1223" y="62"/>
                  </a:lnTo>
                  <a:lnTo>
                    <a:pt x="1218" y="59"/>
                  </a:lnTo>
                  <a:lnTo>
                    <a:pt x="1213" y="55"/>
                  </a:lnTo>
                  <a:lnTo>
                    <a:pt x="1208" y="52"/>
                  </a:lnTo>
                  <a:lnTo>
                    <a:pt x="1196" y="47"/>
                  </a:lnTo>
                  <a:lnTo>
                    <a:pt x="1190" y="44"/>
                  </a:lnTo>
                  <a:lnTo>
                    <a:pt x="1182" y="42"/>
                  </a:lnTo>
                  <a:lnTo>
                    <a:pt x="1166" y="38"/>
                  </a:lnTo>
                  <a:lnTo>
                    <a:pt x="1148" y="35"/>
                  </a:lnTo>
                  <a:lnTo>
                    <a:pt x="1128" y="32"/>
                  </a:lnTo>
                  <a:lnTo>
                    <a:pt x="1117" y="31"/>
                  </a:lnTo>
                  <a:lnTo>
                    <a:pt x="1105" y="31"/>
                  </a:lnTo>
                  <a:lnTo>
                    <a:pt x="1093" y="30"/>
                  </a:lnTo>
                  <a:lnTo>
                    <a:pt x="1080" y="30"/>
                  </a:lnTo>
                  <a:lnTo>
                    <a:pt x="1052" y="30"/>
                  </a:lnTo>
                  <a:lnTo>
                    <a:pt x="1036" y="30"/>
                  </a:lnTo>
                  <a:lnTo>
                    <a:pt x="1019" y="31"/>
                  </a:lnTo>
                  <a:lnTo>
                    <a:pt x="1003" y="32"/>
                  </a:lnTo>
                  <a:lnTo>
                    <a:pt x="987" y="33"/>
                  </a:lnTo>
                  <a:lnTo>
                    <a:pt x="971" y="35"/>
                  </a:lnTo>
                  <a:lnTo>
                    <a:pt x="955" y="38"/>
                  </a:lnTo>
                  <a:lnTo>
                    <a:pt x="923" y="44"/>
                  </a:lnTo>
                  <a:lnTo>
                    <a:pt x="908" y="47"/>
                  </a:lnTo>
                  <a:lnTo>
                    <a:pt x="892" y="51"/>
                  </a:lnTo>
                  <a:lnTo>
                    <a:pt x="877" y="55"/>
                  </a:lnTo>
                  <a:lnTo>
                    <a:pt x="862" y="60"/>
                  </a:lnTo>
                  <a:lnTo>
                    <a:pt x="847" y="65"/>
                  </a:lnTo>
                  <a:lnTo>
                    <a:pt x="832" y="71"/>
                  </a:lnTo>
                  <a:lnTo>
                    <a:pt x="817" y="77"/>
                  </a:lnTo>
                  <a:lnTo>
                    <a:pt x="802" y="83"/>
                  </a:lnTo>
                  <a:lnTo>
                    <a:pt x="788" y="90"/>
                  </a:lnTo>
                  <a:lnTo>
                    <a:pt x="773" y="97"/>
                  </a:lnTo>
                  <a:lnTo>
                    <a:pt x="759" y="105"/>
                  </a:lnTo>
                  <a:lnTo>
                    <a:pt x="745" y="113"/>
                  </a:lnTo>
                  <a:lnTo>
                    <a:pt x="731" y="121"/>
                  </a:lnTo>
                  <a:lnTo>
                    <a:pt x="717" y="130"/>
                  </a:lnTo>
                  <a:lnTo>
                    <a:pt x="703" y="139"/>
                  </a:lnTo>
                  <a:lnTo>
                    <a:pt x="690" y="149"/>
                  </a:lnTo>
                  <a:lnTo>
                    <a:pt x="676" y="159"/>
                  </a:lnTo>
                  <a:lnTo>
                    <a:pt x="663" y="170"/>
                  </a:lnTo>
                  <a:lnTo>
                    <a:pt x="637" y="192"/>
                  </a:lnTo>
                  <a:lnTo>
                    <a:pt x="624" y="204"/>
                  </a:lnTo>
                  <a:lnTo>
                    <a:pt x="611" y="216"/>
                  </a:lnTo>
                  <a:lnTo>
                    <a:pt x="598" y="228"/>
                  </a:lnTo>
                  <a:lnTo>
                    <a:pt x="586" y="241"/>
                  </a:lnTo>
                  <a:lnTo>
                    <a:pt x="570" y="259"/>
                  </a:lnTo>
                  <a:lnTo>
                    <a:pt x="555" y="277"/>
                  </a:lnTo>
                  <a:lnTo>
                    <a:pt x="540" y="295"/>
                  </a:lnTo>
                  <a:lnTo>
                    <a:pt x="526" y="314"/>
                  </a:lnTo>
                  <a:lnTo>
                    <a:pt x="512" y="332"/>
                  </a:lnTo>
                  <a:lnTo>
                    <a:pt x="500" y="351"/>
                  </a:lnTo>
                  <a:lnTo>
                    <a:pt x="488" y="371"/>
                  </a:lnTo>
                  <a:lnTo>
                    <a:pt x="476" y="390"/>
                  </a:lnTo>
                  <a:lnTo>
                    <a:pt x="465" y="410"/>
                  </a:lnTo>
                  <a:lnTo>
                    <a:pt x="455" y="430"/>
                  </a:lnTo>
                  <a:lnTo>
                    <a:pt x="446" y="451"/>
                  </a:lnTo>
                  <a:lnTo>
                    <a:pt x="437" y="471"/>
                  </a:lnTo>
                  <a:lnTo>
                    <a:pt x="429" y="492"/>
                  </a:lnTo>
                  <a:lnTo>
                    <a:pt x="421" y="513"/>
                  </a:lnTo>
                  <a:lnTo>
                    <a:pt x="418" y="524"/>
                  </a:lnTo>
                  <a:lnTo>
                    <a:pt x="415" y="535"/>
                  </a:lnTo>
                  <a:lnTo>
                    <a:pt x="408" y="557"/>
                  </a:lnTo>
                  <a:lnTo>
                    <a:pt x="397" y="580"/>
                  </a:lnTo>
                  <a:lnTo>
                    <a:pt x="383" y="606"/>
                  </a:lnTo>
                  <a:lnTo>
                    <a:pt x="375" y="619"/>
                  </a:lnTo>
                  <a:lnTo>
                    <a:pt x="367" y="632"/>
                  </a:lnTo>
                  <a:lnTo>
                    <a:pt x="358" y="645"/>
                  </a:lnTo>
                  <a:lnTo>
                    <a:pt x="349" y="658"/>
                  </a:lnTo>
                  <a:lnTo>
                    <a:pt x="340" y="670"/>
                  </a:lnTo>
                  <a:lnTo>
                    <a:pt x="329" y="683"/>
                  </a:lnTo>
                  <a:lnTo>
                    <a:pt x="319" y="694"/>
                  </a:lnTo>
                  <a:lnTo>
                    <a:pt x="313" y="700"/>
                  </a:lnTo>
                  <a:lnTo>
                    <a:pt x="308" y="705"/>
                  </a:lnTo>
                  <a:lnTo>
                    <a:pt x="296" y="716"/>
                  </a:lnTo>
                  <a:lnTo>
                    <a:pt x="284" y="725"/>
                  </a:lnTo>
                  <a:lnTo>
                    <a:pt x="278" y="730"/>
                  </a:lnTo>
                  <a:lnTo>
                    <a:pt x="271" y="734"/>
                  </a:lnTo>
                  <a:lnTo>
                    <a:pt x="265" y="738"/>
                  </a:lnTo>
                  <a:lnTo>
                    <a:pt x="258" y="741"/>
                  </a:lnTo>
                  <a:lnTo>
                    <a:pt x="255" y="743"/>
                  </a:lnTo>
                  <a:lnTo>
                    <a:pt x="251" y="743"/>
                  </a:lnTo>
                  <a:lnTo>
                    <a:pt x="248" y="743"/>
                  </a:lnTo>
                  <a:lnTo>
                    <a:pt x="246" y="742"/>
                  </a:lnTo>
                  <a:lnTo>
                    <a:pt x="244" y="741"/>
                  </a:lnTo>
                  <a:lnTo>
                    <a:pt x="242" y="740"/>
                  </a:lnTo>
                  <a:lnTo>
                    <a:pt x="241" y="738"/>
                  </a:lnTo>
                  <a:lnTo>
                    <a:pt x="240" y="736"/>
                  </a:lnTo>
                  <a:lnTo>
                    <a:pt x="239" y="733"/>
                  </a:lnTo>
                  <a:lnTo>
                    <a:pt x="238" y="729"/>
                  </a:lnTo>
                  <a:lnTo>
                    <a:pt x="238" y="725"/>
                  </a:lnTo>
                  <a:lnTo>
                    <a:pt x="238" y="719"/>
                  </a:lnTo>
                  <a:lnTo>
                    <a:pt x="239" y="714"/>
                  </a:lnTo>
                  <a:lnTo>
                    <a:pt x="259" y="575"/>
                  </a:lnTo>
                  <a:lnTo>
                    <a:pt x="286" y="391"/>
                  </a:lnTo>
                  <a:lnTo>
                    <a:pt x="298" y="301"/>
                  </a:lnTo>
                  <a:lnTo>
                    <a:pt x="303" y="259"/>
                  </a:lnTo>
                  <a:lnTo>
                    <a:pt x="307" y="221"/>
                  </a:lnTo>
                  <a:lnTo>
                    <a:pt x="311" y="188"/>
                  </a:lnTo>
                  <a:lnTo>
                    <a:pt x="313" y="161"/>
                  </a:lnTo>
                  <a:lnTo>
                    <a:pt x="314" y="149"/>
                  </a:lnTo>
                  <a:lnTo>
                    <a:pt x="314" y="140"/>
                  </a:lnTo>
                  <a:lnTo>
                    <a:pt x="314" y="132"/>
                  </a:lnTo>
                  <a:lnTo>
                    <a:pt x="314" y="127"/>
                  </a:lnTo>
                  <a:lnTo>
                    <a:pt x="312" y="114"/>
                  </a:lnTo>
                  <a:lnTo>
                    <a:pt x="310" y="98"/>
                  </a:lnTo>
                  <a:lnTo>
                    <a:pt x="305" y="79"/>
                  </a:lnTo>
                  <a:lnTo>
                    <a:pt x="302" y="69"/>
                  </a:lnTo>
                  <a:lnTo>
                    <a:pt x="300" y="65"/>
                  </a:lnTo>
                  <a:lnTo>
                    <a:pt x="298" y="60"/>
                  </a:lnTo>
                  <a:lnTo>
                    <a:pt x="293" y="50"/>
                  </a:lnTo>
                  <a:lnTo>
                    <a:pt x="287" y="41"/>
                  </a:lnTo>
                  <a:lnTo>
                    <a:pt x="283" y="37"/>
                  </a:lnTo>
                  <a:lnTo>
                    <a:pt x="279" y="32"/>
                  </a:lnTo>
                  <a:lnTo>
                    <a:pt x="275" y="28"/>
                  </a:lnTo>
                  <a:lnTo>
                    <a:pt x="271" y="24"/>
                  </a:lnTo>
                  <a:lnTo>
                    <a:pt x="266" y="21"/>
                  </a:lnTo>
                  <a:lnTo>
                    <a:pt x="261" y="17"/>
                  </a:lnTo>
                  <a:lnTo>
                    <a:pt x="256" y="14"/>
                  </a:lnTo>
                  <a:lnTo>
                    <a:pt x="250" y="11"/>
                  </a:lnTo>
                  <a:lnTo>
                    <a:pt x="243" y="9"/>
                  </a:lnTo>
                  <a:lnTo>
                    <a:pt x="237" y="6"/>
                  </a:lnTo>
                  <a:lnTo>
                    <a:pt x="230" y="4"/>
                  </a:lnTo>
                  <a:lnTo>
                    <a:pt x="222" y="3"/>
                  </a:lnTo>
                  <a:lnTo>
                    <a:pt x="212" y="1"/>
                  </a:lnTo>
                  <a:lnTo>
                    <a:pt x="203" y="1"/>
                  </a:lnTo>
                  <a:lnTo>
                    <a:pt x="193" y="0"/>
                  </a:lnTo>
                  <a:lnTo>
                    <a:pt x="184" y="1"/>
                  </a:lnTo>
                  <a:lnTo>
                    <a:pt x="175" y="2"/>
                  </a:lnTo>
                  <a:lnTo>
                    <a:pt x="167" y="3"/>
                  </a:lnTo>
                  <a:lnTo>
                    <a:pt x="159" y="5"/>
                  </a:lnTo>
                  <a:lnTo>
                    <a:pt x="151" y="7"/>
                  </a:lnTo>
                  <a:lnTo>
                    <a:pt x="137" y="12"/>
                  </a:lnTo>
                  <a:lnTo>
                    <a:pt x="130" y="15"/>
                  </a:lnTo>
                  <a:lnTo>
                    <a:pt x="124" y="18"/>
                  </a:lnTo>
                  <a:lnTo>
                    <a:pt x="118" y="21"/>
                  </a:lnTo>
                  <a:lnTo>
                    <a:pt x="113" y="24"/>
                  </a:lnTo>
                  <a:lnTo>
                    <a:pt x="105" y="30"/>
                  </a:lnTo>
                  <a:lnTo>
                    <a:pt x="105" y="35"/>
                  </a:lnTo>
                  <a:lnTo>
                    <a:pt x="105" y="44"/>
                  </a:lnTo>
                  <a:lnTo>
                    <a:pt x="103" y="72"/>
                  </a:lnTo>
                  <a:lnTo>
                    <a:pt x="99" y="113"/>
                  </a:lnTo>
                  <a:lnTo>
                    <a:pt x="93" y="165"/>
                  </a:lnTo>
                  <a:lnTo>
                    <a:pt x="76" y="293"/>
                  </a:lnTo>
                  <a:lnTo>
                    <a:pt x="56" y="439"/>
                  </a:lnTo>
                  <a:lnTo>
                    <a:pt x="18" y="710"/>
                  </a:lnTo>
                  <a:lnTo>
                    <a:pt x="5" y="801"/>
                  </a:lnTo>
                  <a:lnTo>
                    <a:pt x="1" y="829"/>
                  </a:lnTo>
                  <a:lnTo>
                    <a:pt x="0" y="840"/>
                  </a:lnTo>
                  <a:lnTo>
                    <a:pt x="0" y="852"/>
                  </a:lnTo>
                  <a:lnTo>
                    <a:pt x="1" y="862"/>
                  </a:lnTo>
                  <a:lnTo>
                    <a:pt x="2" y="872"/>
                  </a:lnTo>
                  <a:lnTo>
                    <a:pt x="4" y="882"/>
                  </a:lnTo>
                  <a:lnTo>
                    <a:pt x="6" y="891"/>
                  </a:lnTo>
                  <a:lnTo>
                    <a:pt x="8" y="899"/>
                  </a:lnTo>
                  <a:lnTo>
                    <a:pt x="14" y="914"/>
                  </a:lnTo>
                  <a:lnTo>
                    <a:pt x="17" y="921"/>
                  </a:lnTo>
                  <a:lnTo>
                    <a:pt x="21" y="927"/>
                  </a:lnTo>
                  <a:lnTo>
                    <a:pt x="25" y="933"/>
                  </a:lnTo>
                  <a:lnTo>
                    <a:pt x="29" y="938"/>
                  </a:lnTo>
                  <a:lnTo>
                    <a:pt x="33" y="943"/>
                  </a:lnTo>
                  <a:lnTo>
                    <a:pt x="37" y="947"/>
                  </a:lnTo>
                  <a:lnTo>
                    <a:pt x="42" y="951"/>
                  </a:lnTo>
                  <a:lnTo>
                    <a:pt x="47" y="955"/>
                  </a:lnTo>
                  <a:lnTo>
                    <a:pt x="56" y="961"/>
                  </a:lnTo>
                  <a:lnTo>
                    <a:pt x="66" y="965"/>
                  </a:lnTo>
                  <a:lnTo>
                    <a:pt x="71" y="967"/>
                  </a:lnTo>
                  <a:lnTo>
                    <a:pt x="75" y="969"/>
                  </a:lnTo>
                  <a:lnTo>
                    <a:pt x="80" y="970"/>
                  </a:lnTo>
                  <a:lnTo>
                    <a:pt x="84" y="972"/>
                  </a:lnTo>
                  <a:lnTo>
                    <a:pt x="93" y="973"/>
                  </a:lnTo>
                  <a:lnTo>
                    <a:pt x="101" y="974"/>
                  </a:lnTo>
                  <a:lnTo>
                    <a:pt x="113" y="975"/>
                  </a:lnTo>
                  <a:lnTo>
                    <a:pt x="128" y="974"/>
                  </a:lnTo>
                  <a:lnTo>
                    <a:pt x="142" y="973"/>
                  </a:lnTo>
                  <a:lnTo>
                    <a:pt x="156" y="970"/>
                  </a:lnTo>
                  <a:lnTo>
                    <a:pt x="171" y="966"/>
                  </a:lnTo>
                  <a:lnTo>
                    <a:pt x="185" y="961"/>
                  </a:lnTo>
                  <a:lnTo>
                    <a:pt x="199" y="955"/>
                  </a:lnTo>
                  <a:lnTo>
                    <a:pt x="214" y="947"/>
                  </a:lnTo>
                  <a:lnTo>
                    <a:pt x="228" y="939"/>
                  </a:lnTo>
                  <a:lnTo>
                    <a:pt x="242" y="929"/>
                  </a:lnTo>
                  <a:lnTo>
                    <a:pt x="250" y="924"/>
                  </a:lnTo>
                  <a:lnTo>
                    <a:pt x="257" y="918"/>
                  </a:lnTo>
                  <a:lnTo>
                    <a:pt x="272" y="906"/>
                  </a:lnTo>
                  <a:lnTo>
                    <a:pt x="286" y="893"/>
                  </a:lnTo>
                  <a:lnTo>
                    <a:pt x="294" y="886"/>
                  </a:lnTo>
                  <a:lnTo>
                    <a:pt x="301" y="878"/>
                  </a:lnTo>
                  <a:lnTo>
                    <a:pt x="316" y="863"/>
                  </a:lnTo>
                  <a:lnTo>
                    <a:pt x="331" y="846"/>
                  </a:lnTo>
                  <a:lnTo>
                    <a:pt x="346" y="828"/>
                  </a:lnTo>
                  <a:lnTo>
                    <a:pt x="367" y="802"/>
                  </a:lnTo>
                  <a:lnTo>
                    <a:pt x="384" y="780"/>
                  </a:lnTo>
                  <a:lnTo>
                    <a:pt x="386" y="800"/>
                  </a:lnTo>
                  <a:lnTo>
                    <a:pt x="387" y="810"/>
                  </a:lnTo>
                  <a:lnTo>
                    <a:pt x="389" y="820"/>
                  </a:lnTo>
                  <a:lnTo>
                    <a:pt x="391" y="829"/>
                  </a:lnTo>
                  <a:lnTo>
                    <a:pt x="393" y="839"/>
                  </a:lnTo>
                  <a:lnTo>
                    <a:pt x="396" y="848"/>
                  </a:lnTo>
                  <a:lnTo>
                    <a:pt x="400" y="858"/>
                  </a:lnTo>
                  <a:lnTo>
                    <a:pt x="403" y="867"/>
                  </a:lnTo>
                  <a:lnTo>
                    <a:pt x="408" y="877"/>
                  </a:lnTo>
                  <a:lnTo>
                    <a:pt x="413" y="886"/>
                  </a:lnTo>
                  <a:lnTo>
                    <a:pt x="418" y="895"/>
                  </a:lnTo>
                  <a:lnTo>
                    <a:pt x="425" y="904"/>
                  </a:lnTo>
                  <a:lnTo>
                    <a:pt x="432" y="913"/>
                  </a:lnTo>
                  <a:lnTo>
                    <a:pt x="439" y="921"/>
                  </a:lnTo>
                  <a:lnTo>
                    <a:pt x="447" y="930"/>
                  </a:lnTo>
                  <a:lnTo>
                    <a:pt x="413" y="959"/>
                  </a:lnTo>
                  <a:lnTo>
                    <a:pt x="380" y="987"/>
                  </a:lnTo>
                  <a:lnTo>
                    <a:pt x="349" y="1015"/>
                  </a:lnTo>
                  <a:lnTo>
                    <a:pt x="320" y="1042"/>
                  </a:lnTo>
                  <a:lnTo>
                    <a:pt x="293" y="1070"/>
                  </a:lnTo>
                  <a:lnTo>
                    <a:pt x="267" y="1098"/>
                  </a:lnTo>
                  <a:lnTo>
                    <a:pt x="255" y="1112"/>
                  </a:lnTo>
                  <a:lnTo>
                    <a:pt x="244" y="1125"/>
                  </a:lnTo>
                  <a:lnTo>
                    <a:pt x="233" y="1139"/>
                  </a:lnTo>
                  <a:lnTo>
                    <a:pt x="223" y="1153"/>
                  </a:lnTo>
                  <a:lnTo>
                    <a:pt x="213" y="1167"/>
                  </a:lnTo>
                  <a:lnTo>
                    <a:pt x="203" y="1180"/>
                  </a:lnTo>
                  <a:lnTo>
                    <a:pt x="194" y="1194"/>
                  </a:lnTo>
                  <a:lnTo>
                    <a:pt x="186" y="1208"/>
                  </a:lnTo>
                  <a:lnTo>
                    <a:pt x="179" y="1222"/>
                  </a:lnTo>
                  <a:lnTo>
                    <a:pt x="171" y="1236"/>
                  </a:lnTo>
                  <a:lnTo>
                    <a:pt x="165" y="1250"/>
                  </a:lnTo>
                  <a:lnTo>
                    <a:pt x="159" y="1264"/>
                  </a:lnTo>
                  <a:lnTo>
                    <a:pt x="154" y="1278"/>
                  </a:lnTo>
                  <a:lnTo>
                    <a:pt x="149" y="1293"/>
                  </a:lnTo>
                  <a:lnTo>
                    <a:pt x="145" y="1307"/>
                  </a:lnTo>
                  <a:lnTo>
                    <a:pt x="142" y="1322"/>
                  </a:lnTo>
                  <a:lnTo>
                    <a:pt x="139" y="1336"/>
                  </a:lnTo>
                  <a:lnTo>
                    <a:pt x="137" y="1351"/>
                  </a:lnTo>
                  <a:lnTo>
                    <a:pt x="136" y="1366"/>
                  </a:lnTo>
                  <a:lnTo>
                    <a:pt x="135" y="1381"/>
                  </a:lnTo>
                  <a:lnTo>
                    <a:pt x="135" y="1398"/>
                  </a:lnTo>
                  <a:lnTo>
                    <a:pt x="136" y="1415"/>
                  </a:lnTo>
                  <a:lnTo>
                    <a:pt x="137" y="1431"/>
                  </a:lnTo>
                  <a:lnTo>
                    <a:pt x="140" y="1447"/>
                  </a:lnTo>
                  <a:lnTo>
                    <a:pt x="141" y="1454"/>
                  </a:lnTo>
                  <a:lnTo>
                    <a:pt x="143" y="1462"/>
                  </a:lnTo>
                  <a:lnTo>
                    <a:pt x="146" y="1477"/>
                  </a:lnTo>
                  <a:lnTo>
                    <a:pt x="151" y="1492"/>
                  </a:lnTo>
                  <a:lnTo>
                    <a:pt x="156" y="1507"/>
                  </a:lnTo>
                  <a:lnTo>
                    <a:pt x="161" y="1521"/>
                  </a:lnTo>
                  <a:lnTo>
                    <a:pt x="168" y="1534"/>
                  </a:lnTo>
                  <a:lnTo>
                    <a:pt x="175" y="1548"/>
                  </a:lnTo>
                  <a:lnTo>
                    <a:pt x="183" y="1561"/>
                  </a:lnTo>
                  <a:lnTo>
                    <a:pt x="192" y="1574"/>
                  </a:lnTo>
                  <a:lnTo>
                    <a:pt x="201" y="1586"/>
                  </a:lnTo>
                  <a:lnTo>
                    <a:pt x="211" y="1598"/>
                  </a:lnTo>
                  <a:lnTo>
                    <a:pt x="222" y="1610"/>
                  </a:lnTo>
                  <a:lnTo>
                    <a:pt x="234" y="1621"/>
                  </a:lnTo>
                  <a:lnTo>
                    <a:pt x="245" y="1631"/>
                  </a:lnTo>
                  <a:lnTo>
                    <a:pt x="251" y="1636"/>
                  </a:lnTo>
                  <a:lnTo>
                    <a:pt x="258" y="1641"/>
                  </a:lnTo>
                  <a:lnTo>
                    <a:pt x="270" y="1650"/>
                  </a:lnTo>
                  <a:lnTo>
                    <a:pt x="277" y="1654"/>
                  </a:lnTo>
                  <a:lnTo>
                    <a:pt x="283" y="1659"/>
                  </a:lnTo>
                  <a:lnTo>
                    <a:pt x="297" y="1666"/>
                  </a:lnTo>
                  <a:lnTo>
                    <a:pt x="310" y="1673"/>
                  </a:lnTo>
                  <a:lnTo>
                    <a:pt x="324" y="1679"/>
                  </a:lnTo>
                  <a:lnTo>
                    <a:pt x="339" y="1685"/>
                  </a:lnTo>
                  <a:lnTo>
                    <a:pt x="354" y="1690"/>
                  </a:lnTo>
                  <a:lnTo>
                    <a:pt x="369" y="1694"/>
                  </a:lnTo>
                  <a:lnTo>
                    <a:pt x="385" y="1697"/>
                  </a:lnTo>
                  <a:lnTo>
                    <a:pt x="401" y="1700"/>
                  </a:lnTo>
                  <a:lnTo>
                    <a:pt x="417" y="1702"/>
                  </a:lnTo>
                  <a:lnTo>
                    <a:pt x="434" y="1703"/>
                  </a:lnTo>
                  <a:lnTo>
                    <a:pt x="451" y="1703"/>
                  </a:lnTo>
                  <a:lnTo>
                    <a:pt x="483" y="1702"/>
                  </a:lnTo>
                  <a:lnTo>
                    <a:pt x="500" y="1701"/>
                  </a:lnTo>
                  <a:lnTo>
                    <a:pt x="516" y="1700"/>
                  </a:lnTo>
                  <a:lnTo>
                    <a:pt x="548" y="1695"/>
                  </a:lnTo>
                  <a:lnTo>
                    <a:pt x="565" y="1692"/>
                  </a:lnTo>
                  <a:lnTo>
                    <a:pt x="581" y="1689"/>
                  </a:lnTo>
                  <a:lnTo>
                    <a:pt x="597" y="1685"/>
                  </a:lnTo>
                  <a:lnTo>
                    <a:pt x="613" y="1681"/>
                  </a:lnTo>
                  <a:lnTo>
                    <a:pt x="629" y="1676"/>
                  </a:lnTo>
                  <a:lnTo>
                    <a:pt x="645" y="1671"/>
                  </a:lnTo>
                  <a:lnTo>
                    <a:pt x="676" y="1659"/>
                  </a:lnTo>
                  <a:lnTo>
                    <a:pt x="692" y="1652"/>
                  </a:lnTo>
                  <a:lnTo>
                    <a:pt x="708" y="1645"/>
                  </a:lnTo>
                  <a:lnTo>
                    <a:pt x="723" y="1637"/>
                  </a:lnTo>
                  <a:lnTo>
                    <a:pt x="739" y="1629"/>
                  </a:lnTo>
                  <a:lnTo>
                    <a:pt x="754" y="1621"/>
                  </a:lnTo>
                  <a:lnTo>
                    <a:pt x="770" y="1612"/>
                  </a:lnTo>
                  <a:lnTo>
                    <a:pt x="785" y="1602"/>
                  </a:lnTo>
                  <a:lnTo>
                    <a:pt x="800" y="1592"/>
                  </a:lnTo>
                  <a:lnTo>
                    <a:pt x="816" y="1582"/>
                  </a:lnTo>
                  <a:lnTo>
                    <a:pt x="831" y="1571"/>
                  </a:lnTo>
                  <a:lnTo>
                    <a:pt x="846" y="1560"/>
                  </a:lnTo>
                  <a:lnTo>
                    <a:pt x="861" y="1548"/>
                  </a:lnTo>
                  <a:lnTo>
                    <a:pt x="891" y="1523"/>
                  </a:lnTo>
                  <a:lnTo>
                    <a:pt x="906" y="1510"/>
                  </a:lnTo>
                  <a:lnTo>
                    <a:pt x="921" y="1497"/>
                  </a:lnTo>
                  <a:lnTo>
                    <a:pt x="935" y="1483"/>
                  </a:lnTo>
                  <a:lnTo>
                    <a:pt x="950" y="1468"/>
                  </a:lnTo>
                  <a:lnTo>
                    <a:pt x="963" y="1455"/>
                  </a:lnTo>
                  <a:lnTo>
                    <a:pt x="975" y="1442"/>
                  </a:lnTo>
                  <a:lnTo>
                    <a:pt x="986" y="1428"/>
                  </a:lnTo>
                  <a:lnTo>
                    <a:pt x="998" y="1414"/>
                  </a:lnTo>
                  <a:lnTo>
                    <a:pt x="1008" y="1400"/>
                  </a:lnTo>
                  <a:lnTo>
                    <a:pt x="1018" y="1385"/>
                  </a:lnTo>
                  <a:lnTo>
                    <a:pt x="1028" y="1371"/>
                  </a:lnTo>
                  <a:lnTo>
                    <a:pt x="1037" y="1356"/>
                  </a:lnTo>
                  <a:lnTo>
                    <a:pt x="1046" y="1341"/>
                  </a:lnTo>
                  <a:lnTo>
                    <a:pt x="1055" y="1325"/>
                  </a:lnTo>
                  <a:lnTo>
                    <a:pt x="1063" y="1310"/>
                  </a:lnTo>
                  <a:lnTo>
                    <a:pt x="1070" y="1294"/>
                  </a:lnTo>
                  <a:lnTo>
                    <a:pt x="1078" y="1278"/>
                  </a:lnTo>
                  <a:lnTo>
                    <a:pt x="1085" y="1262"/>
                  </a:lnTo>
                  <a:lnTo>
                    <a:pt x="1098" y="1230"/>
                  </a:lnTo>
                  <a:lnTo>
                    <a:pt x="1103" y="1213"/>
                  </a:lnTo>
                  <a:lnTo>
                    <a:pt x="1109" y="1195"/>
                  </a:lnTo>
                  <a:lnTo>
                    <a:pt x="1114" y="1176"/>
                  </a:lnTo>
                  <a:lnTo>
                    <a:pt x="1119" y="1156"/>
                  </a:lnTo>
                  <a:lnTo>
                    <a:pt x="1123" y="1135"/>
                  </a:lnTo>
                  <a:lnTo>
                    <a:pt x="1128" y="1112"/>
                  </a:lnTo>
                  <a:lnTo>
                    <a:pt x="1135" y="1064"/>
                  </a:lnTo>
                  <a:lnTo>
                    <a:pt x="1142" y="1014"/>
                  </a:lnTo>
                  <a:lnTo>
                    <a:pt x="1149" y="961"/>
                  </a:lnTo>
                  <a:lnTo>
                    <a:pt x="1155" y="905"/>
                  </a:lnTo>
                  <a:lnTo>
                    <a:pt x="1161" y="849"/>
                  </a:lnTo>
                  <a:lnTo>
                    <a:pt x="1168" y="768"/>
                  </a:lnTo>
                  <a:lnTo>
                    <a:pt x="1174" y="692"/>
                  </a:lnTo>
                  <a:lnTo>
                    <a:pt x="1186" y="561"/>
                  </a:lnTo>
                  <a:lnTo>
                    <a:pt x="1194" y="471"/>
                  </a:lnTo>
                  <a:lnTo>
                    <a:pt x="1198" y="438"/>
                  </a:lnTo>
                  <a:lnTo>
                    <a:pt x="1213" y="419"/>
                  </a:lnTo>
                  <a:lnTo>
                    <a:pt x="1222" y="409"/>
                  </a:lnTo>
                  <a:lnTo>
                    <a:pt x="1231" y="399"/>
                  </a:lnTo>
                  <a:lnTo>
                    <a:pt x="1253" y="377"/>
                  </a:lnTo>
                  <a:lnTo>
                    <a:pt x="1279" y="352"/>
                  </a:lnTo>
                  <a:lnTo>
                    <a:pt x="1294" y="339"/>
                  </a:lnTo>
                  <a:lnTo>
                    <a:pt x="1310" y="326"/>
                  </a:lnTo>
                  <a:lnTo>
                    <a:pt x="1343" y="298"/>
                  </a:lnTo>
                  <a:lnTo>
                    <a:pt x="1382" y="267"/>
                  </a:lnTo>
                  <a:lnTo>
                    <a:pt x="1403" y="251"/>
                  </a:lnTo>
                  <a:lnTo>
                    <a:pt x="1425" y="235"/>
                  </a:lnTo>
                  <a:lnTo>
                    <a:pt x="1426" y="235"/>
                  </a:lnTo>
                  <a:lnTo>
                    <a:pt x="1420" y="320"/>
                  </a:lnTo>
                  <a:lnTo>
                    <a:pt x="1414" y="367"/>
                  </a:lnTo>
                  <a:lnTo>
                    <a:pt x="1368" y="781"/>
                  </a:lnTo>
                  <a:lnTo>
                    <a:pt x="1364" y="825"/>
                  </a:lnTo>
                  <a:lnTo>
                    <a:pt x="1363" y="843"/>
                  </a:lnTo>
                  <a:lnTo>
                    <a:pt x="1363" y="856"/>
                  </a:lnTo>
                  <a:lnTo>
                    <a:pt x="1363" y="869"/>
                  </a:lnTo>
                  <a:lnTo>
                    <a:pt x="1364" y="877"/>
                  </a:lnTo>
                  <a:lnTo>
                    <a:pt x="1365" y="885"/>
                  </a:lnTo>
                  <a:lnTo>
                    <a:pt x="1367" y="894"/>
                  </a:lnTo>
                  <a:lnTo>
                    <a:pt x="1370" y="904"/>
                  </a:lnTo>
                  <a:lnTo>
                    <a:pt x="1371" y="909"/>
                  </a:lnTo>
                  <a:lnTo>
                    <a:pt x="1373" y="914"/>
                  </a:lnTo>
                  <a:lnTo>
                    <a:pt x="1378" y="923"/>
                  </a:lnTo>
                  <a:lnTo>
                    <a:pt x="1383" y="933"/>
                  </a:lnTo>
                  <a:lnTo>
                    <a:pt x="1389" y="942"/>
                  </a:lnTo>
                  <a:lnTo>
                    <a:pt x="1396" y="950"/>
                  </a:lnTo>
                  <a:lnTo>
                    <a:pt x="1401" y="955"/>
                  </a:lnTo>
                  <a:lnTo>
                    <a:pt x="1405" y="958"/>
                  </a:lnTo>
                  <a:lnTo>
                    <a:pt x="1410" y="962"/>
                  </a:lnTo>
                  <a:lnTo>
                    <a:pt x="1415" y="966"/>
                  </a:lnTo>
                  <a:lnTo>
                    <a:pt x="1421" y="969"/>
                  </a:lnTo>
                  <a:lnTo>
                    <a:pt x="1427" y="972"/>
                  </a:lnTo>
                  <a:lnTo>
                    <a:pt x="1433" y="974"/>
                  </a:lnTo>
                  <a:lnTo>
                    <a:pt x="1439" y="976"/>
                  </a:lnTo>
                  <a:lnTo>
                    <a:pt x="1447" y="978"/>
                  </a:lnTo>
                  <a:lnTo>
                    <a:pt x="1454" y="980"/>
                  </a:lnTo>
                  <a:lnTo>
                    <a:pt x="1464" y="981"/>
                  </a:lnTo>
                  <a:lnTo>
                    <a:pt x="1474" y="982"/>
                  </a:lnTo>
                  <a:lnTo>
                    <a:pt x="1484" y="982"/>
                  </a:lnTo>
                  <a:lnTo>
                    <a:pt x="1494" y="981"/>
                  </a:lnTo>
                  <a:lnTo>
                    <a:pt x="1503" y="980"/>
                  </a:lnTo>
                  <a:lnTo>
                    <a:pt x="1512" y="978"/>
                  </a:lnTo>
                  <a:lnTo>
                    <a:pt x="1520" y="976"/>
                  </a:lnTo>
                  <a:lnTo>
                    <a:pt x="1529" y="974"/>
                  </a:lnTo>
                  <a:lnTo>
                    <a:pt x="1536" y="971"/>
                  </a:lnTo>
                  <a:lnTo>
                    <a:pt x="1543" y="968"/>
                  </a:lnTo>
                  <a:lnTo>
                    <a:pt x="1556" y="963"/>
                  </a:lnTo>
                  <a:lnTo>
                    <a:pt x="1565" y="957"/>
                  </a:lnTo>
                  <a:lnTo>
                    <a:pt x="1572" y="952"/>
                  </a:lnTo>
                  <a:lnTo>
                    <a:pt x="1571" y="950"/>
                  </a:lnTo>
                  <a:lnTo>
                    <a:pt x="1571" y="947"/>
                  </a:lnTo>
                  <a:lnTo>
                    <a:pt x="1571" y="936"/>
                  </a:lnTo>
                  <a:lnTo>
                    <a:pt x="1571" y="922"/>
                  </a:lnTo>
                  <a:lnTo>
                    <a:pt x="1573" y="904"/>
                  </a:lnTo>
                  <a:lnTo>
                    <a:pt x="1575" y="883"/>
                  </a:lnTo>
                  <a:lnTo>
                    <a:pt x="1578" y="860"/>
                  </a:lnTo>
                  <a:lnTo>
                    <a:pt x="1584" y="810"/>
                  </a:lnTo>
                  <a:lnTo>
                    <a:pt x="1590" y="761"/>
                  </a:lnTo>
                  <a:lnTo>
                    <a:pt x="1596" y="719"/>
                  </a:lnTo>
                  <a:lnTo>
                    <a:pt x="1602" y="679"/>
                  </a:lnTo>
                  <a:lnTo>
                    <a:pt x="1604" y="661"/>
                  </a:lnTo>
                  <a:lnTo>
                    <a:pt x="1607" y="643"/>
                  </a:lnTo>
                  <a:lnTo>
                    <a:pt x="1611" y="625"/>
                  </a:lnTo>
                  <a:lnTo>
                    <a:pt x="1616" y="607"/>
                  </a:lnTo>
                  <a:lnTo>
                    <a:pt x="1621" y="589"/>
                  </a:lnTo>
                  <a:lnTo>
                    <a:pt x="1626" y="570"/>
                  </a:lnTo>
                  <a:lnTo>
                    <a:pt x="1633" y="552"/>
                  </a:lnTo>
                  <a:lnTo>
                    <a:pt x="1640" y="533"/>
                  </a:lnTo>
                  <a:lnTo>
                    <a:pt x="1648" y="514"/>
                  </a:lnTo>
                  <a:lnTo>
                    <a:pt x="1656" y="495"/>
                  </a:lnTo>
                  <a:lnTo>
                    <a:pt x="1665" y="476"/>
                  </a:lnTo>
                  <a:lnTo>
                    <a:pt x="1675" y="457"/>
                  </a:lnTo>
                  <a:lnTo>
                    <a:pt x="1686" y="438"/>
                  </a:lnTo>
                  <a:lnTo>
                    <a:pt x="1697" y="418"/>
                  </a:lnTo>
                  <a:lnTo>
                    <a:pt x="1709" y="398"/>
                  </a:lnTo>
                  <a:lnTo>
                    <a:pt x="1722" y="379"/>
                  </a:lnTo>
                  <a:lnTo>
                    <a:pt x="1737" y="355"/>
                  </a:lnTo>
                  <a:lnTo>
                    <a:pt x="1752" y="334"/>
                  </a:lnTo>
                  <a:lnTo>
                    <a:pt x="1766" y="315"/>
                  </a:lnTo>
                  <a:lnTo>
                    <a:pt x="1779" y="298"/>
                  </a:lnTo>
                  <a:lnTo>
                    <a:pt x="1792" y="283"/>
                  </a:lnTo>
                  <a:lnTo>
                    <a:pt x="1804" y="269"/>
                  </a:lnTo>
                  <a:lnTo>
                    <a:pt x="1814" y="258"/>
                  </a:lnTo>
                  <a:lnTo>
                    <a:pt x="1824" y="249"/>
                  </a:lnTo>
                  <a:lnTo>
                    <a:pt x="1833" y="241"/>
                  </a:lnTo>
                  <a:lnTo>
                    <a:pt x="1842" y="235"/>
                  </a:lnTo>
                  <a:lnTo>
                    <a:pt x="1846" y="233"/>
                  </a:lnTo>
                  <a:lnTo>
                    <a:pt x="1849" y="231"/>
                  </a:lnTo>
                  <a:lnTo>
                    <a:pt x="1856" y="228"/>
                  </a:lnTo>
                  <a:lnTo>
                    <a:pt x="1859" y="227"/>
                  </a:lnTo>
                  <a:lnTo>
                    <a:pt x="1861" y="227"/>
                  </a:lnTo>
                  <a:lnTo>
                    <a:pt x="1864" y="227"/>
                  </a:lnTo>
                  <a:lnTo>
                    <a:pt x="1866" y="227"/>
                  </a:lnTo>
                  <a:lnTo>
                    <a:pt x="1868" y="228"/>
                  </a:lnTo>
                  <a:lnTo>
                    <a:pt x="1870" y="229"/>
                  </a:lnTo>
                  <a:lnTo>
                    <a:pt x="1872" y="230"/>
                  </a:lnTo>
                  <a:lnTo>
                    <a:pt x="1873" y="232"/>
                  </a:lnTo>
                  <a:lnTo>
                    <a:pt x="1874" y="234"/>
                  </a:lnTo>
                  <a:lnTo>
                    <a:pt x="1875" y="237"/>
                  </a:lnTo>
                  <a:lnTo>
                    <a:pt x="1877" y="244"/>
                  </a:lnTo>
                  <a:lnTo>
                    <a:pt x="1877" y="248"/>
                  </a:lnTo>
                  <a:lnTo>
                    <a:pt x="1878" y="253"/>
                  </a:lnTo>
                  <a:lnTo>
                    <a:pt x="1878" y="263"/>
                  </a:lnTo>
                  <a:lnTo>
                    <a:pt x="1878" y="275"/>
                  </a:lnTo>
                  <a:lnTo>
                    <a:pt x="1878" y="287"/>
                  </a:lnTo>
                  <a:lnTo>
                    <a:pt x="1876" y="313"/>
                  </a:lnTo>
                  <a:lnTo>
                    <a:pt x="1874" y="338"/>
                  </a:lnTo>
                  <a:lnTo>
                    <a:pt x="1872" y="360"/>
                  </a:lnTo>
                  <a:lnTo>
                    <a:pt x="1870" y="380"/>
                  </a:lnTo>
                  <a:lnTo>
                    <a:pt x="1825" y="784"/>
                  </a:lnTo>
                  <a:lnTo>
                    <a:pt x="1823" y="811"/>
                  </a:lnTo>
                  <a:lnTo>
                    <a:pt x="1821" y="837"/>
                  </a:lnTo>
                  <a:lnTo>
                    <a:pt x="1820" y="856"/>
                  </a:lnTo>
                  <a:lnTo>
                    <a:pt x="1821" y="869"/>
                  </a:lnTo>
                  <a:lnTo>
                    <a:pt x="1821" y="877"/>
                  </a:lnTo>
                  <a:lnTo>
                    <a:pt x="1823" y="885"/>
                  </a:lnTo>
                  <a:lnTo>
                    <a:pt x="1825" y="894"/>
                  </a:lnTo>
                  <a:lnTo>
                    <a:pt x="1827" y="904"/>
                  </a:lnTo>
                  <a:lnTo>
                    <a:pt x="1829" y="909"/>
                  </a:lnTo>
                  <a:lnTo>
                    <a:pt x="1831" y="914"/>
                  </a:lnTo>
                  <a:lnTo>
                    <a:pt x="1835" y="923"/>
                  </a:lnTo>
                  <a:lnTo>
                    <a:pt x="1840" y="933"/>
                  </a:lnTo>
                  <a:lnTo>
                    <a:pt x="1846" y="942"/>
                  </a:lnTo>
                  <a:lnTo>
                    <a:pt x="1854" y="950"/>
                  </a:lnTo>
                  <a:lnTo>
                    <a:pt x="1858" y="955"/>
                  </a:lnTo>
                  <a:lnTo>
                    <a:pt x="1863" y="958"/>
                  </a:lnTo>
                  <a:lnTo>
                    <a:pt x="1867" y="962"/>
                  </a:lnTo>
                  <a:lnTo>
                    <a:pt x="1873" y="966"/>
                  </a:lnTo>
                  <a:lnTo>
                    <a:pt x="1878" y="969"/>
                  </a:lnTo>
                  <a:lnTo>
                    <a:pt x="1884" y="972"/>
                  </a:lnTo>
                  <a:lnTo>
                    <a:pt x="1890" y="974"/>
                  </a:lnTo>
                  <a:lnTo>
                    <a:pt x="1897" y="976"/>
                  </a:lnTo>
                  <a:lnTo>
                    <a:pt x="1904" y="978"/>
                  </a:lnTo>
                  <a:lnTo>
                    <a:pt x="1911" y="980"/>
                  </a:lnTo>
                  <a:lnTo>
                    <a:pt x="1922" y="981"/>
                  </a:lnTo>
                  <a:lnTo>
                    <a:pt x="1932" y="982"/>
                  </a:lnTo>
                  <a:lnTo>
                    <a:pt x="1943" y="982"/>
                  </a:lnTo>
                  <a:lnTo>
                    <a:pt x="1953" y="981"/>
                  </a:lnTo>
                  <a:lnTo>
                    <a:pt x="1963" y="979"/>
                  </a:lnTo>
                  <a:lnTo>
                    <a:pt x="1973" y="977"/>
                  </a:lnTo>
                  <a:lnTo>
                    <a:pt x="1982" y="975"/>
                  </a:lnTo>
                  <a:lnTo>
                    <a:pt x="1991" y="972"/>
                  </a:lnTo>
                  <a:lnTo>
                    <a:pt x="2007" y="966"/>
                  </a:lnTo>
                  <a:lnTo>
                    <a:pt x="2021" y="959"/>
                  </a:lnTo>
                  <a:lnTo>
                    <a:pt x="2032" y="953"/>
                  </a:lnTo>
                  <a:lnTo>
                    <a:pt x="2036" y="950"/>
                  </a:lnTo>
                  <a:lnTo>
                    <a:pt x="2040" y="947"/>
                  </a:lnTo>
                  <a:lnTo>
                    <a:pt x="2038" y="940"/>
                  </a:lnTo>
                  <a:lnTo>
                    <a:pt x="2038" y="928"/>
                  </a:lnTo>
                  <a:lnTo>
                    <a:pt x="2038" y="913"/>
                  </a:lnTo>
                  <a:lnTo>
                    <a:pt x="2039" y="895"/>
                  </a:lnTo>
                  <a:lnTo>
                    <a:pt x="2042" y="851"/>
                  </a:lnTo>
                  <a:lnTo>
                    <a:pt x="2047" y="804"/>
                  </a:lnTo>
                  <a:lnTo>
                    <a:pt x="2052" y="757"/>
                  </a:lnTo>
                  <a:lnTo>
                    <a:pt x="2056" y="717"/>
                  </a:lnTo>
                  <a:lnTo>
                    <a:pt x="2061" y="679"/>
                  </a:lnTo>
                  <a:lnTo>
                    <a:pt x="2063" y="661"/>
                  </a:lnTo>
                  <a:lnTo>
                    <a:pt x="2066" y="643"/>
                  </a:lnTo>
                  <a:lnTo>
                    <a:pt x="2070" y="625"/>
                  </a:lnTo>
                  <a:lnTo>
                    <a:pt x="2074" y="607"/>
                  </a:lnTo>
                  <a:lnTo>
                    <a:pt x="2080" y="589"/>
                  </a:lnTo>
                  <a:lnTo>
                    <a:pt x="2085" y="571"/>
                  </a:lnTo>
                  <a:lnTo>
                    <a:pt x="2092" y="552"/>
                  </a:lnTo>
                  <a:lnTo>
                    <a:pt x="2099" y="533"/>
                  </a:lnTo>
                  <a:lnTo>
                    <a:pt x="2107" y="515"/>
                  </a:lnTo>
                  <a:lnTo>
                    <a:pt x="2116" y="496"/>
                  </a:lnTo>
                  <a:lnTo>
                    <a:pt x="2125" y="476"/>
                  </a:lnTo>
                  <a:lnTo>
                    <a:pt x="2135" y="457"/>
                  </a:lnTo>
                  <a:lnTo>
                    <a:pt x="2146" y="438"/>
                  </a:lnTo>
                  <a:lnTo>
                    <a:pt x="2158" y="418"/>
                  </a:lnTo>
                  <a:lnTo>
                    <a:pt x="2170" y="399"/>
                  </a:lnTo>
                  <a:lnTo>
                    <a:pt x="2182" y="379"/>
                  </a:lnTo>
                  <a:lnTo>
                    <a:pt x="2198" y="356"/>
                  </a:lnTo>
                  <a:lnTo>
                    <a:pt x="2213" y="335"/>
                  </a:lnTo>
                  <a:lnTo>
                    <a:pt x="2228" y="316"/>
                  </a:lnTo>
                  <a:lnTo>
                    <a:pt x="2241" y="299"/>
                  </a:lnTo>
                  <a:lnTo>
                    <a:pt x="2254" y="284"/>
                  </a:lnTo>
                  <a:lnTo>
                    <a:pt x="2266" y="271"/>
                  </a:lnTo>
                  <a:lnTo>
                    <a:pt x="2276" y="260"/>
                  </a:lnTo>
                  <a:lnTo>
                    <a:pt x="2287" y="251"/>
                  </a:lnTo>
                  <a:lnTo>
                    <a:pt x="2296" y="244"/>
                  </a:lnTo>
                  <a:lnTo>
                    <a:pt x="2305" y="238"/>
                  </a:lnTo>
                  <a:lnTo>
                    <a:pt x="2308" y="235"/>
                  </a:lnTo>
                  <a:lnTo>
                    <a:pt x="2312" y="233"/>
                  </a:lnTo>
                  <a:lnTo>
                    <a:pt x="2319" y="231"/>
                  </a:lnTo>
                  <a:lnTo>
                    <a:pt x="2325" y="229"/>
                  </a:lnTo>
                  <a:lnTo>
                    <a:pt x="2330" y="229"/>
                  </a:lnTo>
                  <a:lnTo>
                    <a:pt x="2335" y="230"/>
                  </a:lnTo>
                  <a:lnTo>
                    <a:pt x="2337" y="231"/>
                  </a:lnTo>
                  <a:lnTo>
                    <a:pt x="2338" y="232"/>
                  </a:lnTo>
                  <a:lnTo>
                    <a:pt x="2340" y="234"/>
                  </a:lnTo>
                  <a:lnTo>
                    <a:pt x="2341" y="236"/>
                  </a:lnTo>
                  <a:lnTo>
                    <a:pt x="2342" y="240"/>
                  </a:lnTo>
                  <a:lnTo>
                    <a:pt x="2342" y="244"/>
                  </a:lnTo>
                  <a:lnTo>
                    <a:pt x="2343" y="254"/>
                  </a:lnTo>
                  <a:lnTo>
                    <a:pt x="2343" y="267"/>
                  </a:lnTo>
                  <a:lnTo>
                    <a:pt x="2342" y="281"/>
                  </a:lnTo>
                  <a:lnTo>
                    <a:pt x="2341" y="297"/>
                  </a:lnTo>
                  <a:lnTo>
                    <a:pt x="2338" y="330"/>
                  </a:lnTo>
                  <a:lnTo>
                    <a:pt x="2334" y="363"/>
                  </a:lnTo>
                  <a:lnTo>
                    <a:pt x="2330" y="391"/>
                  </a:lnTo>
                  <a:lnTo>
                    <a:pt x="2326" y="418"/>
                  </a:lnTo>
                  <a:lnTo>
                    <a:pt x="2293" y="634"/>
                  </a:lnTo>
                  <a:lnTo>
                    <a:pt x="2289" y="668"/>
                  </a:lnTo>
                  <a:lnTo>
                    <a:pt x="2284" y="700"/>
                  </a:lnTo>
                  <a:lnTo>
                    <a:pt x="2281" y="729"/>
                  </a:lnTo>
                  <a:lnTo>
                    <a:pt x="2278" y="756"/>
                  </a:lnTo>
                  <a:lnTo>
                    <a:pt x="2276" y="780"/>
                  </a:lnTo>
                  <a:lnTo>
                    <a:pt x="2274" y="803"/>
                  </a:lnTo>
                  <a:lnTo>
                    <a:pt x="2273" y="823"/>
                  </a:lnTo>
                  <a:lnTo>
                    <a:pt x="2273" y="841"/>
                  </a:lnTo>
                  <a:lnTo>
                    <a:pt x="2273" y="854"/>
                  </a:lnTo>
                  <a:lnTo>
                    <a:pt x="2274" y="866"/>
                  </a:lnTo>
                  <a:lnTo>
                    <a:pt x="2275" y="877"/>
                  </a:lnTo>
                  <a:lnTo>
                    <a:pt x="2277" y="888"/>
                  </a:lnTo>
                  <a:lnTo>
                    <a:pt x="2279" y="898"/>
                  </a:lnTo>
                  <a:lnTo>
                    <a:pt x="2282" y="907"/>
                  </a:lnTo>
                  <a:lnTo>
                    <a:pt x="2288" y="923"/>
                  </a:lnTo>
                  <a:lnTo>
                    <a:pt x="2292" y="931"/>
                  </a:lnTo>
                  <a:lnTo>
                    <a:pt x="2296" y="938"/>
                  </a:lnTo>
                  <a:lnTo>
                    <a:pt x="2300" y="944"/>
                  </a:lnTo>
                  <a:lnTo>
                    <a:pt x="2305" y="950"/>
                  </a:lnTo>
                  <a:lnTo>
                    <a:pt x="2307" y="953"/>
                  </a:lnTo>
                  <a:lnTo>
                    <a:pt x="2309" y="955"/>
                  </a:lnTo>
                  <a:lnTo>
                    <a:pt x="2314" y="960"/>
                  </a:lnTo>
                  <a:lnTo>
                    <a:pt x="2324" y="969"/>
                  </a:lnTo>
                  <a:lnTo>
                    <a:pt x="2335" y="975"/>
                  </a:lnTo>
                  <a:lnTo>
                    <a:pt x="2345" y="981"/>
                  </a:lnTo>
                  <a:lnTo>
                    <a:pt x="2356" y="985"/>
                  </a:lnTo>
                  <a:lnTo>
                    <a:pt x="2366" y="988"/>
                  </a:lnTo>
                  <a:lnTo>
                    <a:pt x="2375" y="989"/>
                  </a:lnTo>
                  <a:lnTo>
                    <a:pt x="2384" y="991"/>
                  </a:lnTo>
                  <a:lnTo>
                    <a:pt x="2398" y="991"/>
                  </a:lnTo>
                  <a:lnTo>
                    <a:pt x="2408" y="991"/>
                  </a:lnTo>
                  <a:lnTo>
                    <a:pt x="2418" y="990"/>
                  </a:lnTo>
                  <a:lnTo>
                    <a:pt x="2429" y="988"/>
                  </a:lnTo>
                  <a:lnTo>
                    <a:pt x="2439" y="985"/>
                  </a:lnTo>
                  <a:lnTo>
                    <a:pt x="2450" y="981"/>
                  </a:lnTo>
                  <a:lnTo>
                    <a:pt x="2462" y="977"/>
                  </a:lnTo>
                  <a:lnTo>
                    <a:pt x="2473" y="971"/>
                  </a:lnTo>
                  <a:lnTo>
                    <a:pt x="2485" y="965"/>
                  </a:lnTo>
                  <a:lnTo>
                    <a:pt x="2497" y="958"/>
                  </a:lnTo>
                  <a:lnTo>
                    <a:pt x="2509" y="950"/>
                  </a:lnTo>
                  <a:lnTo>
                    <a:pt x="2522" y="941"/>
                  </a:lnTo>
                  <a:lnTo>
                    <a:pt x="2535" y="931"/>
                  </a:lnTo>
                  <a:lnTo>
                    <a:pt x="2548" y="921"/>
                  </a:lnTo>
                  <a:lnTo>
                    <a:pt x="2562" y="909"/>
                  </a:lnTo>
                  <a:lnTo>
                    <a:pt x="2576" y="897"/>
                  </a:lnTo>
                  <a:lnTo>
                    <a:pt x="2590" y="883"/>
                  </a:lnTo>
                  <a:lnTo>
                    <a:pt x="2606" y="868"/>
                  </a:lnTo>
                  <a:lnTo>
                    <a:pt x="2620" y="854"/>
                  </a:lnTo>
                  <a:lnTo>
                    <a:pt x="2622" y="865"/>
                  </a:lnTo>
                  <a:lnTo>
                    <a:pt x="2626" y="875"/>
                  </a:lnTo>
                  <a:lnTo>
                    <a:pt x="2629" y="884"/>
                  </a:lnTo>
                  <a:lnTo>
                    <a:pt x="2633" y="893"/>
                  </a:lnTo>
                  <a:lnTo>
                    <a:pt x="2637" y="902"/>
                  </a:lnTo>
                  <a:lnTo>
                    <a:pt x="2641" y="910"/>
                  </a:lnTo>
                  <a:lnTo>
                    <a:pt x="2645" y="918"/>
                  </a:lnTo>
                  <a:lnTo>
                    <a:pt x="2650" y="925"/>
                  </a:lnTo>
                  <a:lnTo>
                    <a:pt x="2654" y="931"/>
                  </a:lnTo>
                  <a:lnTo>
                    <a:pt x="2659" y="938"/>
                  </a:lnTo>
                  <a:lnTo>
                    <a:pt x="2664" y="943"/>
                  </a:lnTo>
                  <a:lnTo>
                    <a:pt x="2669" y="949"/>
                  </a:lnTo>
                  <a:lnTo>
                    <a:pt x="2675" y="954"/>
                  </a:lnTo>
                  <a:lnTo>
                    <a:pt x="2680" y="958"/>
                  </a:lnTo>
                  <a:lnTo>
                    <a:pt x="2686" y="963"/>
                  </a:lnTo>
                  <a:lnTo>
                    <a:pt x="2691" y="966"/>
                  </a:lnTo>
                  <a:lnTo>
                    <a:pt x="2702" y="973"/>
                  </a:lnTo>
                  <a:lnTo>
                    <a:pt x="2714" y="979"/>
                  </a:lnTo>
                  <a:lnTo>
                    <a:pt x="2719" y="981"/>
                  </a:lnTo>
                  <a:lnTo>
                    <a:pt x="2725" y="983"/>
                  </a:lnTo>
                  <a:lnTo>
                    <a:pt x="2737" y="986"/>
                  </a:lnTo>
                  <a:lnTo>
                    <a:pt x="2748" y="989"/>
                  </a:lnTo>
                  <a:lnTo>
                    <a:pt x="2759" y="990"/>
                  </a:lnTo>
                  <a:lnTo>
                    <a:pt x="2770" y="991"/>
                  </a:lnTo>
                  <a:lnTo>
                    <a:pt x="2779" y="991"/>
                  </a:lnTo>
                  <a:lnTo>
                    <a:pt x="2793" y="991"/>
                  </a:lnTo>
                  <a:lnTo>
                    <a:pt x="2807" y="990"/>
                  </a:lnTo>
                  <a:lnTo>
                    <a:pt x="2821" y="987"/>
                  </a:lnTo>
                  <a:lnTo>
                    <a:pt x="2835" y="984"/>
                  </a:lnTo>
                  <a:lnTo>
                    <a:pt x="2850" y="980"/>
                  </a:lnTo>
                  <a:lnTo>
                    <a:pt x="2864" y="975"/>
                  </a:lnTo>
                  <a:lnTo>
                    <a:pt x="2879" y="969"/>
                  </a:lnTo>
                  <a:lnTo>
                    <a:pt x="2894" y="962"/>
                  </a:lnTo>
                  <a:lnTo>
                    <a:pt x="2909" y="954"/>
                  </a:lnTo>
                  <a:lnTo>
                    <a:pt x="2925" y="946"/>
                  </a:lnTo>
                  <a:lnTo>
                    <a:pt x="2940" y="936"/>
                  </a:lnTo>
                  <a:lnTo>
                    <a:pt x="2956" y="925"/>
                  </a:lnTo>
                  <a:lnTo>
                    <a:pt x="2973" y="914"/>
                  </a:lnTo>
                  <a:lnTo>
                    <a:pt x="2989" y="901"/>
                  </a:lnTo>
                  <a:lnTo>
                    <a:pt x="3006" y="888"/>
                  </a:lnTo>
                  <a:lnTo>
                    <a:pt x="3023" y="873"/>
                  </a:lnTo>
                  <a:lnTo>
                    <a:pt x="3038" y="860"/>
                  </a:lnTo>
                  <a:lnTo>
                    <a:pt x="3053" y="846"/>
                  </a:lnTo>
                  <a:lnTo>
                    <a:pt x="3067" y="832"/>
                  </a:lnTo>
                  <a:lnTo>
                    <a:pt x="3082" y="817"/>
                  </a:lnTo>
                  <a:lnTo>
                    <a:pt x="3096" y="801"/>
                  </a:lnTo>
                  <a:lnTo>
                    <a:pt x="3111" y="786"/>
                  </a:lnTo>
                  <a:lnTo>
                    <a:pt x="3125" y="769"/>
                  </a:lnTo>
                  <a:lnTo>
                    <a:pt x="3139" y="753"/>
                  </a:lnTo>
                  <a:lnTo>
                    <a:pt x="3136" y="775"/>
                  </a:lnTo>
                  <a:lnTo>
                    <a:pt x="3130" y="856"/>
                  </a:lnTo>
                  <a:lnTo>
                    <a:pt x="3130" y="867"/>
                  </a:lnTo>
                  <a:lnTo>
                    <a:pt x="3131" y="878"/>
                  </a:lnTo>
                  <a:lnTo>
                    <a:pt x="3132" y="888"/>
                  </a:lnTo>
                  <a:lnTo>
                    <a:pt x="3133" y="898"/>
                  </a:lnTo>
                  <a:lnTo>
                    <a:pt x="3135" y="907"/>
                  </a:lnTo>
                  <a:lnTo>
                    <a:pt x="3138" y="915"/>
                  </a:lnTo>
                  <a:lnTo>
                    <a:pt x="3140" y="923"/>
                  </a:lnTo>
                  <a:lnTo>
                    <a:pt x="3144" y="930"/>
                  </a:lnTo>
                  <a:lnTo>
                    <a:pt x="3147" y="937"/>
                  </a:lnTo>
                  <a:lnTo>
                    <a:pt x="3150" y="943"/>
                  </a:lnTo>
                  <a:lnTo>
                    <a:pt x="3154" y="949"/>
                  </a:lnTo>
                  <a:lnTo>
                    <a:pt x="3158" y="954"/>
                  </a:lnTo>
                  <a:lnTo>
                    <a:pt x="3163" y="959"/>
                  </a:lnTo>
                  <a:lnTo>
                    <a:pt x="3167" y="963"/>
                  </a:lnTo>
                  <a:lnTo>
                    <a:pt x="3172" y="967"/>
                  </a:lnTo>
                  <a:lnTo>
                    <a:pt x="3176" y="971"/>
                  </a:lnTo>
                  <a:lnTo>
                    <a:pt x="3186" y="977"/>
                  </a:lnTo>
                  <a:lnTo>
                    <a:pt x="3195" y="982"/>
                  </a:lnTo>
                  <a:lnTo>
                    <a:pt x="3200" y="984"/>
                  </a:lnTo>
                  <a:lnTo>
                    <a:pt x="3205" y="985"/>
                  </a:lnTo>
                  <a:lnTo>
                    <a:pt x="3209" y="987"/>
                  </a:lnTo>
                  <a:lnTo>
                    <a:pt x="3214" y="988"/>
                  </a:lnTo>
                  <a:lnTo>
                    <a:pt x="3223" y="990"/>
                  </a:lnTo>
                  <a:lnTo>
                    <a:pt x="3230" y="991"/>
                  </a:lnTo>
                  <a:lnTo>
                    <a:pt x="3243" y="991"/>
                  </a:lnTo>
                  <a:lnTo>
                    <a:pt x="3257" y="991"/>
                  </a:lnTo>
                  <a:lnTo>
                    <a:pt x="3272" y="989"/>
                  </a:lnTo>
                  <a:lnTo>
                    <a:pt x="3279" y="987"/>
                  </a:lnTo>
                  <a:lnTo>
                    <a:pt x="3286" y="985"/>
                  </a:lnTo>
                  <a:lnTo>
                    <a:pt x="3293" y="983"/>
                  </a:lnTo>
                  <a:lnTo>
                    <a:pt x="3300" y="980"/>
                  </a:lnTo>
                  <a:lnTo>
                    <a:pt x="3314" y="974"/>
                  </a:lnTo>
                  <a:lnTo>
                    <a:pt x="3321" y="971"/>
                  </a:lnTo>
                  <a:lnTo>
                    <a:pt x="3328" y="967"/>
                  </a:lnTo>
                  <a:lnTo>
                    <a:pt x="3335" y="963"/>
                  </a:lnTo>
                  <a:lnTo>
                    <a:pt x="3342" y="959"/>
                  </a:lnTo>
                  <a:lnTo>
                    <a:pt x="3357" y="949"/>
                  </a:lnTo>
                  <a:lnTo>
                    <a:pt x="3356" y="948"/>
                  </a:lnTo>
                  <a:lnTo>
                    <a:pt x="3354" y="946"/>
                  </a:lnTo>
                  <a:lnTo>
                    <a:pt x="3353" y="944"/>
                  </a:lnTo>
                  <a:lnTo>
                    <a:pt x="3352" y="940"/>
                  </a:lnTo>
                  <a:lnTo>
                    <a:pt x="3351" y="936"/>
                  </a:lnTo>
                  <a:lnTo>
                    <a:pt x="3350" y="924"/>
                  </a:lnTo>
                  <a:lnTo>
                    <a:pt x="3350" y="908"/>
                  </a:lnTo>
                  <a:lnTo>
                    <a:pt x="3351" y="889"/>
                  </a:lnTo>
                  <a:lnTo>
                    <a:pt x="3352" y="866"/>
                  </a:lnTo>
                  <a:lnTo>
                    <a:pt x="3357" y="813"/>
                  </a:lnTo>
                  <a:lnTo>
                    <a:pt x="3361" y="783"/>
                  </a:lnTo>
                  <a:lnTo>
                    <a:pt x="3365" y="751"/>
                  </a:lnTo>
                  <a:lnTo>
                    <a:pt x="3374" y="682"/>
                  </a:lnTo>
                  <a:lnTo>
                    <a:pt x="3384" y="608"/>
                  </a:lnTo>
                  <a:lnTo>
                    <a:pt x="3395" y="532"/>
                  </a:lnTo>
                  <a:lnTo>
                    <a:pt x="3419" y="383"/>
                  </a:lnTo>
                  <a:lnTo>
                    <a:pt x="3440" y="254"/>
                  </a:lnTo>
                  <a:lnTo>
                    <a:pt x="3461" y="128"/>
                  </a:lnTo>
                  <a:lnTo>
                    <a:pt x="3462" y="127"/>
                  </a:lnTo>
                  <a:lnTo>
                    <a:pt x="3462" y="122"/>
                  </a:lnTo>
                  <a:lnTo>
                    <a:pt x="3463" y="118"/>
                  </a:lnTo>
                  <a:lnTo>
                    <a:pt x="3463" y="110"/>
                  </a:lnTo>
                  <a:lnTo>
                    <a:pt x="3462" y="106"/>
                  </a:lnTo>
                  <a:lnTo>
                    <a:pt x="3461" y="102"/>
                  </a:lnTo>
                  <a:lnTo>
                    <a:pt x="3461" y="98"/>
                  </a:lnTo>
                  <a:lnTo>
                    <a:pt x="3459" y="95"/>
                  </a:lnTo>
                  <a:lnTo>
                    <a:pt x="3456" y="88"/>
                  </a:lnTo>
                  <a:lnTo>
                    <a:pt x="3452" y="82"/>
                  </a:lnTo>
                  <a:lnTo>
                    <a:pt x="3447" y="76"/>
                  </a:lnTo>
                  <a:lnTo>
                    <a:pt x="3441" y="70"/>
                  </a:lnTo>
                  <a:lnTo>
                    <a:pt x="3435" y="65"/>
                  </a:lnTo>
                  <a:lnTo>
                    <a:pt x="3432" y="63"/>
                  </a:lnTo>
                  <a:lnTo>
                    <a:pt x="3428" y="61"/>
                  </a:lnTo>
                  <a:lnTo>
                    <a:pt x="3420" y="57"/>
                  </a:lnTo>
                  <a:lnTo>
                    <a:pt x="3412" y="53"/>
                  </a:lnTo>
                  <a:lnTo>
                    <a:pt x="3404" y="49"/>
                  </a:lnTo>
                  <a:lnTo>
                    <a:pt x="3395" y="46"/>
                  </a:lnTo>
                  <a:lnTo>
                    <a:pt x="3376" y="41"/>
                  </a:lnTo>
                  <a:lnTo>
                    <a:pt x="3357" y="36"/>
                  </a:lnTo>
                  <a:lnTo>
                    <a:pt x="3337" y="33"/>
                  </a:lnTo>
                  <a:lnTo>
                    <a:pt x="3317" y="30"/>
                  </a:lnTo>
                  <a:lnTo>
                    <a:pt x="3299" y="29"/>
                  </a:lnTo>
                  <a:lnTo>
                    <a:pt x="3282" y="28"/>
                  </a:lnTo>
                  <a:lnTo>
                    <a:pt x="3267" y="27"/>
                  </a:lnTo>
                  <a:lnTo>
                    <a:pt x="3244" y="27"/>
                  </a:lnTo>
                  <a:close/>
                  <a:moveTo>
                    <a:pt x="929" y="821"/>
                  </a:moveTo>
                  <a:lnTo>
                    <a:pt x="923" y="888"/>
                  </a:lnTo>
                  <a:lnTo>
                    <a:pt x="917" y="950"/>
                  </a:lnTo>
                  <a:lnTo>
                    <a:pt x="910" y="1009"/>
                  </a:lnTo>
                  <a:lnTo>
                    <a:pt x="904" y="1063"/>
                  </a:lnTo>
                  <a:lnTo>
                    <a:pt x="897" y="1114"/>
                  </a:lnTo>
                  <a:lnTo>
                    <a:pt x="890" y="1160"/>
                  </a:lnTo>
                  <a:lnTo>
                    <a:pt x="882" y="1202"/>
                  </a:lnTo>
                  <a:lnTo>
                    <a:pt x="875" y="1240"/>
                  </a:lnTo>
                  <a:lnTo>
                    <a:pt x="868" y="1275"/>
                  </a:lnTo>
                  <a:lnTo>
                    <a:pt x="861" y="1306"/>
                  </a:lnTo>
                  <a:lnTo>
                    <a:pt x="854" y="1333"/>
                  </a:lnTo>
                  <a:lnTo>
                    <a:pt x="847" y="1357"/>
                  </a:lnTo>
                  <a:lnTo>
                    <a:pt x="843" y="1368"/>
                  </a:lnTo>
                  <a:lnTo>
                    <a:pt x="840" y="1378"/>
                  </a:lnTo>
                  <a:lnTo>
                    <a:pt x="833" y="1395"/>
                  </a:lnTo>
                  <a:lnTo>
                    <a:pt x="830" y="1403"/>
                  </a:lnTo>
                  <a:lnTo>
                    <a:pt x="826" y="1410"/>
                  </a:lnTo>
                  <a:lnTo>
                    <a:pt x="823" y="1415"/>
                  </a:lnTo>
                  <a:lnTo>
                    <a:pt x="820" y="1421"/>
                  </a:lnTo>
                  <a:lnTo>
                    <a:pt x="809" y="1437"/>
                  </a:lnTo>
                  <a:lnTo>
                    <a:pt x="798" y="1452"/>
                  </a:lnTo>
                  <a:lnTo>
                    <a:pt x="791" y="1460"/>
                  </a:lnTo>
                  <a:lnTo>
                    <a:pt x="785" y="1467"/>
                  </a:lnTo>
                  <a:lnTo>
                    <a:pt x="779" y="1473"/>
                  </a:lnTo>
                  <a:lnTo>
                    <a:pt x="773" y="1480"/>
                  </a:lnTo>
                  <a:lnTo>
                    <a:pt x="766" y="1486"/>
                  </a:lnTo>
                  <a:lnTo>
                    <a:pt x="760" y="1492"/>
                  </a:lnTo>
                  <a:lnTo>
                    <a:pt x="746" y="1503"/>
                  </a:lnTo>
                  <a:lnTo>
                    <a:pt x="732" y="1513"/>
                  </a:lnTo>
                  <a:lnTo>
                    <a:pt x="724" y="1517"/>
                  </a:lnTo>
                  <a:lnTo>
                    <a:pt x="717" y="1522"/>
                  </a:lnTo>
                  <a:lnTo>
                    <a:pt x="701" y="1529"/>
                  </a:lnTo>
                  <a:lnTo>
                    <a:pt x="694" y="1533"/>
                  </a:lnTo>
                  <a:lnTo>
                    <a:pt x="686" y="1536"/>
                  </a:lnTo>
                  <a:lnTo>
                    <a:pt x="669" y="1542"/>
                  </a:lnTo>
                  <a:lnTo>
                    <a:pt x="661" y="1544"/>
                  </a:lnTo>
                  <a:lnTo>
                    <a:pt x="652" y="1546"/>
                  </a:lnTo>
                  <a:lnTo>
                    <a:pt x="635" y="1550"/>
                  </a:lnTo>
                  <a:lnTo>
                    <a:pt x="616" y="1552"/>
                  </a:lnTo>
                  <a:lnTo>
                    <a:pt x="598" y="1554"/>
                  </a:lnTo>
                  <a:lnTo>
                    <a:pt x="578" y="1554"/>
                  </a:lnTo>
                  <a:lnTo>
                    <a:pt x="565" y="1554"/>
                  </a:lnTo>
                  <a:lnTo>
                    <a:pt x="549" y="1552"/>
                  </a:lnTo>
                  <a:lnTo>
                    <a:pt x="541" y="1550"/>
                  </a:lnTo>
                  <a:lnTo>
                    <a:pt x="533" y="1548"/>
                  </a:lnTo>
                  <a:lnTo>
                    <a:pt x="515" y="1543"/>
                  </a:lnTo>
                  <a:lnTo>
                    <a:pt x="506" y="1540"/>
                  </a:lnTo>
                  <a:lnTo>
                    <a:pt x="496" y="1536"/>
                  </a:lnTo>
                  <a:lnTo>
                    <a:pt x="478" y="1527"/>
                  </a:lnTo>
                  <a:lnTo>
                    <a:pt x="468" y="1522"/>
                  </a:lnTo>
                  <a:lnTo>
                    <a:pt x="459" y="1516"/>
                  </a:lnTo>
                  <a:lnTo>
                    <a:pt x="450" y="1509"/>
                  </a:lnTo>
                  <a:lnTo>
                    <a:pt x="441" y="1503"/>
                  </a:lnTo>
                  <a:lnTo>
                    <a:pt x="432" y="1495"/>
                  </a:lnTo>
                  <a:lnTo>
                    <a:pt x="423" y="1487"/>
                  </a:lnTo>
                  <a:lnTo>
                    <a:pt x="415" y="1478"/>
                  </a:lnTo>
                  <a:lnTo>
                    <a:pt x="407" y="1469"/>
                  </a:lnTo>
                  <a:lnTo>
                    <a:pt x="399" y="1459"/>
                  </a:lnTo>
                  <a:lnTo>
                    <a:pt x="392" y="1448"/>
                  </a:lnTo>
                  <a:lnTo>
                    <a:pt x="385" y="1436"/>
                  </a:lnTo>
                  <a:lnTo>
                    <a:pt x="379" y="1424"/>
                  </a:lnTo>
                  <a:lnTo>
                    <a:pt x="373" y="1411"/>
                  </a:lnTo>
                  <a:lnTo>
                    <a:pt x="368" y="1398"/>
                  </a:lnTo>
                  <a:lnTo>
                    <a:pt x="364" y="1383"/>
                  </a:lnTo>
                  <a:lnTo>
                    <a:pt x="360" y="1368"/>
                  </a:lnTo>
                  <a:lnTo>
                    <a:pt x="357" y="1352"/>
                  </a:lnTo>
                  <a:lnTo>
                    <a:pt x="355" y="1335"/>
                  </a:lnTo>
                  <a:lnTo>
                    <a:pt x="353" y="1317"/>
                  </a:lnTo>
                  <a:lnTo>
                    <a:pt x="353" y="1299"/>
                  </a:lnTo>
                  <a:lnTo>
                    <a:pt x="354" y="1281"/>
                  </a:lnTo>
                  <a:lnTo>
                    <a:pt x="356" y="1264"/>
                  </a:lnTo>
                  <a:lnTo>
                    <a:pt x="360" y="1246"/>
                  </a:lnTo>
                  <a:lnTo>
                    <a:pt x="365" y="1227"/>
                  </a:lnTo>
                  <a:lnTo>
                    <a:pt x="372" y="1209"/>
                  </a:lnTo>
                  <a:lnTo>
                    <a:pt x="380" y="1189"/>
                  </a:lnTo>
                  <a:lnTo>
                    <a:pt x="390" y="1170"/>
                  </a:lnTo>
                  <a:lnTo>
                    <a:pt x="401" y="1150"/>
                  </a:lnTo>
                  <a:lnTo>
                    <a:pt x="414" y="1130"/>
                  </a:lnTo>
                  <a:lnTo>
                    <a:pt x="428" y="1109"/>
                  </a:lnTo>
                  <a:lnTo>
                    <a:pt x="444" y="1088"/>
                  </a:lnTo>
                  <a:lnTo>
                    <a:pt x="452" y="1077"/>
                  </a:lnTo>
                  <a:lnTo>
                    <a:pt x="461" y="1066"/>
                  </a:lnTo>
                  <a:lnTo>
                    <a:pt x="470" y="1055"/>
                  </a:lnTo>
                  <a:lnTo>
                    <a:pt x="479" y="1044"/>
                  </a:lnTo>
                  <a:lnTo>
                    <a:pt x="499" y="1022"/>
                  </a:lnTo>
                  <a:lnTo>
                    <a:pt x="520" y="1000"/>
                  </a:lnTo>
                  <a:lnTo>
                    <a:pt x="542" y="977"/>
                  </a:lnTo>
                  <a:lnTo>
                    <a:pt x="551" y="978"/>
                  </a:lnTo>
                  <a:lnTo>
                    <a:pt x="573" y="977"/>
                  </a:lnTo>
                  <a:lnTo>
                    <a:pt x="585" y="976"/>
                  </a:lnTo>
                  <a:lnTo>
                    <a:pt x="596" y="974"/>
                  </a:lnTo>
                  <a:lnTo>
                    <a:pt x="608" y="972"/>
                  </a:lnTo>
                  <a:lnTo>
                    <a:pt x="619" y="970"/>
                  </a:lnTo>
                  <a:lnTo>
                    <a:pt x="643" y="963"/>
                  </a:lnTo>
                  <a:lnTo>
                    <a:pt x="654" y="959"/>
                  </a:lnTo>
                  <a:lnTo>
                    <a:pt x="666" y="954"/>
                  </a:lnTo>
                  <a:lnTo>
                    <a:pt x="678" y="949"/>
                  </a:lnTo>
                  <a:lnTo>
                    <a:pt x="690" y="944"/>
                  </a:lnTo>
                  <a:lnTo>
                    <a:pt x="702" y="937"/>
                  </a:lnTo>
                  <a:lnTo>
                    <a:pt x="714" y="931"/>
                  </a:lnTo>
                  <a:lnTo>
                    <a:pt x="726" y="924"/>
                  </a:lnTo>
                  <a:lnTo>
                    <a:pt x="738" y="916"/>
                  </a:lnTo>
                  <a:lnTo>
                    <a:pt x="762" y="900"/>
                  </a:lnTo>
                  <a:lnTo>
                    <a:pt x="786" y="881"/>
                  </a:lnTo>
                  <a:lnTo>
                    <a:pt x="799" y="871"/>
                  </a:lnTo>
                  <a:lnTo>
                    <a:pt x="811" y="861"/>
                  </a:lnTo>
                  <a:lnTo>
                    <a:pt x="836" y="839"/>
                  </a:lnTo>
                  <a:lnTo>
                    <a:pt x="861" y="814"/>
                  </a:lnTo>
                  <a:lnTo>
                    <a:pt x="886" y="788"/>
                  </a:lnTo>
                  <a:lnTo>
                    <a:pt x="899" y="774"/>
                  </a:lnTo>
                  <a:lnTo>
                    <a:pt x="912" y="760"/>
                  </a:lnTo>
                  <a:lnTo>
                    <a:pt x="925" y="745"/>
                  </a:lnTo>
                  <a:lnTo>
                    <a:pt x="938" y="729"/>
                  </a:lnTo>
                  <a:lnTo>
                    <a:pt x="929" y="821"/>
                  </a:lnTo>
                  <a:close/>
                  <a:moveTo>
                    <a:pt x="987" y="304"/>
                  </a:moveTo>
                  <a:lnTo>
                    <a:pt x="986" y="316"/>
                  </a:lnTo>
                  <a:lnTo>
                    <a:pt x="984" y="328"/>
                  </a:lnTo>
                  <a:lnTo>
                    <a:pt x="979" y="352"/>
                  </a:lnTo>
                  <a:lnTo>
                    <a:pt x="973" y="376"/>
                  </a:lnTo>
                  <a:lnTo>
                    <a:pt x="967" y="399"/>
                  </a:lnTo>
                  <a:lnTo>
                    <a:pt x="959" y="423"/>
                  </a:lnTo>
                  <a:lnTo>
                    <a:pt x="950" y="445"/>
                  </a:lnTo>
                  <a:lnTo>
                    <a:pt x="941" y="468"/>
                  </a:lnTo>
                  <a:lnTo>
                    <a:pt x="930" y="490"/>
                  </a:lnTo>
                  <a:lnTo>
                    <a:pt x="924" y="501"/>
                  </a:lnTo>
                  <a:lnTo>
                    <a:pt x="918" y="512"/>
                  </a:lnTo>
                  <a:lnTo>
                    <a:pt x="906" y="534"/>
                  </a:lnTo>
                  <a:lnTo>
                    <a:pt x="899" y="544"/>
                  </a:lnTo>
                  <a:lnTo>
                    <a:pt x="892" y="555"/>
                  </a:lnTo>
                  <a:lnTo>
                    <a:pt x="877" y="576"/>
                  </a:lnTo>
                  <a:lnTo>
                    <a:pt x="862" y="596"/>
                  </a:lnTo>
                  <a:lnTo>
                    <a:pt x="845" y="616"/>
                  </a:lnTo>
                  <a:lnTo>
                    <a:pt x="828" y="636"/>
                  </a:lnTo>
                  <a:lnTo>
                    <a:pt x="810" y="656"/>
                  </a:lnTo>
                  <a:lnTo>
                    <a:pt x="793" y="672"/>
                  </a:lnTo>
                  <a:lnTo>
                    <a:pt x="778" y="687"/>
                  </a:lnTo>
                  <a:lnTo>
                    <a:pt x="763" y="699"/>
                  </a:lnTo>
                  <a:lnTo>
                    <a:pt x="750" y="711"/>
                  </a:lnTo>
                  <a:lnTo>
                    <a:pt x="737" y="721"/>
                  </a:lnTo>
                  <a:lnTo>
                    <a:pt x="725" y="729"/>
                  </a:lnTo>
                  <a:lnTo>
                    <a:pt x="714" y="736"/>
                  </a:lnTo>
                  <a:lnTo>
                    <a:pt x="703" y="743"/>
                  </a:lnTo>
                  <a:lnTo>
                    <a:pt x="694" y="748"/>
                  </a:lnTo>
                  <a:lnTo>
                    <a:pt x="685" y="752"/>
                  </a:lnTo>
                  <a:lnTo>
                    <a:pt x="677" y="755"/>
                  </a:lnTo>
                  <a:lnTo>
                    <a:pt x="670" y="757"/>
                  </a:lnTo>
                  <a:lnTo>
                    <a:pt x="663" y="759"/>
                  </a:lnTo>
                  <a:lnTo>
                    <a:pt x="657" y="760"/>
                  </a:lnTo>
                  <a:lnTo>
                    <a:pt x="648" y="761"/>
                  </a:lnTo>
                  <a:lnTo>
                    <a:pt x="644" y="760"/>
                  </a:lnTo>
                  <a:lnTo>
                    <a:pt x="641" y="759"/>
                  </a:lnTo>
                  <a:lnTo>
                    <a:pt x="639" y="756"/>
                  </a:lnTo>
                  <a:lnTo>
                    <a:pt x="636" y="753"/>
                  </a:lnTo>
                  <a:lnTo>
                    <a:pt x="634" y="749"/>
                  </a:lnTo>
                  <a:lnTo>
                    <a:pt x="633" y="744"/>
                  </a:lnTo>
                  <a:lnTo>
                    <a:pt x="630" y="734"/>
                  </a:lnTo>
                  <a:lnTo>
                    <a:pt x="629" y="729"/>
                  </a:lnTo>
                  <a:lnTo>
                    <a:pt x="629" y="723"/>
                  </a:lnTo>
                  <a:lnTo>
                    <a:pt x="628" y="712"/>
                  </a:lnTo>
                  <a:lnTo>
                    <a:pt x="628" y="692"/>
                  </a:lnTo>
                  <a:lnTo>
                    <a:pt x="629" y="667"/>
                  </a:lnTo>
                  <a:lnTo>
                    <a:pt x="630" y="641"/>
                  </a:lnTo>
                  <a:lnTo>
                    <a:pt x="632" y="616"/>
                  </a:lnTo>
                  <a:lnTo>
                    <a:pt x="635" y="592"/>
                  </a:lnTo>
                  <a:lnTo>
                    <a:pt x="638" y="568"/>
                  </a:lnTo>
                  <a:lnTo>
                    <a:pt x="642" y="545"/>
                  </a:lnTo>
                  <a:lnTo>
                    <a:pt x="647" y="522"/>
                  </a:lnTo>
                  <a:lnTo>
                    <a:pt x="649" y="510"/>
                  </a:lnTo>
                  <a:lnTo>
                    <a:pt x="652" y="499"/>
                  </a:lnTo>
                  <a:lnTo>
                    <a:pt x="657" y="478"/>
                  </a:lnTo>
                  <a:lnTo>
                    <a:pt x="664" y="456"/>
                  </a:lnTo>
                  <a:lnTo>
                    <a:pt x="671" y="436"/>
                  </a:lnTo>
                  <a:lnTo>
                    <a:pt x="678" y="415"/>
                  </a:lnTo>
                  <a:lnTo>
                    <a:pt x="682" y="406"/>
                  </a:lnTo>
                  <a:lnTo>
                    <a:pt x="687" y="396"/>
                  </a:lnTo>
                  <a:lnTo>
                    <a:pt x="695" y="377"/>
                  </a:lnTo>
                  <a:lnTo>
                    <a:pt x="705" y="358"/>
                  </a:lnTo>
                  <a:lnTo>
                    <a:pt x="715" y="341"/>
                  </a:lnTo>
                  <a:lnTo>
                    <a:pt x="724" y="325"/>
                  </a:lnTo>
                  <a:lnTo>
                    <a:pt x="734" y="311"/>
                  </a:lnTo>
                  <a:lnTo>
                    <a:pt x="744" y="297"/>
                  </a:lnTo>
                  <a:lnTo>
                    <a:pt x="748" y="291"/>
                  </a:lnTo>
                  <a:lnTo>
                    <a:pt x="753" y="285"/>
                  </a:lnTo>
                  <a:lnTo>
                    <a:pt x="763" y="274"/>
                  </a:lnTo>
                  <a:lnTo>
                    <a:pt x="774" y="263"/>
                  </a:lnTo>
                  <a:lnTo>
                    <a:pt x="784" y="254"/>
                  </a:lnTo>
                  <a:lnTo>
                    <a:pt x="795" y="246"/>
                  </a:lnTo>
                  <a:lnTo>
                    <a:pt x="805" y="238"/>
                  </a:lnTo>
                  <a:lnTo>
                    <a:pt x="816" y="232"/>
                  </a:lnTo>
                  <a:lnTo>
                    <a:pt x="827" y="227"/>
                  </a:lnTo>
                  <a:lnTo>
                    <a:pt x="838" y="222"/>
                  </a:lnTo>
                  <a:lnTo>
                    <a:pt x="850" y="219"/>
                  </a:lnTo>
                  <a:lnTo>
                    <a:pt x="861" y="216"/>
                  </a:lnTo>
                  <a:lnTo>
                    <a:pt x="873" y="214"/>
                  </a:lnTo>
                  <a:lnTo>
                    <a:pt x="885" y="213"/>
                  </a:lnTo>
                  <a:lnTo>
                    <a:pt x="901" y="213"/>
                  </a:lnTo>
                  <a:lnTo>
                    <a:pt x="917" y="214"/>
                  </a:lnTo>
                  <a:lnTo>
                    <a:pt x="933" y="215"/>
                  </a:lnTo>
                  <a:lnTo>
                    <a:pt x="948" y="217"/>
                  </a:lnTo>
                  <a:lnTo>
                    <a:pt x="962" y="220"/>
                  </a:lnTo>
                  <a:lnTo>
                    <a:pt x="975" y="223"/>
                  </a:lnTo>
                  <a:lnTo>
                    <a:pt x="998" y="229"/>
                  </a:lnTo>
                  <a:lnTo>
                    <a:pt x="991" y="277"/>
                  </a:lnTo>
                  <a:lnTo>
                    <a:pt x="987" y="304"/>
                  </a:lnTo>
                  <a:close/>
                  <a:moveTo>
                    <a:pt x="3204" y="299"/>
                  </a:moveTo>
                  <a:lnTo>
                    <a:pt x="3200" y="325"/>
                  </a:lnTo>
                  <a:lnTo>
                    <a:pt x="3195" y="350"/>
                  </a:lnTo>
                  <a:lnTo>
                    <a:pt x="3192" y="362"/>
                  </a:lnTo>
                  <a:lnTo>
                    <a:pt x="3189" y="374"/>
                  </a:lnTo>
                  <a:lnTo>
                    <a:pt x="3182" y="399"/>
                  </a:lnTo>
                  <a:lnTo>
                    <a:pt x="3174" y="422"/>
                  </a:lnTo>
                  <a:lnTo>
                    <a:pt x="3165" y="446"/>
                  </a:lnTo>
                  <a:lnTo>
                    <a:pt x="3156" y="469"/>
                  </a:lnTo>
                  <a:lnTo>
                    <a:pt x="3145" y="491"/>
                  </a:lnTo>
                  <a:lnTo>
                    <a:pt x="3134" y="513"/>
                  </a:lnTo>
                  <a:lnTo>
                    <a:pt x="3122" y="535"/>
                  </a:lnTo>
                  <a:lnTo>
                    <a:pt x="3109" y="557"/>
                  </a:lnTo>
                  <a:lnTo>
                    <a:pt x="3095" y="577"/>
                  </a:lnTo>
                  <a:lnTo>
                    <a:pt x="3080" y="598"/>
                  </a:lnTo>
                  <a:lnTo>
                    <a:pt x="3072" y="608"/>
                  </a:lnTo>
                  <a:lnTo>
                    <a:pt x="3064" y="618"/>
                  </a:lnTo>
                  <a:lnTo>
                    <a:pt x="3056" y="628"/>
                  </a:lnTo>
                  <a:lnTo>
                    <a:pt x="3048" y="638"/>
                  </a:lnTo>
                  <a:lnTo>
                    <a:pt x="3031" y="657"/>
                  </a:lnTo>
                  <a:lnTo>
                    <a:pt x="3015" y="673"/>
                  </a:lnTo>
                  <a:lnTo>
                    <a:pt x="3000" y="688"/>
                  </a:lnTo>
                  <a:lnTo>
                    <a:pt x="2986" y="701"/>
                  </a:lnTo>
                  <a:lnTo>
                    <a:pt x="2972" y="712"/>
                  </a:lnTo>
                  <a:lnTo>
                    <a:pt x="2960" y="722"/>
                  </a:lnTo>
                  <a:lnTo>
                    <a:pt x="2948" y="731"/>
                  </a:lnTo>
                  <a:lnTo>
                    <a:pt x="2937" y="738"/>
                  </a:lnTo>
                  <a:lnTo>
                    <a:pt x="2927" y="744"/>
                  </a:lnTo>
                  <a:lnTo>
                    <a:pt x="2917" y="749"/>
                  </a:lnTo>
                  <a:lnTo>
                    <a:pt x="2909" y="754"/>
                  </a:lnTo>
                  <a:lnTo>
                    <a:pt x="2901" y="757"/>
                  </a:lnTo>
                  <a:lnTo>
                    <a:pt x="2893" y="759"/>
                  </a:lnTo>
                  <a:lnTo>
                    <a:pt x="2887" y="761"/>
                  </a:lnTo>
                  <a:lnTo>
                    <a:pt x="2881" y="762"/>
                  </a:lnTo>
                  <a:lnTo>
                    <a:pt x="2871" y="763"/>
                  </a:lnTo>
                  <a:lnTo>
                    <a:pt x="2868" y="762"/>
                  </a:lnTo>
                  <a:lnTo>
                    <a:pt x="2865" y="761"/>
                  </a:lnTo>
                  <a:lnTo>
                    <a:pt x="2862" y="759"/>
                  </a:lnTo>
                  <a:lnTo>
                    <a:pt x="2860" y="756"/>
                  </a:lnTo>
                  <a:lnTo>
                    <a:pt x="2858" y="752"/>
                  </a:lnTo>
                  <a:lnTo>
                    <a:pt x="2856" y="748"/>
                  </a:lnTo>
                  <a:lnTo>
                    <a:pt x="2853" y="738"/>
                  </a:lnTo>
                  <a:lnTo>
                    <a:pt x="2852" y="733"/>
                  </a:lnTo>
                  <a:lnTo>
                    <a:pt x="2852" y="727"/>
                  </a:lnTo>
                  <a:lnTo>
                    <a:pt x="2850" y="716"/>
                  </a:lnTo>
                  <a:lnTo>
                    <a:pt x="2850" y="695"/>
                  </a:lnTo>
                  <a:lnTo>
                    <a:pt x="2850" y="669"/>
                  </a:lnTo>
                  <a:lnTo>
                    <a:pt x="2851" y="643"/>
                  </a:lnTo>
                  <a:lnTo>
                    <a:pt x="2853" y="618"/>
                  </a:lnTo>
                  <a:lnTo>
                    <a:pt x="2855" y="593"/>
                  </a:lnTo>
                  <a:lnTo>
                    <a:pt x="2858" y="569"/>
                  </a:lnTo>
                  <a:lnTo>
                    <a:pt x="2862" y="546"/>
                  </a:lnTo>
                  <a:lnTo>
                    <a:pt x="2866" y="523"/>
                  </a:lnTo>
                  <a:lnTo>
                    <a:pt x="2871" y="501"/>
                  </a:lnTo>
                  <a:lnTo>
                    <a:pt x="2876" y="479"/>
                  </a:lnTo>
                  <a:lnTo>
                    <a:pt x="2882" y="457"/>
                  </a:lnTo>
                  <a:lnTo>
                    <a:pt x="2889" y="437"/>
                  </a:lnTo>
                  <a:lnTo>
                    <a:pt x="2896" y="416"/>
                  </a:lnTo>
                  <a:lnTo>
                    <a:pt x="2903" y="397"/>
                  </a:lnTo>
                  <a:lnTo>
                    <a:pt x="2911" y="378"/>
                  </a:lnTo>
                  <a:lnTo>
                    <a:pt x="2920" y="359"/>
                  </a:lnTo>
                  <a:lnTo>
                    <a:pt x="2929" y="341"/>
                  </a:lnTo>
                  <a:lnTo>
                    <a:pt x="2938" y="325"/>
                  </a:lnTo>
                  <a:lnTo>
                    <a:pt x="2942" y="318"/>
                  </a:lnTo>
                  <a:lnTo>
                    <a:pt x="2947" y="311"/>
                  </a:lnTo>
                  <a:lnTo>
                    <a:pt x="2955" y="298"/>
                  </a:lnTo>
                  <a:lnTo>
                    <a:pt x="2965" y="286"/>
                  </a:lnTo>
                  <a:lnTo>
                    <a:pt x="2974" y="276"/>
                  </a:lnTo>
                  <a:lnTo>
                    <a:pt x="2983" y="266"/>
                  </a:lnTo>
                  <a:lnTo>
                    <a:pt x="2993" y="257"/>
                  </a:lnTo>
                  <a:lnTo>
                    <a:pt x="3002" y="249"/>
                  </a:lnTo>
                  <a:lnTo>
                    <a:pt x="3012" y="241"/>
                  </a:lnTo>
                  <a:lnTo>
                    <a:pt x="3022" y="235"/>
                  </a:lnTo>
                  <a:lnTo>
                    <a:pt x="3032" y="230"/>
                  </a:lnTo>
                  <a:lnTo>
                    <a:pt x="3042" y="225"/>
                  </a:lnTo>
                  <a:lnTo>
                    <a:pt x="3052" y="221"/>
                  </a:lnTo>
                  <a:lnTo>
                    <a:pt x="3062" y="217"/>
                  </a:lnTo>
                  <a:lnTo>
                    <a:pt x="3071" y="214"/>
                  </a:lnTo>
                  <a:lnTo>
                    <a:pt x="3081" y="212"/>
                  </a:lnTo>
                  <a:lnTo>
                    <a:pt x="3101" y="209"/>
                  </a:lnTo>
                  <a:lnTo>
                    <a:pt x="3110" y="208"/>
                  </a:lnTo>
                  <a:lnTo>
                    <a:pt x="3120" y="208"/>
                  </a:lnTo>
                  <a:lnTo>
                    <a:pt x="3129" y="208"/>
                  </a:lnTo>
                  <a:lnTo>
                    <a:pt x="3139" y="208"/>
                  </a:lnTo>
                  <a:lnTo>
                    <a:pt x="3156" y="209"/>
                  </a:lnTo>
                  <a:lnTo>
                    <a:pt x="3165" y="210"/>
                  </a:lnTo>
                  <a:lnTo>
                    <a:pt x="3174" y="212"/>
                  </a:lnTo>
                  <a:lnTo>
                    <a:pt x="3190" y="214"/>
                  </a:lnTo>
                  <a:lnTo>
                    <a:pt x="3219" y="219"/>
                  </a:lnTo>
                  <a:lnTo>
                    <a:pt x="3217" y="230"/>
                  </a:lnTo>
                  <a:lnTo>
                    <a:pt x="3215" y="242"/>
                  </a:lnTo>
                  <a:lnTo>
                    <a:pt x="3211" y="268"/>
                  </a:lnTo>
                  <a:lnTo>
                    <a:pt x="3204" y="29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3" name="Freeform 8">
              <a:extLst>
                <a:ext uri="{FF2B5EF4-FFF2-40B4-BE49-F238E27FC236}">
                  <a16:creationId xmlns:a16="http://schemas.microsoft.com/office/drawing/2014/main" id="{69E07272-8ED5-4A63-BCBC-7F6E631C69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463" y="2379977"/>
              <a:ext cx="173166" cy="244721"/>
            </a:xfrm>
            <a:custGeom>
              <a:avLst/>
              <a:gdLst>
                <a:gd name="T0" fmla="*/ 698 w 901"/>
                <a:gd name="T1" fmla="*/ 227 h 1274"/>
                <a:gd name="T2" fmla="*/ 760 w 901"/>
                <a:gd name="T3" fmla="*/ 277 h 1274"/>
                <a:gd name="T4" fmla="*/ 813 w 901"/>
                <a:gd name="T5" fmla="*/ 288 h 1274"/>
                <a:gd name="T6" fmla="*/ 855 w 901"/>
                <a:gd name="T7" fmla="*/ 274 h 1274"/>
                <a:gd name="T8" fmla="*/ 887 w 901"/>
                <a:gd name="T9" fmla="*/ 234 h 1274"/>
                <a:gd name="T10" fmla="*/ 900 w 901"/>
                <a:gd name="T11" fmla="*/ 154 h 1274"/>
                <a:gd name="T12" fmla="*/ 882 w 901"/>
                <a:gd name="T13" fmla="*/ 97 h 1274"/>
                <a:gd name="T14" fmla="*/ 837 w 901"/>
                <a:gd name="T15" fmla="*/ 54 h 1274"/>
                <a:gd name="T16" fmla="*/ 730 w 901"/>
                <a:gd name="T17" fmla="*/ 14 h 1274"/>
                <a:gd name="T18" fmla="*/ 601 w 901"/>
                <a:gd name="T19" fmla="*/ 0 h 1274"/>
                <a:gd name="T20" fmla="*/ 475 w 901"/>
                <a:gd name="T21" fmla="*/ 15 h 1274"/>
                <a:gd name="T22" fmla="*/ 367 w 901"/>
                <a:gd name="T23" fmla="*/ 57 h 1274"/>
                <a:gd name="T24" fmla="*/ 296 w 901"/>
                <a:gd name="T25" fmla="*/ 107 h 1274"/>
                <a:gd name="T26" fmla="*/ 238 w 901"/>
                <a:gd name="T27" fmla="*/ 171 h 1274"/>
                <a:gd name="T28" fmla="*/ 196 w 901"/>
                <a:gd name="T29" fmla="*/ 251 h 1274"/>
                <a:gd name="T30" fmla="*/ 179 w 901"/>
                <a:gd name="T31" fmla="*/ 341 h 1274"/>
                <a:gd name="T32" fmla="*/ 188 w 901"/>
                <a:gd name="T33" fmla="*/ 433 h 1274"/>
                <a:gd name="T34" fmla="*/ 216 w 901"/>
                <a:gd name="T35" fmla="*/ 499 h 1274"/>
                <a:gd name="T36" fmla="*/ 272 w 901"/>
                <a:gd name="T37" fmla="*/ 569 h 1274"/>
                <a:gd name="T38" fmla="*/ 398 w 901"/>
                <a:gd name="T39" fmla="*/ 682 h 1274"/>
                <a:gd name="T40" fmla="*/ 573 w 901"/>
                <a:gd name="T41" fmla="*/ 835 h 1274"/>
                <a:gd name="T42" fmla="*/ 616 w 901"/>
                <a:gd name="T43" fmla="*/ 905 h 1274"/>
                <a:gd name="T44" fmla="*/ 628 w 901"/>
                <a:gd name="T45" fmla="*/ 985 h 1274"/>
                <a:gd name="T46" fmla="*/ 616 w 901"/>
                <a:gd name="T47" fmla="*/ 1029 h 1274"/>
                <a:gd name="T48" fmla="*/ 578 w 901"/>
                <a:gd name="T49" fmla="*/ 1078 h 1274"/>
                <a:gd name="T50" fmla="*/ 517 w 901"/>
                <a:gd name="T51" fmla="*/ 1113 h 1274"/>
                <a:gd name="T52" fmla="*/ 449 w 901"/>
                <a:gd name="T53" fmla="*/ 1124 h 1274"/>
                <a:gd name="T54" fmla="*/ 371 w 901"/>
                <a:gd name="T55" fmla="*/ 1112 h 1274"/>
                <a:gd name="T56" fmla="*/ 314 w 901"/>
                <a:gd name="T57" fmla="*/ 1079 h 1274"/>
                <a:gd name="T58" fmla="*/ 259 w 901"/>
                <a:gd name="T59" fmla="*/ 1007 h 1274"/>
                <a:gd name="T60" fmla="*/ 219 w 901"/>
                <a:gd name="T61" fmla="*/ 929 h 1274"/>
                <a:gd name="T62" fmla="*/ 184 w 901"/>
                <a:gd name="T63" fmla="*/ 901 h 1274"/>
                <a:gd name="T64" fmla="*/ 131 w 901"/>
                <a:gd name="T65" fmla="*/ 888 h 1274"/>
                <a:gd name="T66" fmla="*/ 83 w 901"/>
                <a:gd name="T67" fmla="*/ 898 h 1274"/>
                <a:gd name="T68" fmla="*/ 37 w 901"/>
                <a:gd name="T69" fmla="*/ 929 h 1274"/>
                <a:gd name="T70" fmla="*/ 6 w 901"/>
                <a:gd name="T71" fmla="*/ 978 h 1274"/>
                <a:gd name="T72" fmla="*/ 3 w 901"/>
                <a:gd name="T73" fmla="*/ 1044 h 1274"/>
                <a:gd name="T74" fmla="*/ 35 w 901"/>
                <a:gd name="T75" fmla="*/ 1119 h 1274"/>
                <a:gd name="T76" fmla="*/ 90 w 901"/>
                <a:gd name="T77" fmla="*/ 1184 h 1274"/>
                <a:gd name="T78" fmla="*/ 176 w 901"/>
                <a:gd name="T79" fmla="*/ 1240 h 1274"/>
                <a:gd name="T80" fmla="*/ 271 w 901"/>
                <a:gd name="T81" fmla="*/ 1268 h 1274"/>
                <a:gd name="T82" fmla="*/ 400 w 901"/>
                <a:gd name="T83" fmla="*/ 1273 h 1274"/>
                <a:gd name="T84" fmla="*/ 539 w 901"/>
                <a:gd name="T85" fmla="*/ 1247 h 1274"/>
                <a:gd name="T86" fmla="*/ 678 w 901"/>
                <a:gd name="T87" fmla="*/ 1178 h 1274"/>
                <a:gd name="T88" fmla="*/ 772 w 901"/>
                <a:gd name="T89" fmla="*/ 1087 h 1274"/>
                <a:gd name="T90" fmla="*/ 817 w 901"/>
                <a:gd name="T91" fmla="*/ 1008 h 1274"/>
                <a:gd name="T92" fmla="*/ 839 w 901"/>
                <a:gd name="T93" fmla="*/ 920 h 1274"/>
                <a:gd name="T94" fmla="*/ 835 w 901"/>
                <a:gd name="T95" fmla="*/ 819 h 1274"/>
                <a:gd name="T96" fmla="*/ 808 w 901"/>
                <a:gd name="T97" fmla="*/ 743 h 1274"/>
                <a:gd name="T98" fmla="*/ 760 w 901"/>
                <a:gd name="T99" fmla="*/ 670 h 1274"/>
                <a:gd name="T100" fmla="*/ 670 w 901"/>
                <a:gd name="T101" fmla="*/ 582 h 1274"/>
                <a:gd name="T102" fmla="*/ 425 w 901"/>
                <a:gd name="T103" fmla="*/ 369 h 1274"/>
                <a:gd name="T104" fmla="*/ 389 w 901"/>
                <a:gd name="T105" fmla="*/ 314 h 1274"/>
                <a:gd name="T106" fmla="*/ 382 w 901"/>
                <a:gd name="T107" fmla="*/ 249 h 1274"/>
                <a:gd name="T108" fmla="*/ 407 w 901"/>
                <a:gd name="T109" fmla="*/ 198 h 1274"/>
                <a:gd name="T110" fmla="*/ 456 w 901"/>
                <a:gd name="T111" fmla="*/ 157 h 1274"/>
                <a:gd name="T112" fmla="*/ 520 w 901"/>
                <a:gd name="T113" fmla="*/ 139 h 1274"/>
                <a:gd name="T114" fmla="*/ 597 w 901"/>
                <a:gd name="T115" fmla="*/ 152 h 127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901" h="1274">
                  <a:moveTo>
                    <a:pt x="654" y="183"/>
                  </a:moveTo>
                  <a:lnTo>
                    <a:pt x="660" y="188"/>
                  </a:lnTo>
                  <a:lnTo>
                    <a:pt x="665" y="192"/>
                  </a:lnTo>
                  <a:lnTo>
                    <a:pt x="671" y="198"/>
                  </a:lnTo>
                  <a:lnTo>
                    <a:pt x="676" y="203"/>
                  </a:lnTo>
                  <a:lnTo>
                    <a:pt x="687" y="215"/>
                  </a:lnTo>
                  <a:lnTo>
                    <a:pt x="698" y="227"/>
                  </a:lnTo>
                  <a:lnTo>
                    <a:pt x="709" y="239"/>
                  </a:lnTo>
                  <a:lnTo>
                    <a:pt x="720" y="251"/>
                  </a:lnTo>
                  <a:lnTo>
                    <a:pt x="728" y="256"/>
                  </a:lnTo>
                  <a:lnTo>
                    <a:pt x="734" y="261"/>
                  </a:lnTo>
                  <a:lnTo>
                    <a:pt x="741" y="266"/>
                  </a:lnTo>
                  <a:lnTo>
                    <a:pt x="748" y="271"/>
                  </a:lnTo>
                  <a:lnTo>
                    <a:pt x="760" y="277"/>
                  </a:lnTo>
                  <a:lnTo>
                    <a:pt x="771" y="282"/>
                  </a:lnTo>
                  <a:lnTo>
                    <a:pt x="777" y="284"/>
                  </a:lnTo>
                  <a:lnTo>
                    <a:pt x="782" y="285"/>
                  </a:lnTo>
                  <a:lnTo>
                    <a:pt x="787" y="286"/>
                  </a:lnTo>
                  <a:lnTo>
                    <a:pt x="793" y="287"/>
                  </a:lnTo>
                  <a:lnTo>
                    <a:pt x="803" y="288"/>
                  </a:lnTo>
                  <a:lnTo>
                    <a:pt x="813" y="288"/>
                  </a:lnTo>
                  <a:lnTo>
                    <a:pt x="822" y="287"/>
                  </a:lnTo>
                  <a:lnTo>
                    <a:pt x="831" y="285"/>
                  </a:lnTo>
                  <a:lnTo>
                    <a:pt x="835" y="284"/>
                  </a:lnTo>
                  <a:lnTo>
                    <a:pt x="840" y="282"/>
                  </a:lnTo>
                  <a:lnTo>
                    <a:pt x="844" y="280"/>
                  </a:lnTo>
                  <a:lnTo>
                    <a:pt x="848" y="278"/>
                  </a:lnTo>
                  <a:lnTo>
                    <a:pt x="855" y="274"/>
                  </a:lnTo>
                  <a:lnTo>
                    <a:pt x="858" y="272"/>
                  </a:lnTo>
                  <a:lnTo>
                    <a:pt x="862" y="269"/>
                  </a:lnTo>
                  <a:lnTo>
                    <a:pt x="868" y="263"/>
                  </a:lnTo>
                  <a:lnTo>
                    <a:pt x="874" y="257"/>
                  </a:lnTo>
                  <a:lnTo>
                    <a:pt x="879" y="251"/>
                  </a:lnTo>
                  <a:lnTo>
                    <a:pt x="883" y="244"/>
                  </a:lnTo>
                  <a:lnTo>
                    <a:pt x="887" y="234"/>
                  </a:lnTo>
                  <a:lnTo>
                    <a:pt x="892" y="224"/>
                  </a:lnTo>
                  <a:lnTo>
                    <a:pt x="895" y="213"/>
                  </a:lnTo>
                  <a:lnTo>
                    <a:pt x="898" y="202"/>
                  </a:lnTo>
                  <a:lnTo>
                    <a:pt x="900" y="190"/>
                  </a:lnTo>
                  <a:lnTo>
                    <a:pt x="901" y="179"/>
                  </a:lnTo>
                  <a:lnTo>
                    <a:pt x="901" y="167"/>
                  </a:lnTo>
                  <a:lnTo>
                    <a:pt x="900" y="154"/>
                  </a:lnTo>
                  <a:lnTo>
                    <a:pt x="899" y="142"/>
                  </a:lnTo>
                  <a:lnTo>
                    <a:pt x="896" y="130"/>
                  </a:lnTo>
                  <a:lnTo>
                    <a:pt x="892" y="119"/>
                  </a:lnTo>
                  <a:lnTo>
                    <a:pt x="890" y="113"/>
                  </a:lnTo>
                  <a:lnTo>
                    <a:pt x="888" y="108"/>
                  </a:lnTo>
                  <a:lnTo>
                    <a:pt x="885" y="103"/>
                  </a:lnTo>
                  <a:lnTo>
                    <a:pt x="882" y="97"/>
                  </a:lnTo>
                  <a:lnTo>
                    <a:pt x="879" y="92"/>
                  </a:lnTo>
                  <a:lnTo>
                    <a:pt x="876" y="87"/>
                  </a:lnTo>
                  <a:lnTo>
                    <a:pt x="868" y="78"/>
                  </a:lnTo>
                  <a:lnTo>
                    <a:pt x="863" y="73"/>
                  </a:lnTo>
                  <a:lnTo>
                    <a:pt x="859" y="69"/>
                  </a:lnTo>
                  <a:lnTo>
                    <a:pt x="848" y="61"/>
                  </a:lnTo>
                  <a:lnTo>
                    <a:pt x="837" y="54"/>
                  </a:lnTo>
                  <a:lnTo>
                    <a:pt x="824" y="47"/>
                  </a:lnTo>
                  <a:lnTo>
                    <a:pt x="811" y="40"/>
                  </a:lnTo>
                  <a:lnTo>
                    <a:pt x="796" y="34"/>
                  </a:lnTo>
                  <a:lnTo>
                    <a:pt x="780" y="29"/>
                  </a:lnTo>
                  <a:lnTo>
                    <a:pt x="764" y="23"/>
                  </a:lnTo>
                  <a:lnTo>
                    <a:pt x="747" y="19"/>
                  </a:lnTo>
                  <a:lnTo>
                    <a:pt x="730" y="14"/>
                  </a:lnTo>
                  <a:lnTo>
                    <a:pt x="711" y="11"/>
                  </a:lnTo>
                  <a:lnTo>
                    <a:pt x="693" y="7"/>
                  </a:lnTo>
                  <a:lnTo>
                    <a:pt x="674" y="5"/>
                  </a:lnTo>
                  <a:lnTo>
                    <a:pt x="656" y="3"/>
                  </a:lnTo>
                  <a:lnTo>
                    <a:pt x="638" y="1"/>
                  </a:lnTo>
                  <a:lnTo>
                    <a:pt x="619" y="0"/>
                  </a:lnTo>
                  <a:lnTo>
                    <a:pt x="601" y="0"/>
                  </a:lnTo>
                  <a:lnTo>
                    <a:pt x="579" y="0"/>
                  </a:lnTo>
                  <a:lnTo>
                    <a:pt x="557" y="2"/>
                  </a:lnTo>
                  <a:lnTo>
                    <a:pt x="536" y="4"/>
                  </a:lnTo>
                  <a:lnTo>
                    <a:pt x="515" y="6"/>
                  </a:lnTo>
                  <a:lnTo>
                    <a:pt x="495" y="10"/>
                  </a:lnTo>
                  <a:lnTo>
                    <a:pt x="485" y="12"/>
                  </a:lnTo>
                  <a:lnTo>
                    <a:pt x="475" y="15"/>
                  </a:lnTo>
                  <a:lnTo>
                    <a:pt x="466" y="17"/>
                  </a:lnTo>
                  <a:lnTo>
                    <a:pt x="456" y="20"/>
                  </a:lnTo>
                  <a:lnTo>
                    <a:pt x="437" y="26"/>
                  </a:lnTo>
                  <a:lnTo>
                    <a:pt x="419" y="33"/>
                  </a:lnTo>
                  <a:lnTo>
                    <a:pt x="401" y="40"/>
                  </a:lnTo>
                  <a:lnTo>
                    <a:pt x="384" y="48"/>
                  </a:lnTo>
                  <a:lnTo>
                    <a:pt x="367" y="57"/>
                  </a:lnTo>
                  <a:lnTo>
                    <a:pt x="350" y="67"/>
                  </a:lnTo>
                  <a:lnTo>
                    <a:pt x="342" y="72"/>
                  </a:lnTo>
                  <a:lnTo>
                    <a:pt x="334" y="78"/>
                  </a:lnTo>
                  <a:lnTo>
                    <a:pt x="319" y="89"/>
                  </a:lnTo>
                  <a:lnTo>
                    <a:pt x="311" y="95"/>
                  </a:lnTo>
                  <a:lnTo>
                    <a:pt x="303" y="101"/>
                  </a:lnTo>
                  <a:lnTo>
                    <a:pt x="296" y="107"/>
                  </a:lnTo>
                  <a:lnTo>
                    <a:pt x="288" y="114"/>
                  </a:lnTo>
                  <a:lnTo>
                    <a:pt x="281" y="120"/>
                  </a:lnTo>
                  <a:lnTo>
                    <a:pt x="274" y="127"/>
                  </a:lnTo>
                  <a:lnTo>
                    <a:pt x="261" y="141"/>
                  </a:lnTo>
                  <a:lnTo>
                    <a:pt x="249" y="155"/>
                  </a:lnTo>
                  <a:lnTo>
                    <a:pt x="243" y="163"/>
                  </a:lnTo>
                  <a:lnTo>
                    <a:pt x="238" y="171"/>
                  </a:lnTo>
                  <a:lnTo>
                    <a:pt x="227" y="186"/>
                  </a:lnTo>
                  <a:lnTo>
                    <a:pt x="218" y="202"/>
                  </a:lnTo>
                  <a:lnTo>
                    <a:pt x="214" y="210"/>
                  </a:lnTo>
                  <a:lnTo>
                    <a:pt x="210" y="218"/>
                  </a:lnTo>
                  <a:lnTo>
                    <a:pt x="203" y="234"/>
                  </a:lnTo>
                  <a:lnTo>
                    <a:pt x="199" y="242"/>
                  </a:lnTo>
                  <a:lnTo>
                    <a:pt x="196" y="251"/>
                  </a:lnTo>
                  <a:lnTo>
                    <a:pt x="191" y="268"/>
                  </a:lnTo>
                  <a:lnTo>
                    <a:pt x="188" y="277"/>
                  </a:lnTo>
                  <a:lnTo>
                    <a:pt x="186" y="286"/>
                  </a:lnTo>
                  <a:lnTo>
                    <a:pt x="183" y="304"/>
                  </a:lnTo>
                  <a:lnTo>
                    <a:pt x="180" y="323"/>
                  </a:lnTo>
                  <a:lnTo>
                    <a:pt x="180" y="332"/>
                  </a:lnTo>
                  <a:lnTo>
                    <a:pt x="179" y="341"/>
                  </a:lnTo>
                  <a:lnTo>
                    <a:pt x="178" y="361"/>
                  </a:lnTo>
                  <a:lnTo>
                    <a:pt x="179" y="371"/>
                  </a:lnTo>
                  <a:lnTo>
                    <a:pt x="179" y="382"/>
                  </a:lnTo>
                  <a:lnTo>
                    <a:pt x="180" y="392"/>
                  </a:lnTo>
                  <a:lnTo>
                    <a:pt x="182" y="403"/>
                  </a:lnTo>
                  <a:lnTo>
                    <a:pt x="185" y="423"/>
                  </a:lnTo>
                  <a:lnTo>
                    <a:pt x="188" y="433"/>
                  </a:lnTo>
                  <a:lnTo>
                    <a:pt x="191" y="443"/>
                  </a:lnTo>
                  <a:lnTo>
                    <a:pt x="194" y="452"/>
                  </a:lnTo>
                  <a:lnTo>
                    <a:pt x="198" y="462"/>
                  </a:lnTo>
                  <a:lnTo>
                    <a:pt x="202" y="471"/>
                  </a:lnTo>
                  <a:lnTo>
                    <a:pt x="206" y="481"/>
                  </a:lnTo>
                  <a:lnTo>
                    <a:pt x="211" y="490"/>
                  </a:lnTo>
                  <a:lnTo>
                    <a:pt x="216" y="499"/>
                  </a:lnTo>
                  <a:lnTo>
                    <a:pt x="222" y="507"/>
                  </a:lnTo>
                  <a:lnTo>
                    <a:pt x="227" y="516"/>
                  </a:lnTo>
                  <a:lnTo>
                    <a:pt x="233" y="524"/>
                  </a:lnTo>
                  <a:lnTo>
                    <a:pt x="240" y="532"/>
                  </a:lnTo>
                  <a:lnTo>
                    <a:pt x="247" y="541"/>
                  </a:lnTo>
                  <a:lnTo>
                    <a:pt x="255" y="550"/>
                  </a:lnTo>
                  <a:lnTo>
                    <a:pt x="272" y="569"/>
                  </a:lnTo>
                  <a:lnTo>
                    <a:pt x="282" y="579"/>
                  </a:lnTo>
                  <a:lnTo>
                    <a:pt x="292" y="589"/>
                  </a:lnTo>
                  <a:lnTo>
                    <a:pt x="303" y="599"/>
                  </a:lnTo>
                  <a:lnTo>
                    <a:pt x="315" y="610"/>
                  </a:lnTo>
                  <a:lnTo>
                    <a:pt x="340" y="633"/>
                  </a:lnTo>
                  <a:lnTo>
                    <a:pt x="368" y="657"/>
                  </a:lnTo>
                  <a:lnTo>
                    <a:pt x="398" y="682"/>
                  </a:lnTo>
                  <a:lnTo>
                    <a:pt x="499" y="763"/>
                  </a:lnTo>
                  <a:lnTo>
                    <a:pt x="515" y="777"/>
                  </a:lnTo>
                  <a:lnTo>
                    <a:pt x="529" y="790"/>
                  </a:lnTo>
                  <a:lnTo>
                    <a:pt x="543" y="803"/>
                  </a:lnTo>
                  <a:lnTo>
                    <a:pt x="556" y="816"/>
                  </a:lnTo>
                  <a:lnTo>
                    <a:pt x="567" y="829"/>
                  </a:lnTo>
                  <a:lnTo>
                    <a:pt x="573" y="835"/>
                  </a:lnTo>
                  <a:lnTo>
                    <a:pt x="578" y="841"/>
                  </a:lnTo>
                  <a:lnTo>
                    <a:pt x="588" y="854"/>
                  </a:lnTo>
                  <a:lnTo>
                    <a:pt x="596" y="867"/>
                  </a:lnTo>
                  <a:lnTo>
                    <a:pt x="604" y="880"/>
                  </a:lnTo>
                  <a:lnTo>
                    <a:pt x="610" y="893"/>
                  </a:lnTo>
                  <a:lnTo>
                    <a:pt x="613" y="899"/>
                  </a:lnTo>
                  <a:lnTo>
                    <a:pt x="616" y="905"/>
                  </a:lnTo>
                  <a:lnTo>
                    <a:pt x="621" y="918"/>
                  </a:lnTo>
                  <a:lnTo>
                    <a:pt x="624" y="931"/>
                  </a:lnTo>
                  <a:lnTo>
                    <a:pt x="627" y="943"/>
                  </a:lnTo>
                  <a:lnTo>
                    <a:pt x="628" y="956"/>
                  </a:lnTo>
                  <a:lnTo>
                    <a:pt x="629" y="968"/>
                  </a:lnTo>
                  <a:lnTo>
                    <a:pt x="628" y="976"/>
                  </a:lnTo>
                  <a:lnTo>
                    <a:pt x="628" y="985"/>
                  </a:lnTo>
                  <a:lnTo>
                    <a:pt x="627" y="993"/>
                  </a:lnTo>
                  <a:lnTo>
                    <a:pt x="626" y="1000"/>
                  </a:lnTo>
                  <a:lnTo>
                    <a:pt x="624" y="1008"/>
                  </a:lnTo>
                  <a:lnTo>
                    <a:pt x="623" y="1012"/>
                  </a:lnTo>
                  <a:lnTo>
                    <a:pt x="622" y="1015"/>
                  </a:lnTo>
                  <a:lnTo>
                    <a:pt x="619" y="1022"/>
                  </a:lnTo>
                  <a:lnTo>
                    <a:pt x="616" y="1029"/>
                  </a:lnTo>
                  <a:lnTo>
                    <a:pt x="613" y="1036"/>
                  </a:lnTo>
                  <a:lnTo>
                    <a:pt x="609" y="1043"/>
                  </a:lnTo>
                  <a:lnTo>
                    <a:pt x="605" y="1049"/>
                  </a:lnTo>
                  <a:lnTo>
                    <a:pt x="601" y="1055"/>
                  </a:lnTo>
                  <a:lnTo>
                    <a:pt x="596" y="1061"/>
                  </a:lnTo>
                  <a:lnTo>
                    <a:pt x="590" y="1067"/>
                  </a:lnTo>
                  <a:lnTo>
                    <a:pt x="578" y="1078"/>
                  </a:lnTo>
                  <a:lnTo>
                    <a:pt x="572" y="1084"/>
                  </a:lnTo>
                  <a:lnTo>
                    <a:pt x="565" y="1089"/>
                  </a:lnTo>
                  <a:lnTo>
                    <a:pt x="550" y="1098"/>
                  </a:lnTo>
                  <a:lnTo>
                    <a:pt x="542" y="1103"/>
                  </a:lnTo>
                  <a:lnTo>
                    <a:pt x="534" y="1106"/>
                  </a:lnTo>
                  <a:lnTo>
                    <a:pt x="525" y="1110"/>
                  </a:lnTo>
                  <a:lnTo>
                    <a:pt x="517" y="1113"/>
                  </a:lnTo>
                  <a:lnTo>
                    <a:pt x="508" y="1115"/>
                  </a:lnTo>
                  <a:lnTo>
                    <a:pt x="499" y="1118"/>
                  </a:lnTo>
                  <a:lnTo>
                    <a:pt x="489" y="1120"/>
                  </a:lnTo>
                  <a:lnTo>
                    <a:pt x="480" y="1121"/>
                  </a:lnTo>
                  <a:lnTo>
                    <a:pt x="470" y="1122"/>
                  </a:lnTo>
                  <a:lnTo>
                    <a:pt x="459" y="1123"/>
                  </a:lnTo>
                  <a:lnTo>
                    <a:pt x="449" y="1124"/>
                  </a:lnTo>
                  <a:lnTo>
                    <a:pt x="438" y="1124"/>
                  </a:lnTo>
                  <a:lnTo>
                    <a:pt x="426" y="1123"/>
                  </a:lnTo>
                  <a:lnTo>
                    <a:pt x="414" y="1122"/>
                  </a:lnTo>
                  <a:lnTo>
                    <a:pt x="402" y="1120"/>
                  </a:lnTo>
                  <a:lnTo>
                    <a:pt x="391" y="1118"/>
                  </a:lnTo>
                  <a:lnTo>
                    <a:pt x="381" y="1115"/>
                  </a:lnTo>
                  <a:lnTo>
                    <a:pt x="371" y="1112"/>
                  </a:lnTo>
                  <a:lnTo>
                    <a:pt x="361" y="1109"/>
                  </a:lnTo>
                  <a:lnTo>
                    <a:pt x="352" y="1104"/>
                  </a:lnTo>
                  <a:lnTo>
                    <a:pt x="344" y="1100"/>
                  </a:lnTo>
                  <a:lnTo>
                    <a:pt x="336" y="1095"/>
                  </a:lnTo>
                  <a:lnTo>
                    <a:pt x="328" y="1090"/>
                  </a:lnTo>
                  <a:lnTo>
                    <a:pt x="321" y="1085"/>
                  </a:lnTo>
                  <a:lnTo>
                    <a:pt x="314" y="1079"/>
                  </a:lnTo>
                  <a:lnTo>
                    <a:pt x="308" y="1073"/>
                  </a:lnTo>
                  <a:lnTo>
                    <a:pt x="301" y="1067"/>
                  </a:lnTo>
                  <a:lnTo>
                    <a:pt x="296" y="1061"/>
                  </a:lnTo>
                  <a:lnTo>
                    <a:pt x="285" y="1048"/>
                  </a:lnTo>
                  <a:lnTo>
                    <a:pt x="275" y="1034"/>
                  </a:lnTo>
                  <a:lnTo>
                    <a:pt x="267" y="1021"/>
                  </a:lnTo>
                  <a:lnTo>
                    <a:pt x="259" y="1007"/>
                  </a:lnTo>
                  <a:lnTo>
                    <a:pt x="253" y="994"/>
                  </a:lnTo>
                  <a:lnTo>
                    <a:pt x="247" y="981"/>
                  </a:lnTo>
                  <a:lnTo>
                    <a:pt x="236" y="958"/>
                  </a:lnTo>
                  <a:lnTo>
                    <a:pt x="232" y="950"/>
                  </a:lnTo>
                  <a:lnTo>
                    <a:pt x="228" y="943"/>
                  </a:lnTo>
                  <a:lnTo>
                    <a:pt x="223" y="936"/>
                  </a:lnTo>
                  <a:lnTo>
                    <a:pt x="219" y="929"/>
                  </a:lnTo>
                  <a:lnTo>
                    <a:pt x="213" y="923"/>
                  </a:lnTo>
                  <a:lnTo>
                    <a:pt x="211" y="921"/>
                  </a:lnTo>
                  <a:lnTo>
                    <a:pt x="208" y="918"/>
                  </a:lnTo>
                  <a:lnTo>
                    <a:pt x="202" y="913"/>
                  </a:lnTo>
                  <a:lnTo>
                    <a:pt x="197" y="909"/>
                  </a:lnTo>
                  <a:lnTo>
                    <a:pt x="190" y="905"/>
                  </a:lnTo>
                  <a:lnTo>
                    <a:pt x="184" y="901"/>
                  </a:lnTo>
                  <a:lnTo>
                    <a:pt x="178" y="898"/>
                  </a:lnTo>
                  <a:lnTo>
                    <a:pt x="171" y="896"/>
                  </a:lnTo>
                  <a:lnTo>
                    <a:pt x="164" y="893"/>
                  </a:lnTo>
                  <a:lnTo>
                    <a:pt x="158" y="891"/>
                  </a:lnTo>
                  <a:lnTo>
                    <a:pt x="151" y="890"/>
                  </a:lnTo>
                  <a:lnTo>
                    <a:pt x="143" y="889"/>
                  </a:lnTo>
                  <a:lnTo>
                    <a:pt x="131" y="888"/>
                  </a:lnTo>
                  <a:lnTo>
                    <a:pt x="124" y="888"/>
                  </a:lnTo>
                  <a:lnTo>
                    <a:pt x="118" y="889"/>
                  </a:lnTo>
                  <a:lnTo>
                    <a:pt x="111" y="890"/>
                  </a:lnTo>
                  <a:lnTo>
                    <a:pt x="104" y="891"/>
                  </a:lnTo>
                  <a:lnTo>
                    <a:pt x="97" y="893"/>
                  </a:lnTo>
                  <a:lnTo>
                    <a:pt x="90" y="896"/>
                  </a:lnTo>
                  <a:lnTo>
                    <a:pt x="83" y="898"/>
                  </a:lnTo>
                  <a:lnTo>
                    <a:pt x="76" y="902"/>
                  </a:lnTo>
                  <a:lnTo>
                    <a:pt x="69" y="905"/>
                  </a:lnTo>
                  <a:lnTo>
                    <a:pt x="62" y="909"/>
                  </a:lnTo>
                  <a:lnTo>
                    <a:pt x="55" y="914"/>
                  </a:lnTo>
                  <a:lnTo>
                    <a:pt x="49" y="918"/>
                  </a:lnTo>
                  <a:lnTo>
                    <a:pt x="42" y="924"/>
                  </a:lnTo>
                  <a:lnTo>
                    <a:pt x="37" y="929"/>
                  </a:lnTo>
                  <a:lnTo>
                    <a:pt x="31" y="935"/>
                  </a:lnTo>
                  <a:lnTo>
                    <a:pt x="26" y="941"/>
                  </a:lnTo>
                  <a:lnTo>
                    <a:pt x="21" y="948"/>
                  </a:lnTo>
                  <a:lnTo>
                    <a:pt x="16" y="955"/>
                  </a:lnTo>
                  <a:lnTo>
                    <a:pt x="12" y="962"/>
                  </a:lnTo>
                  <a:lnTo>
                    <a:pt x="9" y="970"/>
                  </a:lnTo>
                  <a:lnTo>
                    <a:pt x="6" y="978"/>
                  </a:lnTo>
                  <a:lnTo>
                    <a:pt x="3" y="987"/>
                  </a:lnTo>
                  <a:lnTo>
                    <a:pt x="2" y="995"/>
                  </a:lnTo>
                  <a:lnTo>
                    <a:pt x="1" y="1004"/>
                  </a:lnTo>
                  <a:lnTo>
                    <a:pt x="0" y="1014"/>
                  </a:lnTo>
                  <a:lnTo>
                    <a:pt x="0" y="1024"/>
                  </a:lnTo>
                  <a:lnTo>
                    <a:pt x="1" y="1034"/>
                  </a:lnTo>
                  <a:lnTo>
                    <a:pt x="3" y="1044"/>
                  </a:lnTo>
                  <a:lnTo>
                    <a:pt x="6" y="1055"/>
                  </a:lnTo>
                  <a:lnTo>
                    <a:pt x="10" y="1066"/>
                  </a:lnTo>
                  <a:lnTo>
                    <a:pt x="14" y="1077"/>
                  </a:lnTo>
                  <a:lnTo>
                    <a:pt x="19" y="1088"/>
                  </a:lnTo>
                  <a:lnTo>
                    <a:pt x="24" y="1098"/>
                  </a:lnTo>
                  <a:lnTo>
                    <a:pt x="29" y="1109"/>
                  </a:lnTo>
                  <a:lnTo>
                    <a:pt x="35" y="1119"/>
                  </a:lnTo>
                  <a:lnTo>
                    <a:pt x="42" y="1129"/>
                  </a:lnTo>
                  <a:lnTo>
                    <a:pt x="49" y="1139"/>
                  </a:lnTo>
                  <a:lnTo>
                    <a:pt x="56" y="1148"/>
                  </a:lnTo>
                  <a:lnTo>
                    <a:pt x="64" y="1158"/>
                  </a:lnTo>
                  <a:lnTo>
                    <a:pt x="72" y="1167"/>
                  </a:lnTo>
                  <a:lnTo>
                    <a:pt x="81" y="1175"/>
                  </a:lnTo>
                  <a:lnTo>
                    <a:pt x="90" y="1184"/>
                  </a:lnTo>
                  <a:lnTo>
                    <a:pt x="99" y="1192"/>
                  </a:lnTo>
                  <a:lnTo>
                    <a:pt x="109" y="1200"/>
                  </a:lnTo>
                  <a:lnTo>
                    <a:pt x="130" y="1215"/>
                  </a:lnTo>
                  <a:lnTo>
                    <a:pt x="141" y="1221"/>
                  </a:lnTo>
                  <a:lnTo>
                    <a:pt x="152" y="1228"/>
                  </a:lnTo>
                  <a:lnTo>
                    <a:pt x="164" y="1234"/>
                  </a:lnTo>
                  <a:lnTo>
                    <a:pt x="176" y="1240"/>
                  </a:lnTo>
                  <a:lnTo>
                    <a:pt x="189" y="1245"/>
                  </a:lnTo>
                  <a:lnTo>
                    <a:pt x="202" y="1250"/>
                  </a:lnTo>
                  <a:lnTo>
                    <a:pt x="215" y="1254"/>
                  </a:lnTo>
                  <a:lnTo>
                    <a:pt x="229" y="1258"/>
                  </a:lnTo>
                  <a:lnTo>
                    <a:pt x="243" y="1262"/>
                  </a:lnTo>
                  <a:lnTo>
                    <a:pt x="257" y="1265"/>
                  </a:lnTo>
                  <a:lnTo>
                    <a:pt x="271" y="1268"/>
                  </a:lnTo>
                  <a:lnTo>
                    <a:pt x="286" y="1270"/>
                  </a:lnTo>
                  <a:lnTo>
                    <a:pt x="302" y="1272"/>
                  </a:lnTo>
                  <a:lnTo>
                    <a:pt x="317" y="1273"/>
                  </a:lnTo>
                  <a:lnTo>
                    <a:pt x="333" y="1274"/>
                  </a:lnTo>
                  <a:lnTo>
                    <a:pt x="350" y="1274"/>
                  </a:lnTo>
                  <a:lnTo>
                    <a:pt x="375" y="1274"/>
                  </a:lnTo>
                  <a:lnTo>
                    <a:pt x="400" y="1273"/>
                  </a:lnTo>
                  <a:lnTo>
                    <a:pt x="412" y="1272"/>
                  </a:lnTo>
                  <a:lnTo>
                    <a:pt x="424" y="1270"/>
                  </a:lnTo>
                  <a:lnTo>
                    <a:pt x="448" y="1267"/>
                  </a:lnTo>
                  <a:lnTo>
                    <a:pt x="472" y="1264"/>
                  </a:lnTo>
                  <a:lnTo>
                    <a:pt x="495" y="1259"/>
                  </a:lnTo>
                  <a:lnTo>
                    <a:pt x="517" y="1253"/>
                  </a:lnTo>
                  <a:lnTo>
                    <a:pt x="539" y="1247"/>
                  </a:lnTo>
                  <a:lnTo>
                    <a:pt x="561" y="1239"/>
                  </a:lnTo>
                  <a:lnTo>
                    <a:pt x="581" y="1231"/>
                  </a:lnTo>
                  <a:lnTo>
                    <a:pt x="602" y="1222"/>
                  </a:lnTo>
                  <a:lnTo>
                    <a:pt x="622" y="1212"/>
                  </a:lnTo>
                  <a:lnTo>
                    <a:pt x="641" y="1202"/>
                  </a:lnTo>
                  <a:lnTo>
                    <a:pt x="660" y="1190"/>
                  </a:lnTo>
                  <a:lnTo>
                    <a:pt x="678" y="1178"/>
                  </a:lnTo>
                  <a:lnTo>
                    <a:pt x="695" y="1164"/>
                  </a:lnTo>
                  <a:lnTo>
                    <a:pt x="713" y="1150"/>
                  </a:lnTo>
                  <a:lnTo>
                    <a:pt x="721" y="1143"/>
                  </a:lnTo>
                  <a:lnTo>
                    <a:pt x="730" y="1135"/>
                  </a:lnTo>
                  <a:lnTo>
                    <a:pt x="745" y="1120"/>
                  </a:lnTo>
                  <a:lnTo>
                    <a:pt x="759" y="1104"/>
                  </a:lnTo>
                  <a:lnTo>
                    <a:pt x="772" y="1087"/>
                  </a:lnTo>
                  <a:lnTo>
                    <a:pt x="778" y="1079"/>
                  </a:lnTo>
                  <a:lnTo>
                    <a:pt x="784" y="1071"/>
                  </a:lnTo>
                  <a:lnTo>
                    <a:pt x="795" y="1053"/>
                  </a:lnTo>
                  <a:lnTo>
                    <a:pt x="800" y="1045"/>
                  </a:lnTo>
                  <a:lnTo>
                    <a:pt x="805" y="1036"/>
                  </a:lnTo>
                  <a:lnTo>
                    <a:pt x="813" y="1017"/>
                  </a:lnTo>
                  <a:lnTo>
                    <a:pt x="817" y="1008"/>
                  </a:lnTo>
                  <a:lnTo>
                    <a:pt x="820" y="999"/>
                  </a:lnTo>
                  <a:lnTo>
                    <a:pt x="827" y="980"/>
                  </a:lnTo>
                  <a:lnTo>
                    <a:pt x="829" y="970"/>
                  </a:lnTo>
                  <a:lnTo>
                    <a:pt x="832" y="960"/>
                  </a:lnTo>
                  <a:lnTo>
                    <a:pt x="836" y="940"/>
                  </a:lnTo>
                  <a:lnTo>
                    <a:pt x="837" y="930"/>
                  </a:lnTo>
                  <a:lnTo>
                    <a:pt x="839" y="920"/>
                  </a:lnTo>
                  <a:lnTo>
                    <a:pt x="840" y="899"/>
                  </a:lnTo>
                  <a:lnTo>
                    <a:pt x="841" y="888"/>
                  </a:lnTo>
                  <a:lnTo>
                    <a:pt x="841" y="878"/>
                  </a:lnTo>
                  <a:lnTo>
                    <a:pt x="840" y="858"/>
                  </a:lnTo>
                  <a:lnTo>
                    <a:pt x="839" y="848"/>
                  </a:lnTo>
                  <a:lnTo>
                    <a:pt x="838" y="839"/>
                  </a:lnTo>
                  <a:lnTo>
                    <a:pt x="835" y="819"/>
                  </a:lnTo>
                  <a:lnTo>
                    <a:pt x="833" y="810"/>
                  </a:lnTo>
                  <a:lnTo>
                    <a:pt x="830" y="800"/>
                  </a:lnTo>
                  <a:lnTo>
                    <a:pt x="827" y="790"/>
                  </a:lnTo>
                  <a:lnTo>
                    <a:pt x="824" y="781"/>
                  </a:lnTo>
                  <a:lnTo>
                    <a:pt x="817" y="762"/>
                  </a:lnTo>
                  <a:lnTo>
                    <a:pt x="813" y="753"/>
                  </a:lnTo>
                  <a:lnTo>
                    <a:pt x="808" y="743"/>
                  </a:lnTo>
                  <a:lnTo>
                    <a:pt x="803" y="734"/>
                  </a:lnTo>
                  <a:lnTo>
                    <a:pt x="798" y="725"/>
                  </a:lnTo>
                  <a:lnTo>
                    <a:pt x="787" y="706"/>
                  </a:lnTo>
                  <a:lnTo>
                    <a:pt x="781" y="697"/>
                  </a:lnTo>
                  <a:lnTo>
                    <a:pt x="774" y="688"/>
                  </a:lnTo>
                  <a:lnTo>
                    <a:pt x="767" y="679"/>
                  </a:lnTo>
                  <a:lnTo>
                    <a:pt x="760" y="670"/>
                  </a:lnTo>
                  <a:lnTo>
                    <a:pt x="745" y="652"/>
                  </a:lnTo>
                  <a:lnTo>
                    <a:pt x="737" y="643"/>
                  </a:lnTo>
                  <a:lnTo>
                    <a:pt x="728" y="634"/>
                  </a:lnTo>
                  <a:lnTo>
                    <a:pt x="709" y="616"/>
                  </a:lnTo>
                  <a:lnTo>
                    <a:pt x="700" y="608"/>
                  </a:lnTo>
                  <a:lnTo>
                    <a:pt x="690" y="599"/>
                  </a:lnTo>
                  <a:lnTo>
                    <a:pt x="670" y="582"/>
                  </a:lnTo>
                  <a:lnTo>
                    <a:pt x="589" y="515"/>
                  </a:lnTo>
                  <a:lnTo>
                    <a:pt x="528" y="464"/>
                  </a:lnTo>
                  <a:lnTo>
                    <a:pt x="501" y="442"/>
                  </a:lnTo>
                  <a:lnTo>
                    <a:pt x="478" y="421"/>
                  </a:lnTo>
                  <a:lnTo>
                    <a:pt x="458" y="402"/>
                  </a:lnTo>
                  <a:lnTo>
                    <a:pt x="440" y="384"/>
                  </a:lnTo>
                  <a:lnTo>
                    <a:pt x="425" y="369"/>
                  </a:lnTo>
                  <a:lnTo>
                    <a:pt x="419" y="362"/>
                  </a:lnTo>
                  <a:lnTo>
                    <a:pt x="414" y="356"/>
                  </a:lnTo>
                  <a:lnTo>
                    <a:pt x="406" y="345"/>
                  </a:lnTo>
                  <a:lnTo>
                    <a:pt x="399" y="335"/>
                  </a:lnTo>
                  <a:lnTo>
                    <a:pt x="396" y="330"/>
                  </a:lnTo>
                  <a:lnTo>
                    <a:pt x="394" y="324"/>
                  </a:lnTo>
                  <a:lnTo>
                    <a:pt x="389" y="314"/>
                  </a:lnTo>
                  <a:lnTo>
                    <a:pt x="386" y="303"/>
                  </a:lnTo>
                  <a:lnTo>
                    <a:pt x="383" y="293"/>
                  </a:lnTo>
                  <a:lnTo>
                    <a:pt x="381" y="282"/>
                  </a:lnTo>
                  <a:lnTo>
                    <a:pt x="380" y="272"/>
                  </a:lnTo>
                  <a:lnTo>
                    <a:pt x="380" y="264"/>
                  </a:lnTo>
                  <a:lnTo>
                    <a:pt x="380" y="257"/>
                  </a:lnTo>
                  <a:lnTo>
                    <a:pt x="382" y="249"/>
                  </a:lnTo>
                  <a:lnTo>
                    <a:pt x="384" y="241"/>
                  </a:lnTo>
                  <a:lnTo>
                    <a:pt x="386" y="233"/>
                  </a:lnTo>
                  <a:lnTo>
                    <a:pt x="390" y="225"/>
                  </a:lnTo>
                  <a:lnTo>
                    <a:pt x="394" y="217"/>
                  </a:lnTo>
                  <a:lnTo>
                    <a:pt x="398" y="210"/>
                  </a:lnTo>
                  <a:lnTo>
                    <a:pt x="404" y="202"/>
                  </a:lnTo>
                  <a:lnTo>
                    <a:pt x="407" y="198"/>
                  </a:lnTo>
                  <a:lnTo>
                    <a:pt x="410" y="195"/>
                  </a:lnTo>
                  <a:lnTo>
                    <a:pt x="416" y="188"/>
                  </a:lnTo>
                  <a:lnTo>
                    <a:pt x="423" y="181"/>
                  </a:lnTo>
                  <a:lnTo>
                    <a:pt x="431" y="174"/>
                  </a:lnTo>
                  <a:lnTo>
                    <a:pt x="439" y="168"/>
                  </a:lnTo>
                  <a:lnTo>
                    <a:pt x="447" y="163"/>
                  </a:lnTo>
                  <a:lnTo>
                    <a:pt x="456" y="157"/>
                  </a:lnTo>
                  <a:lnTo>
                    <a:pt x="466" y="152"/>
                  </a:lnTo>
                  <a:lnTo>
                    <a:pt x="476" y="148"/>
                  </a:lnTo>
                  <a:lnTo>
                    <a:pt x="486" y="145"/>
                  </a:lnTo>
                  <a:lnTo>
                    <a:pt x="497" y="142"/>
                  </a:lnTo>
                  <a:lnTo>
                    <a:pt x="509" y="140"/>
                  </a:lnTo>
                  <a:lnTo>
                    <a:pt x="514" y="139"/>
                  </a:lnTo>
                  <a:lnTo>
                    <a:pt x="520" y="139"/>
                  </a:lnTo>
                  <a:lnTo>
                    <a:pt x="532" y="139"/>
                  </a:lnTo>
                  <a:lnTo>
                    <a:pt x="545" y="139"/>
                  </a:lnTo>
                  <a:lnTo>
                    <a:pt x="557" y="141"/>
                  </a:lnTo>
                  <a:lnTo>
                    <a:pt x="570" y="143"/>
                  </a:lnTo>
                  <a:lnTo>
                    <a:pt x="584" y="147"/>
                  </a:lnTo>
                  <a:lnTo>
                    <a:pt x="590" y="149"/>
                  </a:lnTo>
                  <a:lnTo>
                    <a:pt x="597" y="152"/>
                  </a:lnTo>
                  <a:lnTo>
                    <a:pt x="611" y="157"/>
                  </a:lnTo>
                  <a:lnTo>
                    <a:pt x="625" y="165"/>
                  </a:lnTo>
                  <a:lnTo>
                    <a:pt x="639" y="174"/>
                  </a:lnTo>
                  <a:lnTo>
                    <a:pt x="654" y="18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4" name="Freeform 9">
              <a:extLst>
                <a:ext uri="{FF2B5EF4-FFF2-40B4-BE49-F238E27FC236}">
                  <a16:creationId xmlns:a16="http://schemas.microsoft.com/office/drawing/2014/main" id="{81AA1EE1-7B98-41D9-ACEB-04BD809E6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2887" y="2291616"/>
              <a:ext cx="522380" cy="117366"/>
            </a:xfrm>
            <a:custGeom>
              <a:avLst/>
              <a:gdLst>
                <a:gd name="T0" fmla="*/ 355 w 2718"/>
                <a:gd name="T1" fmla="*/ 506 h 611"/>
                <a:gd name="T2" fmla="*/ 571 w 2718"/>
                <a:gd name="T3" fmla="*/ 436 h 611"/>
                <a:gd name="T4" fmla="*/ 776 w 2718"/>
                <a:gd name="T5" fmla="*/ 379 h 611"/>
                <a:gd name="T6" fmla="*/ 972 w 2718"/>
                <a:gd name="T7" fmla="*/ 334 h 611"/>
                <a:gd name="T8" fmla="*/ 1141 w 2718"/>
                <a:gd name="T9" fmla="*/ 303 h 611"/>
                <a:gd name="T10" fmla="*/ 1335 w 2718"/>
                <a:gd name="T11" fmla="*/ 278 h 611"/>
                <a:gd name="T12" fmla="*/ 1516 w 2718"/>
                <a:gd name="T13" fmla="*/ 265 h 611"/>
                <a:gd name="T14" fmla="*/ 1718 w 2718"/>
                <a:gd name="T15" fmla="*/ 262 h 611"/>
                <a:gd name="T16" fmla="*/ 1875 w 2718"/>
                <a:gd name="T17" fmla="*/ 270 h 611"/>
                <a:gd name="T18" fmla="*/ 2020 w 2718"/>
                <a:gd name="T19" fmla="*/ 286 h 611"/>
                <a:gd name="T20" fmla="*/ 2153 w 2718"/>
                <a:gd name="T21" fmla="*/ 309 h 611"/>
                <a:gd name="T22" fmla="*/ 2298 w 2718"/>
                <a:gd name="T23" fmla="*/ 345 h 611"/>
                <a:gd name="T24" fmla="*/ 2427 w 2718"/>
                <a:gd name="T25" fmla="*/ 387 h 611"/>
                <a:gd name="T26" fmla="*/ 2540 w 2718"/>
                <a:gd name="T27" fmla="*/ 433 h 611"/>
                <a:gd name="T28" fmla="*/ 2666 w 2718"/>
                <a:gd name="T29" fmla="*/ 500 h 611"/>
                <a:gd name="T30" fmla="*/ 2718 w 2718"/>
                <a:gd name="T31" fmla="*/ 526 h 611"/>
                <a:gd name="T32" fmla="*/ 2713 w 2718"/>
                <a:gd name="T33" fmla="*/ 509 h 611"/>
                <a:gd name="T34" fmla="*/ 2693 w 2718"/>
                <a:gd name="T35" fmla="*/ 478 h 611"/>
                <a:gd name="T36" fmla="*/ 2658 w 2718"/>
                <a:gd name="T37" fmla="*/ 440 h 611"/>
                <a:gd name="T38" fmla="*/ 2589 w 2718"/>
                <a:gd name="T39" fmla="*/ 383 h 611"/>
                <a:gd name="T40" fmla="*/ 2496 w 2718"/>
                <a:gd name="T41" fmla="*/ 323 h 611"/>
                <a:gd name="T42" fmla="*/ 2380 w 2718"/>
                <a:gd name="T43" fmla="*/ 262 h 611"/>
                <a:gd name="T44" fmla="*/ 2242 w 2718"/>
                <a:gd name="T45" fmla="*/ 204 h 611"/>
                <a:gd name="T46" fmla="*/ 2083 w 2718"/>
                <a:gd name="T47" fmla="*/ 153 h 611"/>
                <a:gd name="T48" fmla="*/ 1917 w 2718"/>
                <a:gd name="T49" fmla="*/ 115 h 611"/>
                <a:gd name="T50" fmla="*/ 1784 w 2718"/>
                <a:gd name="T51" fmla="*/ 97 h 611"/>
                <a:gd name="T52" fmla="*/ 1648 w 2718"/>
                <a:gd name="T53" fmla="*/ 87 h 611"/>
                <a:gd name="T54" fmla="*/ 1478 w 2718"/>
                <a:gd name="T55" fmla="*/ 87 h 611"/>
                <a:gd name="T56" fmla="*/ 1343 w 2718"/>
                <a:gd name="T57" fmla="*/ 96 h 611"/>
                <a:gd name="T58" fmla="*/ 1177 w 2718"/>
                <a:gd name="T59" fmla="*/ 114 h 611"/>
                <a:gd name="T60" fmla="*/ 1047 w 2718"/>
                <a:gd name="T61" fmla="*/ 135 h 611"/>
                <a:gd name="T62" fmla="*/ 893 w 2718"/>
                <a:gd name="T63" fmla="*/ 165 h 611"/>
                <a:gd name="T64" fmla="*/ 667 w 2718"/>
                <a:gd name="T65" fmla="*/ 220 h 611"/>
                <a:gd name="T66" fmla="*/ 477 w 2718"/>
                <a:gd name="T67" fmla="*/ 277 h 611"/>
                <a:gd name="T68" fmla="*/ 278 w 2718"/>
                <a:gd name="T69" fmla="*/ 345 h 611"/>
                <a:gd name="T70" fmla="*/ 252 w 2718"/>
                <a:gd name="T71" fmla="*/ 269 h 611"/>
                <a:gd name="T72" fmla="*/ 265 w 2718"/>
                <a:gd name="T73" fmla="*/ 153 h 611"/>
                <a:gd name="T74" fmla="*/ 263 w 2718"/>
                <a:gd name="T75" fmla="*/ 99 h 611"/>
                <a:gd name="T76" fmla="*/ 254 w 2718"/>
                <a:gd name="T77" fmla="*/ 62 h 611"/>
                <a:gd name="T78" fmla="*/ 237 w 2718"/>
                <a:gd name="T79" fmla="*/ 30 h 611"/>
                <a:gd name="T80" fmla="*/ 217 w 2718"/>
                <a:gd name="T81" fmla="*/ 12 h 611"/>
                <a:gd name="T82" fmla="*/ 192 w 2718"/>
                <a:gd name="T83" fmla="*/ 3 h 611"/>
                <a:gd name="T84" fmla="*/ 163 w 2718"/>
                <a:gd name="T85" fmla="*/ 1 h 611"/>
                <a:gd name="T86" fmla="*/ 132 w 2718"/>
                <a:gd name="T87" fmla="*/ 6 h 611"/>
                <a:gd name="T88" fmla="*/ 103 w 2718"/>
                <a:gd name="T89" fmla="*/ 20 h 611"/>
                <a:gd name="T90" fmla="*/ 76 w 2718"/>
                <a:gd name="T91" fmla="*/ 44 h 611"/>
                <a:gd name="T92" fmla="*/ 56 w 2718"/>
                <a:gd name="T93" fmla="*/ 79 h 611"/>
                <a:gd name="T94" fmla="*/ 43 w 2718"/>
                <a:gd name="T95" fmla="*/ 126 h 611"/>
                <a:gd name="T96" fmla="*/ 26 w 2718"/>
                <a:gd name="T97" fmla="*/ 308 h 611"/>
                <a:gd name="T98" fmla="*/ 0 w 2718"/>
                <a:gd name="T99" fmla="*/ 527 h 611"/>
                <a:gd name="T100" fmla="*/ 3 w 2718"/>
                <a:gd name="T101" fmla="*/ 570 h 611"/>
                <a:gd name="T102" fmla="*/ 14 w 2718"/>
                <a:gd name="T103" fmla="*/ 596 h 611"/>
                <a:gd name="T104" fmla="*/ 34 w 2718"/>
                <a:gd name="T105" fmla="*/ 609 h 611"/>
                <a:gd name="T106" fmla="*/ 61 w 2718"/>
                <a:gd name="T107" fmla="*/ 610 h 611"/>
                <a:gd name="T108" fmla="*/ 110 w 2718"/>
                <a:gd name="T109" fmla="*/ 598 h 611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718" h="611">
                  <a:moveTo>
                    <a:pt x="187" y="568"/>
                  </a:moveTo>
                  <a:lnTo>
                    <a:pt x="244" y="546"/>
                  </a:lnTo>
                  <a:lnTo>
                    <a:pt x="300" y="526"/>
                  </a:lnTo>
                  <a:lnTo>
                    <a:pt x="355" y="506"/>
                  </a:lnTo>
                  <a:lnTo>
                    <a:pt x="410" y="487"/>
                  </a:lnTo>
                  <a:lnTo>
                    <a:pt x="464" y="469"/>
                  </a:lnTo>
                  <a:lnTo>
                    <a:pt x="518" y="452"/>
                  </a:lnTo>
                  <a:lnTo>
                    <a:pt x="571" y="436"/>
                  </a:lnTo>
                  <a:lnTo>
                    <a:pt x="623" y="420"/>
                  </a:lnTo>
                  <a:lnTo>
                    <a:pt x="675" y="406"/>
                  </a:lnTo>
                  <a:lnTo>
                    <a:pt x="726" y="392"/>
                  </a:lnTo>
                  <a:lnTo>
                    <a:pt x="776" y="379"/>
                  </a:lnTo>
                  <a:lnTo>
                    <a:pt x="826" y="366"/>
                  </a:lnTo>
                  <a:lnTo>
                    <a:pt x="876" y="355"/>
                  </a:lnTo>
                  <a:lnTo>
                    <a:pt x="924" y="344"/>
                  </a:lnTo>
                  <a:lnTo>
                    <a:pt x="972" y="334"/>
                  </a:lnTo>
                  <a:lnTo>
                    <a:pt x="1020" y="325"/>
                  </a:lnTo>
                  <a:lnTo>
                    <a:pt x="1061" y="317"/>
                  </a:lnTo>
                  <a:lnTo>
                    <a:pt x="1101" y="310"/>
                  </a:lnTo>
                  <a:lnTo>
                    <a:pt x="1141" y="303"/>
                  </a:lnTo>
                  <a:lnTo>
                    <a:pt x="1181" y="297"/>
                  </a:lnTo>
                  <a:lnTo>
                    <a:pt x="1259" y="287"/>
                  </a:lnTo>
                  <a:lnTo>
                    <a:pt x="1297" y="282"/>
                  </a:lnTo>
                  <a:lnTo>
                    <a:pt x="1335" y="278"/>
                  </a:lnTo>
                  <a:lnTo>
                    <a:pt x="1409" y="271"/>
                  </a:lnTo>
                  <a:lnTo>
                    <a:pt x="1445" y="269"/>
                  </a:lnTo>
                  <a:lnTo>
                    <a:pt x="1481" y="266"/>
                  </a:lnTo>
                  <a:lnTo>
                    <a:pt x="1516" y="265"/>
                  </a:lnTo>
                  <a:lnTo>
                    <a:pt x="1551" y="263"/>
                  </a:lnTo>
                  <a:lnTo>
                    <a:pt x="1619" y="262"/>
                  </a:lnTo>
                  <a:lnTo>
                    <a:pt x="1686" y="261"/>
                  </a:lnTo>
                  <a:lnTo>
                    <a:pt x="1718" y="262"/>
                  </a:lnTo>
                  <a:lnTo>
                    <a:pt x="1751" y="263"/>
                  </a:lnTo>
                  <a:lnTo>
                    <a:pt x="1814" y="266"/>
                  </a:lnTo>
                  <a:lnTo>
                    <a:pt x="1844" y="268"/>
                  </a:lnTo>
                  <a:lnTo>
                    <a:pt x="1875" y="270"/>
                  </a:lnTo>
                  <a:lnTo>
                    <a:pt x="1934" y="276"/>
                  </a:lnTo>
                  <a:lnTo>
                    <a:pt x="1963" y="279"/>
                  </a:lnTo>
                  <a:lnTo>
                    <a:pt x="1992" y="282"/>
                  </a:lnTo>
                  <a:lnTo>
                    <a:pt x="2020" y="286"/>
                  </a:lnTo>
                  <a:lnTo>
                    <a:pt x="2047" y="290"/>
                  </a:lnTo>
                  <a:lnTo>
                    <a:pt x="2074" y="295"/>
                  </a:lnTo>
                  <a:lnTo>
                    <a:pt x="2101" y="299"/>
                  </a:lnTo>
                  <a:lnTo>
                    <a:pt x="2153" y="309"/>
                  </a:lnTo>
                  <a:lnTo>
                    <a:pt x="2203" y="320"/>
                  </a:lnTo>
                  <a:lnTo>
                    <a:pt x="2252" y="332"/>
                  </a:lnTo>
                  <a:lnTo>
                    <a:pt x="2275" y="338"/>
                  </a:lnTo>
                  <a:lnTo>
                    <a:pt x="2298" y="345"/>
                  </a:lnTo>
                  <a:lnTo>
                    <a:pt x="2343" y="358"/>
                  </a:lnTo>
                  <a:lnTo>
                    <a:pt x="2365" y="365"/>
                  </a:lnTo>
                  <a:lnTo>
                    <a:pt x="2386" y="372"/>
                  </a:lnTo>
                  <a:lnTo>
                    <a:pt x="2427" y="387"/>
                  </a:lnTo>
                  <a:lnTo>
                    <a:pt x="2467" y="402"/>
                  </a:lnTo>
                  <a:lnTo>
                    <a:pt x="2504" y="417"/>
                  </a:lnTo>
                  <a:lnTo>
                    <a:pt x="2522" y="425"/>
                  </a:lnTo>
                  <a:lnTo>
                    <a:pt x="2540" y="433"/>
                  </a:lnTo>
                  <a:lnTo>
                    <a:pt x="2574" y="450"/>
                  </a:lnTo>
                  <a:lnTo>
                    <a:pt x="2606" y="466"/>
                  </a:lnTo>
                  <a:lnTo>
                    <a:pt x="2638" y="483"/>
                  </a:lnTo>
                  <a:lnTo>
                    <a:pt x="2666" y="500"/>
                  </a:lnTo>
                  <a:lnTo>
                    <a:pt x="2680" y="508"/>
                  </a:lnTo>
                  <a:lnTo>
                    <a:pt x="2693" y="517"/>
                  </a:lnTo>
                  <a:lnTo>
                    <a:pt x="2718" y="534"/>
                  </a:lnTo>
                  <a:lnTo>
                    <a:pt x="2718" y="526"/>
                  </a:lnTo>
                  <a:lnTo>
                    <a:pt x="2717" y="523"/>
                  </a:lnTo>
                  <a:lnTo>
                    <a:pt x="2716" y="518"/>
                  </a:lnTo>
                  <a:lnTo>
                    <a:pt x="2715" y="514"/>
                  </a:lnTo>
                  <a:lnTo>
                    <a:pt x="2713" y="509"/>
                  </a:lnTo>
                  <a:lnTo>
                    <a:pt x="2710" y="505"/>
                  </a:lnTo>
                  <a:lnTo>
                    <a:pt x="2708" y="499"/>
                  </a:lnTo>
                  <a:lnTo>
                    <a:pt x="2701" y="489"/>
                  </a:lnTo>
                  <a:lnTo>
                    <a:pt x="2693" y="478"/>
                  </a:lnTo>
                  <a:lnTo>
                    <a:pt x="2683" y="466"/>
                  </a:lnTo>
                  <a:lnTo>
                    <a:pt x="2671" y="453"/>
                  </a:lnTo>
                  <a:lnTo>
                    <a:pt x="2665" y="447"/>
                  </a:lnTo>
                  <a:lnTo>
                    <a:pt x="2658" y="440"/>
                  </a:lnTo>
                  <a:lnTo>
                    <a:pt x="2643" y="426"/>
                  </a:lnTo>
                  <a:lnTo>
                    <a:pt x="2627" y="412"/>
                  </a:lnTo>
                  <a:lnTo>
                    <a:pt x="2608" y="398"/>
                  </a:lnTo>
                  <a:lnTo>
                    <a:pt x="2589" y="383"/>
                  </a:lnTo>
                  <a:lnTo>
                    <a:pt x="2568" y="368"/>
                  </a:lnTo>
                  <a:lnTo>
                    <a:pt x="2545" y="353"/>
                  </a:lnTo>
                  <a:lnTo>
                    <a:pt x="2521" y="338"/>
                  </a:lnTo>
                  <a:lnTo>
                    <a:pt x="2496" y="323"/>
                  </a:lnTo>
                  <a:lnTo>
                    <a:pt x="2469" y="307"/>
                  </a:lnTo>
                  <a:lnTo>
                    <a:pt x="2441" y="292"/>
                  </a:lnTo>
                  <a:lnTo>
                    <a:pt x="2411" y="277"/>
                  </a:lnTo>
                  <a:lnTo>
                    <a:pt x="2380" y="262"/>
                  </a:lnTo>
                  <a:lnTo>
                    <a:pt x="2348" y="247"/>
                  </a:lnTo>
                  <a:lnTo>
                    <a:pt x="2314" y="232"/>
                  </a:lnTo>
                  <a:lnTo>
                    <a:pt x="2279" y="218"/>
                  </a:lnTo>
                  <a:lnTo>
                    <a:pt x="2242" y="204"/>
                  </a:lnTo>
                  <a:lnTo>
                    <a:pt x="2204" y="190"/>
                  </a:lnTo>
                  <a:lnTo>
                    <a:pt x="2165" y="177"/>
                  </a:lnTo>
                  <a:lnTo>
                    <a:pt x="2125" y="165"/>
                  </a:lnTo>
                  <a:lnTo>
                    <a:pt x="2083" y="153"/>
                  </a:lnTo>
                  <a:lnTo>
                    <a:pt x="2040" y="142"/>
                  </a:lnTo>
                  <a:lnTo>
                    <a:pt x="1996" y="131"/>
                  </a:lnTo>
                  <a:lnTo>
                    <a:pt x="1950" y="122"/>
                  </a:lnTo>
                  <a:lnTo>
                    <a:pt x="1917" y="115"/>
                  </a:lnTo>
                  <a:lnTo>
                    <a:pt x="1884" y="110"/>
                  </a:lnTo>
                  <a:lnTo>
                    <a:pt x="1851" y="105"/>
                  </a:lnTo>
                  <a:lnTo>
                    <a:pt x="1817" y="100"/>
                  </a:lnTo>
                  <a:lnTo>
                    <a:pt x="1784" y="97"/>
                  </a:lnTo>
                  <a:lnTo>
                    <a:pt x="1750" y="93"/>
                  </a:lnTo>
                  <a:lnTo>
                    <a:pt x="1716" y="91"/>
                  </a:lnTo>
                  <a:lnTo>
                    <a:pt x="1682" y="89"/>
                  </a:lnTo>
                  <a:lnTo>
                    <a:pt x="1648" y="87"/>
                  </a:lnTo>
                  <a:lnTo>
                    <a:pt x="1614" y="86"/>
                  </a:lnTo>
                  <a:lnTo>
                    <a:pt x="1580" y="86"/>
                  </a:lnTo>
                  <a:lnTo>
                    <a:pt x="1546" y="86"/>
                  </a:lnTo>
                  <a:lnTo>
                    <a:pt x="1478" y="87"/>
                  </a:lnTo>
                  <a:lnTo>
                    <a:pt x="1444" y="89"/>
                  </a:lnTo>
                  <a:lnTo>
                    <a:pt x="1410" y="91"/>
                  </a:lnTo>
                  <a:lnTo>
                    <a:pt x="1377" y="93"/>
                  </a:lnTo>
                  <a:lnTo>
                    <a:pt x="1343" y="96"/>
                  </a:lnTo>
                  <a:lnTo>
                    <a:pt x="1309" y="99"/>
                  </a:lnTo>
                  <a:lnTo>
                    <a:pt x="1276" y="102"/>
                  </a:lnTo>
                  <a:lnTo>
                    <a:pt x="1210" y="110"/>
                  </a:lnTo>
                  <a:lnTo>
                    <a:pt x="1177" y="114"/>
                  </a:lnTo>
                  <a:lnTo>
                    <a:pt x="1143" y="119"/>
                  </a:lnTo>
                  <a:lnTo>
                    <a:pt x="1111" y="124"/>
                  </a:lnTo>
                  <a:lnTo>
                    <a:pt x="1079" y="129"/>
                  </a:lnTo>
                  <a:lnTo>
                    <a:pt x="1047" y="135"/>
                  </a:lnTo>
                  <a:lnTo>
                    <a:pt x="1015" y="140"/>
                  </a:lnTo>
                  <a:lnTo>
                    <a:pt x="984" y="146"/>
                  </a:lnTo>
                  <a:lnTo>
                    <a:pt x="953" y="152"/>
                  </a:lnTo>
                  <a:lnTo>
                    <a:pt x="893" y="165"/>
                  </a:lnTo>
                  <a:lnTo>
                    <a:pt x="833" y="178"/>
                  </a:lnTo>
                  <a:lnTo>
                    <a:pt x="776" y="192"/>
                  </a:lnTo>
                  <a:lnTo>
                    <a:pt x="721" y="206"/>
                  </a:lnTo>
                  <a:lnTo>
                    <a:pt x="667" y="220"/>
                  </a:lnTo>
                  <a:lnTo>
                    <a:pt x="616" y="235"/>
                  </a:lnTo>
                  <a:lnTo>
                    <a:pt x="567" y="249"/>
                  </a:lnTo>
                  <a:lnTo>
                    <a:pt x="520" y="263"/>
                  </a:lnTo>
                  <a:lnTo>
                    <a:pt x="477" y="277"/>
                  </a:lnTo>
                  <a:lnTo>
                    <a:pt x="436" y="290"/>
                  </a:lnTo>
                  <a:lnTo>
                    <a:pt x="397" y="303"/>
                  </a:lnTo>
                  <a:lnTo>
                    <a:pt x="331" y="326"/>
                  </a:lnTo>
                  <a:lnTo>
                    <a:pt x="278" y="345"/>
                  </a:lnTo>
                  <a:lnTo>
                    <a:pt x="239" y="360"/>
                  </a:lnTo>
                  <a:lnTo>
                    <a:pt x="242" y="338"/>
                  </a:lnTo>
                  <a:lnTo>
                    <a:pt x="245" y="316"/>
                  </a:lnTo>
                  <a:lnTo>
                    <a:pt x="252" y="269"/>
                  </a:lnTo>
                  <a:lnTo>
                    <a:pt x="259" y="222"/>
                  </a:lnTo>
                  <a:lnTo>
                    <a:pt x="262" y="199"/>
                  </a:lnTo>
                  <a:lnTo>
                    <a:pt x="264" y="175"/>
                  </a:lnTo>
                  <a:lnTo>
                    <a:pt x="265" y="153"/>
                  </a:lnTo>
                  <a:lnTo>
                    <a:pt x="266" y="131"/>
                  </a:lnTo>
                  <a:lnTo>
                    <a:pt x="265" y="120"/>
                  </a:lnTo>
                  <a:lnTo>
                    <a:pt x="264" y="110"/>
                  </a:lnTo>
                  <a:lnTo>
                    <a:pt x="263" y="99"/>
                  </a:lnTo>
                  <a:lnTo>
                    <a:pt x="262" y="89"/>
                  </a:lnTo>
                  <a:lnTo>
                    <a:pt x="260" y="80"/>
                  </a:lnTo>
                  <a:lnTo>
                    <a:pt x="257" y="71"/>
                  </a:lnTo>
                  <a:lnTo>
                    <a:pt x="254" y="62"/>
                  </a:lnTo>
                  <a:lnTo>
                    <a:pt x="251" y="53"/>
                  </a:lnTo>
                  <a:lnTo>
                    <a:pt x="247" y="45"/>
                  </a:lnTo>
                  <a:lnTo>
                    <a:pt x="242" y="37"/>
                  </a:lnTo>
                  <a:lnTo>
                    <a:pt x="237" y="30"/>
                  </a:lnTo>
                  <a:lnTo>
                    <a:pt x="231" y="23"/>
                  </a:lnTo>
                  <a:lnTo>
                    <a:pt x="227" y="19"/>
                  </a:lnTo>
                  <a:lnTo>
                    <a:pt x="222" y="16"/>
                  </a:lnTo>
                  <a:lnTo>
                    <a:pt x="217" y="12"/>
                  </a:lnTo>
                  <a:lnTo>
                    <a:pt x="211" y="9"/>
                  </a:lnTo>
                  <a:lnTo>
                    <a:pt x="205" y="7"/>
                  </a:lnTo>
                  <a:lnTo>
                    <a:pt x="199" y="5"/>
                  </a:lnTo>
                  <a:lnTo>
                    <a:pt x="192" y="3"/>
                  </a:lnTo>
                  <a:lnTo>
                    <a:pt x="185" y="2"/>
                  </a:lnTo>
                  <a:lnTo>
                    <a:pt x="178" y="1"/>
                  </a:lnTo>
                  <a:lnTo>
                    <a:pt x="171" y="0"/>
                  </a:lnTo>
                  <a:lnTo>
                    <a:pt x="163" y="1"/>
                  </a:lnTo>
                  <a:lnTo>
                    <a:pt x="155" y="1"/>
                  </a:lnTo>
                  <a:lnTo>
                    <a:pt x="148" y="2"/>
                  </a:lnTo>
                  <a:lnTo>
                    <a:pt x="140" y="4"/>
                  </a:lnTo>
                  <a:lnTo>
                    <a:pt x="132" y="6"/>
                  </a:lnTo>
                  <a:lnTo>
                    <a:pt x="125" y="9"/>
                  </a:lnTo>
                  <a:lnTo>
                    <a:pt x="117" y="12"/>
                  </a:lnTo>
                  <a:lnTo>
                    <a:pt x="110" y="16"/>
                  </a:lnTo>
                  <a:lnTo>
                    <a:pt x="103" y="20"/>
                  </a:lnTo>
                  <a:lnTo>
                    <a:pt x="96" y="25"/>
                  </a:lnTo>
                  <a:lnTo>
                    <a:pt x="89" y="31"/>
                  </a:lnTo>
                  <a:lnTo>
                    <a:pt x="82" y="37"/>
                  </a:lnTo>
                  <a:lnTo>
                    <a:pt x="76" y="44"/>
                  </a:lnTo>
                  <a:lnTo>
                    <a:pt x="70" y="52"/>
                  </a:lnTo>
                  <a:lnTo>
                    <a:pt x="65" y="60"/>
                  </a:lnTo>
                  <a:lnTo>
                    <a:pt x="60" y="69"/>
                  </a:lnTo>
                  <a:lnTo>
                    <a:pt x="56" y="79"/>
                  </a:lnTo>
                  <a:lnTo>
                    <a:pt x="52" y="89"/>
                  </a:lnTo>
                  <a:lnTo>
                    <a:pt x="48" y="101"/>
                  </a:lnTo>
                  <a:lnTo>
                    <a:pt x="46" y="113"/>
                  </a:lnTo>
                  <a:lnTo>
                    <a:pt x="43" y="126"/>
                  </a:lnTo>
                  <a:lnTo>
                    <a:pt x="42" y="139"/>
                  </a:lnTo>
                  <a:lnTo>
                    <a:pt x="39" y="180"/>
                  </a:lnTo>
                  <a:lnTo>
                    <a:pt x="35" y="221"/>
                  </a:lnTo>
                  <a:lnTo>
                    <a:pt x="26" y="308"/>
                  </a:lnTo>
                  <a:lnTo>
                    <a:pt x="15" y="401"/>
                  </a:lnTo>
                  <a:lnTo>
                    <a:pt x="3" y="498"/>
                  </a:lnTo>
                  <a:lnTo>
                    <a:pt x="1" y="513"/>
                  </a:lnTo>
                  <a:lnTo>
                    <a:pt x="0" y="527"/>
                  </a:lnTo>
                  <a:lnTo>
                    <a:pt x="0" y="539"/>
                  </a:lnTo>
                  <a:lnTo>
                    <a:pt x="0" y="551"/>
                  </a:lnTo>
                  <a:lnTo>
                    <a:pt x="1" y="561"/>
                  </a:lnTo>
                  <a:lnTo>
                    <a:pt x="3" y="570"/>
                  </a:lnTo>
                  <a:lnTo>
                    <a:pt x="5" y="578"/>
                  </a:lnTo>
                  <a:lnTo>
                    <a:pt x="7" y="585"/>
                  </a:lnTo>
                  <a:lnTo>
                    <a:pt x="11" y="591"/>
                  </a:lnTo>
                  <a:lnTo>
                    <a:pt x="14" y="596"/>
                  </a:lnTo>
                  <a:lnTo>
                    <a:pt x="19" y="601"/>
                  </a:lnTo>
                  <a:lnTo>
                    <a:pt x="23" y="604"/>
                  </a:lnTo>
                  <a:lnTo>
                    <a:pt x="29" y="607"/>
                  </a:lnTo>
                  <a:lnTo>
                    <a:pt x="34" y="609"/>
                  </a:lnTo>
                  <a:lnTo>
                    <a:pt x="40" y="610"/>
                  </a:lnTo>
                  <a:lnTo>
                    <a:pt x="47" y="611"/>
                  </a:lnTo>
                  <a:lnTo>
                    <a:pt x="54" y="611"/>
                  </a:lnTo>
                  <a:lnTo>
                    <a:pt x="61" y="610"/>
                  </a:lnTo>
                  <a:lnTo>
                    <a:pt x="68" y="609"/>
                  </a:lnTo>
                  <a:lnTo>
                    <a:pt x="76" y="608"/>
                  </a:lnTo>
                  <a:lnTo>
                    <a:pt x="93" y="603"/>
                  </a:lnTo>
                  <a:lnTo>
                    <a:pt x="110" y="598"/>
                  </a:lnTo>
                  <a:lnTo>
                    <a:pt x="129" y="591"/>
                  </a:lnTo>
                  <a:lnTo>
                    <a:pt x="148" y="583"/>
                  </a:lnTo>
                  <a:lnTo>
                    <a:pt x="187" y="568"/>
                  </a:lnTo>
                  <a:close/>
                </a:path>
              </a:pathLst>
            </a:custGeom>
            <a:solidFill>
              <a:srgbClr val="FF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21773632-8F3C-49DC-96F5-699F171AE68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2599" y="6057875"/>
            <a:ext cx="6986693" cy="5461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9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85163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Image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685800" y="2566651"/>
            <a:ext cx="6172336" cy="1463042"/>
          </a:xfrm>
        </p:spPr>
        <p:txBody>
          <a:bodyPr anchor="t"/>
          <a:lstStyle>
            <a:lvl1pPr algn="l">
              <a:lnSpc>
                <a:spcPct val="95000"/>
              </a:lnSpc>
              <a:defRPr sz="480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4049488"/>
            <a:ext cx="6172337" cy="1752600"/>
          </a:xfrm>
        </p:spPr>
        <p:txBody>
          <a:bodyPr/>
          <a:lstStyle>
            <a:lvl1pPr marL="0" indent="0" algn="l">
              <a:lnSpc>
                <a:spcPct val="95000"/>
              </a:lnSpc>
              <a:buNone/>
              <a:defRPr sz="200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7" name="Picture Placeholder 6"/>
          <p:cNvSpPr>
            <a:spLocks noGrp="1"/>
          </p:cNvSpPr>
          <p:nvPr userDrawn="1">
            <p:ph type="pic" sz="quarter" idx="10"/>
          </p:nvPr>
        </p:nvSpPr>
        <p:spPr>
          <a:xfrm>
            <a:off x="6998369" y="903202"/>
            <a:ext cx="4797181" cy="4479908"/>
          </a:xfrm>
          <a:custGeom>
            <a:avLst/>
            <a:gdLst>
              <a:gd name="connsiteX0" fmla="*/ 0 w 4815281"/>
              <a:gd name="connsiteY0" fmla="*/ 4488110 h 4488110"/>
              <a:gd name="connsiteX1" fmla="*/ 1122028 w 4815281"/>
              <a:gd name="connsiteY1" fmla="*/ 0 h 4488110"/>
              <a:gd name="connsiteX2" fmla="*/ 3693254 w 4815281"/>
              <a:gd name="connsiteY2" fmla="*/ 0 h 4488110"/>
              <a:gd name="connsiteX3" fmla="*/ 4815281 w 4815281"/>
              <a:gd name="connsiteY3" fmla="*/ 4488110 h 4488110"/>
              <a:gd name="connsiteX4" fmla="*/ 0 w 4815281"/>
              <a:gd name="connsiteY4" fmla="*/ 4488110 h 4488110"/>
              <a:gd name="connsiteX0" fmla="*/ 0 w 4823670"/>
              <a:gd name="connsiteY0" fmla="*/ 3548543 h 4488110"/>
              <a:gd name="connsiteX1" fmla="*/ 1130417 w 4823670"/>
              <a:gd name="connsiteY1" fmla="*/ 0 h 4488110"/>
              <a:gd name="connsiteX2" fmla="*/ 3701643 w 4823670"/>
              <a:gd name="connsiteY2" fmla="*/ 0 h 4488110"/>
              <a:gd name="connsiteX3" fmla="*/ 4823670 w 4823670"/>
              <a:gd name="connsiteY3" fmla="*/ 4488110 h 4488110"/>
              <a:gd name="connsiteX4" fmla="*/ 0 w 4823670"/>
              <a:gd name="connsiteY4" fmla="*/ 3548543 h 4488110"/>
              <a:gd name="connsiteX0" fmla="*/ 0 w 4823670"/>
              <a:gd name="connsiteY0" fmla="*/ 3548543 h 4488110"/>
              <a:gd name="connsiteX1" fmla="*/ 1130417 w 4823670"/>
              <a:gd name="connsiteY1" fmla="*/ 0 h 4488110"/>
              <a:gd name="connsiteX2" fmla="*/ 3701643 w 4823670"/>
              <a:gd name="connsiteY2" fmla="*/ 0 h 4488110"/>
              <a:gd name="connsiteX3" fmla="*/ 4823670 w 4823670"/>
              <a:gd name="connsiteY3" fmla="*/ 4488110 h 4488110"/>
              <a:gd name="connsiteX4" fmla="*/ 0 w 4823670"/>
              <a:gd name="connsiteY4" fmla="*/ 3548543 h 4488110"/>
              <a:gd name="connsiteX0" fmla="*/ 0 w 4790114"/>
              <a:gd name="connsiteY0" fmla="*/ 3548543 h 4139734"/>
              <a:gd name="connsiteX1" fmla="*/ 1130417 w 4790114"/>
              <a:gd name="connsiteY1" fmla="*/ 0 h 4139734"/>
              <a:gd name="connsiteX2" fmla="*/ 3701643 w 4790114"/>
              <a:gd name="connsiteY2" fmla="*/ 0 h 4139734"/>
              <a:gd name="connsiteX3" fmla="*/ 4790114 w 4790114"/>
              <a:gd name="connsiteY3" fmla="*/ 3414319 h 4139734"/>
              <a:gd name="connsiteX4" fmla="*/ 0 w 4790114"/>
              <a:gd name="connsiteY4" fmla="*/ 3548543 h 4139734"/>
              <a:gd name="connsiteX0" fmla="*/ 0 w 4794095"/>
              <a:gd name="connsiteY0" fmla="*/ 3548543 h 4829438"/>
              <a:gd name="connsiteX1" fmla="*/ 1130417 w 4794095"/>
              <a:gd name="connsiteY1" fmla="*/ 0 h 4829438"/>
              <a:gd name="connsiteX2" fmla="*/ 3701643 w 4794095"/>
              <a:gd name="connsiteY2" fmla="*/ 0 h 4829438"/>
              <a:gd name="connsiteX3" fmla="*/ 4790114 w 4794095"/>
              <a:gd name="connsiteY3" fmla="*/ 3414319 h 4829438"/>
              <a:gd name="connsiteX4" fmla="*/ 0 w 4794095"/>
              <a:gd name="connsiteY4" fmla="*/ 3548543 h 4829438"/>
              <a:gd name="connsiteX0" fmla="*/ 0 w 4794023"/>
              <a:gd name="connsiteY0" fmla="*/ 3548543 h 4832475"/>
              <a:gd name="connsiteX1" fmla="*/ 1130417 w 4794023"/>
              <a:gd name="connsiteY1" fmla="*/ 0 h 4832475"/>
              <a:gd name="connsiteX2" fmla="*/ 3701643 w 4794023"/>
              <a:gd name="connsiteY2" fmla="*/ 0 h 4832475"/>
              <a:gd name="connsiteX3" fmla="*/ 4790114 w 4794023"/>
              <a:gd name="connsiteY3" fmla="*/ 3414319 h 4832475"/>
              <a:gd name="connsiteX4" fmla="*/ 0 w 4794023"/>
              <a:gd name="connsiteY4" fmla="*/ 3548543 h 4832475"/>
              <a:gd name="connsiteX0" fmla="*/ 0 w 4794023"/>
              <a:gd name="connsiteY0" fmla="*/ 3548543 h 4832475"/>
              <a:gd name="connsiteX1" fmla="*/ 1130417 w 4794023"/>
              <a:gd name="connsiteY1" fmla="*/ 0 h 4832475"/>
              <a:gd name="connsiteX2" fmla="*/ 2401350 w 4794023"/>
              <a:gd name="connsiteY2" fmla="*/ 0 h 4832475"/>
              <a:gd name="connsiteX3" fmla="*/ 4790114 w 4794023"/>
              <a:gd name="connsiteY3" fmla="*/ 3414319 h 4832475"/>
              <a:gd name="connsiteX4" fmla="*/ 0 w 4794023"/>
              <a:gd name="connsiteY4" fmla="*/ 3548543 h 4832475"/>
              <a:gd name="connsiteX0" fmla="*/ 0 w 4794023"/>
              <a:gd name="connsiteY0" fmla="*/ 3549180 h 4833112"/>
              <a:gd name="connsiteX1" fmla="*/ 1130417 w 4794023"/>
              <a:gd name="connsiteY1" fmla="*/ 637 h 4833112"/>
              <a:gd name="connsiteX2" fmla="*/ 2401350 w 4794023"/>
              <a:gd name="connsiteY2" fmla="*/ 637 h 4833112"/>
              <a:gd name="connsiteX3" fmla="*/ 4790114 w 4794023"/>
              <a:gd name="connsiteY3" fmla="*/ 3414956 h 4833112"/>
              <a:gd name="connsiteX4" fmla="*/ 0 w 4794023"/>
              <a:gd name="connsiteY4" fmla="*/ 3549180 h 4833112"/>
              <a:gd name="connsiteX0" fmla="*/ 0 w 4794023"/>
              <a:gd name="connsiteY0" fmla="*/ 3549029 h 4832961"/>
              <a:gd name="connsiteX1" fmla="*/ 1130417 w 4794023"/>
              <a:gd name="connsiteY1" fmla="*/ 486 h 4832961"/>
              <a:gd name="connsiteX2" fmla="*/ 2401350 w 4794023"/>
              <a:gd name="connsiteY2" fmla="*/ 486 h 4832961"/>
              <a:gd name="connsiteX3" fmla="*/ 4790114 w 4794023"/>
              <a:gd name="connsiteY3" fmla="*/ 3414805 h 4832961"/>
              <a:gd name="connsiteX4" fmla="*/ 0 w 4794023"/>
              <a:gd name="connsiteY4" fmla="*/ 3549029 h 4832961"/>
              <a:gd name="connsiteX0" fmla="*/ 0 w 4743728"/>
              <a:gd name="connsiteY0" fmla="*/ 3549062 h 4731571"/>
              <a:gd name="connsiteX1" fmla="*/ 1130417 w 4743728"/>
              <a:gd name="connsiteY1" fmla="*/ 519 h 4731571"/>
              <a:gd name="connsiteX2" fmla="*/ 2401350 w 4743728"/>
              <a:gd name="connsiteY2" fmla="*/ 519 h 4731571"/>
              <a:gd name="connsiteX3" fmla="*/ 4739780 w 4743728"/>
              <a:gd name="connsiteY3" fmla="*/ 3213503 h 4731571"/>
              <a:gd name="connsiteX4" fmla="*/ 0 w 4743728"/>
              <a:gd name="connsiteY4" fmla="*/ 3549062 h 4731571"/>
              <a:gd name="connsiteX0" fmla="*/ 0 w 4743728"/>
              <a:gd name="connsiteY0" fmla="*/ 3549008 h 4731517"/>
              <a:gd name="connsiteX1" fmla="*/ 1130417 w 4743728"/>
              <a:gd name="connsiteY1" fmla="*/ 465 h 4731517"/>
              <a:gd name="connsiteX2" fmla="*/ 2401350 w 4743728"/>
              <a:gd name="connsiteY2" fmla="*/ 465 h 4731517"/>
              <a:gd name="connsiteX3" fmla="*/ 4739780 w 4743728"/>
              <a:gd name="connsiteY3" fmla="*/ 3213449 h 4731517"/>
              <a:gd name="connsiteX4" fmla="*/ 0 w 4743728"/>
              <a:gd name="connsiteY4" fmla="*/ 3549008 h 4731517"/>
              <a:gd name="connsiteX0" fmla="*/ 0 w 4743728"/>
              <a:gd name="connsiteY0" fmla="*/ 3553739 h 4736248"/>
              <a:gd name="connsiteX1" fmla="*/ 1130417 w 4743728"/>
              <a:gd name="connsiteY1" fmla="*/ 5196 h 4736248"/>
              <a:gd name="connsiteX2" fmla="*/ 2401350 w 4743728"/>
              <a:gd name="connsiteY2" fmla="*/ 5196 h 4736248"/>
              <a:gd name="connsiteX3" fmla="*/ 4739780 w 4743728"/>
              <a:gd name="connsiteY3" fmla="*/ 3218180 h 4736248"/>
              <a:gd name="connsiteX4" fmla="*/ 0 w 4743728"/>
              <a:gd name="connsiteY4" fmla="*/ 3553739 h 4736248"/>
              <a:gd name="connsiteX0" fmla="*/ 0 w 4803322"/>
              <a:gd name="connsiteY0" fmla="*/ 3553739 h 4760950"/>
              <a:gd name="connsiteX1" fmla="*/ 1130417 w 4803322"/>
              <a:gd name="connsiteY1" fmla="*/ 5196 h 4760950"/>
              <a:gd name="connsiteX2" fmla="*/ 2401350 w 4803322"/>
              <a:gd name="connsiteY2" fmla="*/ 5196 h 4760950"/>
              <a:gd name="connsiteX3" fmla="*/ 4739780 w 4803322"/>
              <a:gd name="connsiteY3" fmla="*/ 3218180 h 4760950"/>
              <a:gd name="connsiteX4" fmla="*/ 0 w 4803322"/>
              <a:gd name="connsiteY4" fmla="*/ 3553739 h 4760950"/>
              <a:gd name="connsiteX0" fmla="*/ 0 w 4740100"/>
              <a:gd name="connsiteY0" fmla="*/ 3553739 h 4774568"/>
              <a:gd name="connsiteX1" fmla="*/ 1130417 w 4740100"/>
              <a:gd name="connsiteY1" fmla="*/ 5196 h 4774568"/>
              <a:gd name="connsiteX2" fmla="*/ 2401350 w 4740100"/>
              <a:gd name="connsiteY2" fmla="*/ 5196 h 4774568"/>
              <a:gd name="connsiteX3" fmla="*/ 4739780 w 4740100"/>
              <a:gd name="connsiteY3" fmla="*/ 3218180 h 4774568"/>
              <a:gd name="connsiteX4" fmla="*/ 2550254 w 4740100"/>
              <a:gd name="connsiteY4" fmla="*/ 4770144 h 4774568"/>
              <a:gd name="connsiteX5" fmla="*/ 0 w 4740100"/>
              <a:gd name="connsiteY5" fmla="*/ 3553739 h 4774568"/>
              <a:gd name="connsiteX0" fmla="*/ 0 w 4740103"/>
              <a:gd name="connsiteY0" fmla="*/ 3553739 h 4493895"/>
              <a:gd name="connsiteX1" fmla="*/ 1130417 w 4740103"/>
              <a:gd name="connsiteY1" fmla="*/ 5196 h 4493895"/>
              <a:gd name="connsiteX2" fmla="*/ 2401350 w 4740103"/>
              <a:gd name="connsiteY2" fmla="*/ 5196 h 4493895"/>
              <a:gd name="connsiteX3" fmla="*/ 4739780 w 4740103"/>
              <a:gd name="connsiteY3" fmla="*/ 3218180 h 4493895"/>
              <a:gd name="connsiteX4" fmla="*/ 2567032 w 4740103"/>
              <a:gd name="connsiteY4" fmla="*/ 4484918 h 4493895"/>
              <a:gd name="connsiteX5" fmla="*/ 0 w 4740103"/>
              <a:gd name="connsiteY5" fmla="*/ 3553739 h 4493895"/>
              <a:gd name="connsiteX0" fmla="*/ 0 w 4782039"/>
              <a:gd name="connsiteY0" fmla="*/ 3553063 h 4493219"/>
              <a:gd name="connsiteX1" fmla="*/ 1130417 w 4782039"/>
              <a:gd name="connsiteY1" fmla="*/ 4520 h 4493219"/>
              <a:gd name="connsiteX2" fmla="*/ 2401350 w 4782039"/>
              <a:gd name="connsiteY2" fmla="*/ 4520 h 4493219"/>
              <a:gd name="connsiteX3" fmla="*/ 4781725 w 4782039"/>
              <a:gd name="connsiteY3" fmla="*/ 3729232 h 4493219"/>
              <a:gd name="connsiteX4" fmla="*/ 2567032 w 4782039"/>
              <a:gd name="connsiteY4" fmla="*/ 4484242 h 4493219"/>
              <a:gd name="connsiteX5" fmla="*/ 0 w 4782039"/>
              <a:gd name="connsiteY5" fmla="*/ 3553063 h 4493219"/>
              <a:gd name="connsiteX0" fmla="*/ 0 w 4781725"/>
              <a:gd name="connsiteY0" fmla="*/ 3553063 h 4493219"/>
              <a:gd name="connsiteX1" fmla="*/ 1130417 w 4781725"/>
              <a:gd name="connsiteY1" fmla="*/ 4520 h 4493219"/>
              <a:gd name="connsiteX2" fmla="*/ 2401350 w 4781725"/>
              <a:gd name="connsiteY2" fmla="*/ 4520 h 4493219"/>
              <a:gd name="connsiteX3" fmla="*/ 4781725 w 4781725"/>
              <a:gd name="connsiteY3" fmla="*/ 3729232 h 4493219"/>
              <a:gd name="connsiteX4" fmla="*/ 2567032 w 4781725"/>
              <a:gd name="connsiteY4" fmla="*/ 4484242 h 4493219"/>
              <a:gd name="connsiteX5" fmla="*/ 0 w 4781725"/>
              <a:gd name="connsiteY5" fmla="*/ 3553063 h 4493219"/>
              <a:gd name="connsiteX0" fmla="*/ 0 w 4781725"/>
              <a:gd name="connsiteY0" fmla="*/ 3553063 h 4493219"/>
              <a:gd name="connsiteX1" fmla="*/ 1130417 w 4781725"/>
              <a:gd name="connsiteY1" fmla="*/ 4520 h 4493219"/>
              <a:gd name="connsiteX2" fmla="*/ 2401350 w 4781725"/>
              <a:gd name="connsiteY2" fmla="*/ 4520 h 4493219"/>
              <a:gd name="connsiteX3" fmla="*/ 4781725 w 4781725"/>
              <a:gd name="connsiteY3" fmla="*/ 3729232 h 4493219"/>
              <a:gd name="connsiteX4" fmla="*/ 2567032 w 4781725"/>
              <a:gd name="connsiteY4" fmla="*/ 4484242 h 4493219"/>
              <a:gd name="connsiteX5" fmla="*/ 0 w 4781725"/>
              <a:gd name="connsiteY5" fmla="*/ 3553063 h 4493219"/>
              <a:gd name="connsiteX0" fmla="*/ 0 w 4803030"/>
              <a:gd name="connsiteY0" fmla="*/ 3553929 h 4494085"/>
              <a:gd name="connsiteX1" fmla="*/ 1130417 w 4803030"/>
              <a:gd name="connsiteY1" fmla="*/ 5386 h 4494085"/>
              <a:gd name="connsiteX2" fmla="*/ 2401350 w 4803030"/>
              <a:gd name="connsiteY2" fmla="*/ 5386 h 4494085"/>
              <a:gd name="connsiteX3" fmla="*/ 4781725 w 4803030"/>
              <a:gd name="connsiteY3" fmla="*/ 3730098 h 4494085"/>
              <a:gd name="connsiteX4" fmla="*/ 2567032 w 4803030"/>
              <a:gd name="connsiteY4" fmla="*/ 4485108 h 4494085"/>
              <a:gd name="connsiteX5" fmla="*/ 0 w 4803030"/>
              <a:gd name="connsiteY5" fmla="*/ 3553929 h 4494085"/>
              <a:gd name="connsiteX0" fmla="*/ 0 w 4803030"/>
              <a:gd name="connsiteY0" fmla="*/ 3553929 h 4494085"/>
              <a:gd name="connsiteX1" fmla="*/ 1130417 w 4803030"/>
              <a:gd name="connsiteY1" fmla="*/ 5386 h 4494085"/>
              <a:gd name="connsiteX2" fmla="*/ 2401350 w 4803030"/>
              <a:gd name="connsiteY2" fmla="*/ 5386 h 4494085"/>
              <a:gd name="connsiteX3" fmla="*/ 4781725 w 4803030"/>
              <a:gd name="connsiteY3" fmla="*/ 3730098 h 4494085"/>
              <a:gd name="connsiteX4" fmla="*/ 2567032 w 4803030"/>
              <a:gd name="connsiteY4" fmla="*/ 4485108 h 4494085"/>
              <a:gd name="connsiteX5" fmla="*/ 0 w 4803030"/>
              <a:gd name="connsiteY5" fmla="*/ 3553929 h 4494085"/>
              <a:gd name="connsiteX0" fmla="*/ 0 w 4803030"/>
              <a:gd name="connsiteY0" fmla="*/ 3553929 h 4494085"/>
              <a:gd name="connsiteX1" fmla="*/ 1130417 w 4803030"/>
              <a:gd name="connsiteY1" fmla="*/ 5386 h 4494085"/>
              <a:gd name="connsiteX2" fmla="*/ 2401350 w 4803030"/>
              <a:gd name="connsiteY2" fmla="*/ 5386 h 4494085"/>
              <a:gd name="connsiteX3" fmla="*/ 4781725 w 4803030"/>
              <a:gd name="connsiteY3" fmla="*/ 3730098 h 4494085"/>
              <a:gd name="connsiteX4" fmla="*/ 2567032 w 4803030"/>
              <a:gd name="connsiteY4" fmla="*/ 4485108 h 4494085"/>
              <a:gd name="connsiteX5" fmla="*/ 0 w 4803030"/>
              <a:gd name="connsiteY5" fmla="*/ 3553929 h 4494085"/>
              <a:gd name="connsiteX0" fmla="*/ 0 w 4790949"/>
              <a:gd name="connsiteY0" fmla="*/ 3554083 h 4494239"/>
              <a:gd name="connsiteX1" fmla="*/ 1130417 w 4790949"/>
              <a:gd name="connsiteY1" fmla="*/ 5540 h 4494239"/>
              <a:gd name="connsiteX2" fmla="*/ 2401350 w 4790949"/>
              <a:gd name="connsiteY2" fmla="*/ 5540 h 4494239"/>
              <a:gd name="connsiteX3" fmla="*/ 4781725 w 4790949"/>
              <a:gd name="connsiteY3" fmla="*/ 3730252 h 4494239"/>
              <a:gd name="connsiteX4" fmla="*/ 2567032 w 4790949"/>
              <a:gd name="connsiteY4" fmla="*/ 4485262 h 4494239"/>
              <a:gd name="connsiteX5" fmla="*/ 0 w 4790949"/>
              <a:gd name="connsiteY5" fmla="*/ 3554083 h 4494239"/>
              <a:gd name="connsiteX0" fmla="*/ 0 w 4793035"/>
              <a:gd name="connsiteY0" fmla="*/ 3554070 h 4494226"/>
              <a:gd name="connsiteX1" fmla="*/ 1130417 w 4793035"/>
              <a:gd name="connsiteY1" fmla="*/ 5527 h 4494226"/>
              <a:gd name="connsiteX2" fmla="*/ 2401350 w 4793035"/>
              <a:gd name="connsiteY2" fmla="*/ 5527 h 4494226"/>
              <a:gd name="connsiteX3" fmla="*/ 4781725 w 4793035"/>
              <a:gd name="connsiteY3" fmla="*/ 3730239 h 4494226"/>
              <a:gd name="connsiteX4" fmla="*/ 2567032 w 4793035"/>
              <a:gd name="connsiteY4" fmla="*/ 4485249 h 4494226"/>
              <a:gd name="connsiteX5" fmla="*/ 0 w 4793035"/>
              <a:gd name="connsiteY5" fmla="*/ 3554070 h 4494226"/>
              <a:gd name="connsiteX0" fmla="*/ 0 w 4821204"/>
              <a:gd name="connsiteY0" fmla="*/ 3554310 h 4494466"/>
              <a:gd name="connsiteX1" fmla="*/ 1130417 w 4821204"/>
              <a:gd name="connsiteY1" fmla="*/ 5767 h 4494466"/>
              <a:gd name="connsiteX2" fmla="*/ 2401350 w 4821204"/>
              <a:gd name="connsiteY2" fmla="*/ 5767 h 4494466"/>
              <a:gd name="connsiteX3" fmla="*/ 4810078 w 4821204"/>
              <a:gd name="connsiteY3" fmla="*/ 3595800 h 4494466"/>
              <a:gd name="connsiteX4" fmla="*/ 2567032 w 4821204"/>
              <a:gd name="connsiteY4" fmla="*/ 4485489 h 4494466"/>
              <a:gd name="connsiteX5" fmla="*/ 0 w 4821204"/>
              <a:gd name="connsiteY5" fmla="*/ 3554310 h 4494466"/>
              <a:gd name="connsiteX0" fmla="*/ 0 w 4807027"/>
              <a:gd name="connsiteY0" fmla="*/ 3603929 h 4496242"/>
              <a:gd name="connsiteX1" fmla="*/ 1116240 w 4807027"/>
              <a:gd name="connsiteY1" fmla="*/ 5767 h 4496242"/>
              <a:gd name="connsiteX2" fmla="*/ 2387173 w 4807027"/>
              <a:gd name="connsiteY2" fmla="*/ 5767 h 4496242"/>
              <a:gd name="connsiteX3" fmla="*/ 4795901 w 4807027"/>
              <a:gd name="connsiteY3" fmla="*/ 3595800 h 4496242"/>
              <a:gd name="connsiteX4" fmla="*/ 2552855 w 4807027"/>
              <a:gd name="connsiteY4" fmla="*/ 4485489 h 4496242"/>
              <a:gd name="connsiteX5" fmla="*/ 0 w 4807027"/>
              <a:gd name="connsiteY5" fmla="*/ 3603929 h 4496242"/>
              <a:gd name="connsiteX0" fmla="*/ 0 w 4807027"/>
              <a:gd name="connsiteY0" fmla="*/ 3603929 h 4496242"/>
              <a:gd name="connsiteX1" fmla="*/ 1116240 w 4807027"/>
              <a:gd name="connsiteY1" fmla="*/ 5767 h 4496242"/>
              <a:gd name="connsiteX2" fmla="*/ 2387173 w 4807027"/>
              <a:gd name="connsiteY2" fmla="*/ 5767 h 4496242"/>
              <a:gd name="connsiteX3" fmla="*/ 4795901 w 4807027"/>
              <a:gd name="connsiteY3" fmla="*/ 3595800 h 4496242"/>
              <a:gd name="connsiteX4" fmla="*/ 2396911 w 4807027"/>
              <a:gd name="connsiteY4" fmla="*/ 4485489 h 4496242"/>
              <a:gd name="connsiteX5" fmla="*/ 0 w 4807027"/>
              <a:gd name="connsiteY5" fmla="*/ 3603929 h 4496242"/>
              <a:gd name="connsiteX0" fmla="*/ 0 w 4807027"/>
              <a:gd name="connsiteY0" fmla="*/ 3603929 h 4496242"/>
              <a:gd name="connsiteX1" fmla="*/ 1116240 w 4807027"/>
              <a:gd name="connsiteY1" fmla="*/ 5767 h 4496242"/>
              <a:gd name="connsiteX2" fmla="*/ 2387173 w 4807027"/>
              <a:gd name="connsiteY2" fmla="*/ 5767 h 4496242"/>
              <a:gd name="connsiteX3" fmla="*/ 4795901 w 4807027"/>
              <a:gd name="connsiteY3" fmla="*/ 3595800 h 4496242"/>
              <a:gd name="connsiteX4" fmla="*/ 2396911 w 4807027"/>
              <a:gd name="connsiteY4" fmla="*/ 4485489 h 4496242"/>
              <a:gd name="connsiteX5" fmla="*/ 0 w 4807027"/>
              <a:gd name="connsiteY5" fmla="*/ 3603929 h 4496242"/>
              <a:gd name="connsiteX0" fmla="*/ 0 w 4807027"/>
              <a:gd name="connsiteY0" fmla="*/ 3603929 h 4513950"/>
              <a:gd name="connsiteX1" fmla="*/ 1116240 w 4807027"/>
              <a:gd name="connsiteY1" fmla="*/ 5767 h 4513950"/>
              <a:gd name="connsiteX2" fmla="*/ 2387173 w 4807027"/>
              <a:gd name="connsiteY2" fmla="*/ 5767 h 4513950"/>
              <a:gd name="connsiteX3" fmla="*/ 4795901 w 4807027"/>
              <a:gd name="connsiteY3" fmla="*/ 3595800 h 4513950"/>
              <a:gd name="connsiteX4" fmla="*/ 2396911 w 4807027"/>
              <a:gd name="connsiteY4" fmla="*/ 4485489 h 4513950"/>
              <a:gd name="connsiteX5" fmla="*/ 0 w 4807027"/>
              <a:gd name="connsiteY5" fmla="*/ 3603929 h 4513950"/>
              <a:gd name="connsiteX0" fmla="*/ 0 w 4807027"/>
              <a:gd name="connsiteY0" fmla="*/ 3603929 h 4497146"/>
              <a:gd name="connsiteX1" fmla="*/ 1116240 w 4807027"/>
              <a:gd name="connsiteY1" fmla="*/ 5767 h 4497146"/>
              <a:gd name="connsiteX2" fmla="*/ 2387173 w 4807027"/>
              <a:gd name="connsiteY2" fmla="*/ 5767 h 4497146"/>
              <a:gd name="connsiteX3" fmla="*/ 4795901 w 4807027"/>
              <a:gd name="connsiteY3" fmla="*/ 3595800 h 4497146"/>
              <a:gd name="connsiteX4" fmla="*/ 2396911 w 4807027"/>
              <a:gd name="connsiteY4" fmla="*/ 4485489 h 4497146"/>
              <a:gd name="connsiteX5" fmla="*/ 0 w 4807027"/>
              <a:gd name="connsiteY5" fmla="*/ 3603929 h 4497146"/>
              <a:gd name="connsiteX0" fmla="*/ 0 w 4807027"/>
              <a:gd name="connsiteY0" fmla="*/ 3603929 h 4515916"/>
              <a:gd name="connsiteX1" fmla="*/ 1116240 w 4807027"/>
              <a:gd name="connsiteY1" fmla="*/ 5767 h 4515916"/>
              <a:gd name="connsiteX2" fmla="*/ 2387173 w 4807027"/>
              <a:gd name="connsiteY2" fmla="*/ 5767 h 4515916"/>
              <a:gd name="connsiteX3" fmla="*/ 4795901 w 4807027"/>
              <a:gd name="connsiteY3" fmla="*/ 3595800 h 4515916"/>
              <a:gd name="connsiteX4" fmla="*/ 2396911 w 4807027"/>
              <a:gd name="connsiteY4" fmla="*/ 4485489 h 4515916"/>
              <a:gd name="connsiteX5" fmla="*/ 0 w 4807027"/>
              <a:gd name="connsiteY5" fmla="*/ 3603929 h 4515916"/>
              <a:gd name="connsiteX0" fmla="*/ 0 w 4807027"/>
              <a:gd name="connsiteY0" fmla="*/ 3603929 h 4485489"/>
              <a:gd name="connsiteX1" fmla="*/ 1116240 w 4807027"/>
              <a:gd name="connsiteY1" fmla="*/ 5767 h 4485489"/>
              <a:gd name="connsiteX2" fmla="*/ 2387173 w 4807027"/>
              <a:gd name="connsiteY2" fmla="*/ 5767 h 4485489"/>
              <a:gd name="connsiteX3" fmla="*/ 4795901 w 4807027"/>
              <a:gd name="connsiteY3" fmla="*/ 3595800 h 4485489"/>
              <a:gd name="connsiteX4" fmla="*/ 2396911 w 4807027"/>
              <a:gd name="connsiteY4" fmla="*/ 4485489 h 4485489"/>
              <a:gd name="connsiteX5" fmla="*/ 0 w 4807027"/>
              <a:gd name="connsiteY5" fmla="*/ 3603929 h 4485489"/>
              <a:gd name="connsiteX0" fmla="*/ 0 w 4807027"/>
              <a:gd name="connsiteY0" fmla="*/ 3603929 h 4500292"/>
              <a:gd name="connsiteX1" fmla="*/ 1116240 w 4807027"/>
              <a:gd name="connsiteY1" fmla="*/ 5767 h 4500292"/>
              <a:gd name="connsiteX2" fmla="*/ 2387173 w 4807027"/>
              <a:gd name="connsiteY2" fmla="*/ 5767 h 4500292"/>
              <a:gd name="connsiteX3" fmla="*/ 4795901 w 4807027"/>
              <a:gd name="connsiteY3" fmla="*/ 3595800 h 4500292"/>
              <a:gd name="connsiteX4" fmla="*/ 2396911 w 4807027"/>
              <a:gd name="connsiteY4" fmla="*/ 4485489 h 4500292"/>
              <a:gd name="connsiteX5" fmla="*/ 0 w 4807027"/>
              <a:gd name="connsiteY5" fmla="*/ 3603929 h 4500292"/>
              <a:gd name="connsiteX0" fmla="*/ 0 w 4807027"/>
              <a:gd name="connsiteY0" fmla="*/ 3603929 h 4500292"/>
              <a:gd name="connsiteX1" fmla="*/ 1116240 w 4807027"/>
              <a:gd name="connsiteY1" fmla="*/ 5767 h 4500292"/>
              <a:gd name="connsiteX2" fmla="*/ 2387173 w 4807027"/>
              <a:gd name="connsiteY2" fmla="*/ 5767 h 4500292"/>
              <a:gd name="connsiteX3" fmla="*/ 4795901 w 4807027"/>
              <a:gd name="connsiteY3" fmla="*/ 3595800 h 4500292"/>
              <a:gd name="connsiteX4" fmla="*/ 2396911 w 4807027"/>
              <a:gd name="connsiteY4" fmla="*/ 4485489 h 4500292"/>
              <a:gd name="connsiteX5" fmla="*/ 0 w 4807027"/>
              <a:gd name="connsiteY5" fmla="*/ 3603929 h 4500292"/>
              <a:gd name="connsiteX0" fmla="*/ 0 w 4807027"/>
              <a:gd name="connsiteY0" fmla="*/ 3603929 h 4491161"/>
              <a:gd name="connsiteX1" fmla="*/ 1116240 w 4807027"/>
              <a:gd name="connsiteY1" fmla="*/ 5767 h 4491161"/>
              <a:gd name="connsiteX2" fmla="*/ 2387173 w 4807027"/>
              <a:gd name="connsiteY2" fmla="*/ 5767 h 4491161"/>
              <a:gd name="connsiteX3" fmla="*/ 4795901 w 4807027"/>
              <a:gd name="connsiteY3" fmla="*/ 3595800 h 4491161"/>
              <a:gd name="connsiteX4" fmla="*/ 2396911 w 4807027"/>
              <a:gd name="connsiteY4" fmla="*/ 4485489 h 4491161"/>
              <a:gd name="connsiteX5" fmla="*/ 0 w 4807027"/>
              <a:gd name="connsiteY5" fmla="*/ 3603929 h 4491161"/>
              <a:gd name="connsiteX0" fmla="*/ 0 w 4807027"/>
              <a:gd name="connsiteY0" fmla="*/ 3603929 h 4491161"/>
              <a:gd name="connsiteX1" fmla="*/ 1116240 w 4807027"/>
              <a:gd name="connsiteY1" fmla="*/ 5767 h 4491161"/>
              <a:gd name="connsiteX2" fmla="*/ 2387173 w 4807027"/>
              <a:gd name="connsiteY2" fmla="*/ 5767 h 4491161"/>
              <a:gd name="connsiteX3" fmla="*/ 4795901 w 4807027"/>
              <a:gd name="connsiteY3" fmla="*/ 3595800 h 4491161"/>
              <a:gd name="connsiteX4" fmla="*/ 2396911 w 4807027"/>
              <a:gd name="connsiteY4" fmla="*/ 4485489 h 4491161"/>
              <a:gd name="connsiteX5" fmla="*/ 0 w 4807027"/>
              <a:gd name="connsiteY5" fmla="*/ 3603929 h 4491161"/>
              <a:gd name="connsiteX0" fmla="*/ 0 w 4807027"/>
              <a:gd name="connsiteY0" fmla="*/ 3603929 h 4491996"/>
              <a:gd name="connsiteX1" fmla="*/ 1116240 w 4807027"/>
              <a:gd name="connsiteY1" fmla="*/ 5767 h 4491996"/>
              <a:gd name="connsiteX2" fmla="*/ 2387173 w 4807027"/>
              <a:gd name="connsiteY2" fmla="*/ 5767 h 4491996"/>
              <a:gd name="connsiteX3" fmla="*/ 4795901 w 4807027"/>
              <a:gd name="connsiteY3" fmla="*/ 3595800 h 4491996"/>
              <a:gd name="connsiteX4" fmla="*/ 2396911 w 4807027"/>
              <a:gd name="connsiteY4" fmla="*/ 4485489 h 4491996"/>
              <a:gd name="connsiteX5" fmla="*/ 0 w 4807027"/>
              <a:gd name="connsiteY5" fmla="*/ 3603929 h 4491996"/>
              <a:gd name="connsiteX0" fmla="*/ 0 w 4807027"/>
              <a:gd name="connsiteY0" fmla="*/ 3603929 h 4491996"/>
              <a:gd name="connsiteX1" fmla="*/ 1116240 w 4807027"/>
              <a:gd name="connsiteY1" fmla="*/ 5767 h 4491996"/>
              <a:gd name="connsiteX2" fmla="*/ 2387173 w 4807027"/>
              <a:gd name="connsiteY2" fmla="*/ 5767 h 4491996"/>
              <a:gd name="connsiteX3" fmla="*/ 4795901 w 4807027"/>
              <a:gd name="connsiteY3" fmla="*/ 3595800 h 4491996"/>
              <a:gd name="connsiteX4" fmla="*/ 2396911 w 4807027"/>
              <a:gd name="connsiteY4" fmla="*/ 4485489 h 4491996"/>
              <a:gd name="connsiteX5" fmla="*/ 0 w 4807027"/>
              <a:gd name="connsiteY5" fmla="*/ 3603929 h 4491996"/>
              <a:gd name="connsiteX0" fmla="*/ 0 w 4807027"/>
              <a:gd name="connsiteY0" fmla="*/ 3603929 h 4491996"/>
              <a:gd name="connsiteX1" fmla="*/ 1116240 w 4807027"/>
              <a:gd name="connsiteY1" fmla="*/ 5767 h 4491996"/>
              <a:gd name="connsiteX2" fmla="*/ 2387173 w 4807027"/>
              <a:gd name="connsiteY2" fmla="*/ 5767 h 4491996"/>
              <a:gd name="connsiteX3" fmla="*/ 4795901 w 4807027"/>
              <a:gd name="connsiteY3" fmla="*/ 3595800 h 4491996"/>
              <a:gd name="connsiteX4" fmla="*/ 2396911 w 4807027"/>
              <a:gd name="connsiteY4" fmla="*/ 4485489 h 4491996"/>
              <a:gd name="connsiteX5" fmla="*/ 0 w 4807027"/>
              <a:gd name="connsiteY5" fmla="*/ 3603929 h 4491996"/>
              <a:gd name="connsiteX0" fmla="*/ 0 w 4814070"/>
              <a:gd name="connsiteY0" fmla="*/ 3603726 h 4491793"/>
              <a:gd name="connsiteX1" fmla="*/ 1116240 w 4814070"/>
              <a:gd name="connsiteY1" fmla="*/ 5564 h 4491793"/>
              <a:gd name="connsiteX2" fmla="*/ 2387173 w 4814070"/>
              <a:gd name="connsiteY2" fmla="*/ 5564 h 4491793"/>
              <a:gd name="connsiteX3" fmla="*/ 4802989 w 4814070"/>
              <a:gd name="connsiteY3" fmla="*/ 3709011 h 4491793"/>
              <a:gd name="connsiteX4" fmla="*/ 2396911 w 4814070"/>
              <a:gd name="connsiteY4" fmla="*/ 4485286 h 4491793"/>
              <a:gd name="connsiteX5" fmla="*/ 0 w 4814070"/>
              <a:gd name="connsiteY5" fmla="*/ 3603726 h 4491793"/>
              <a:gd name="connsiteX0" fmla="*/ 0 w 4814070"/>
              <a:gd name="connsiteY0" fmla="*/ 3603726 h 4491793"/>
              <a:gd name="connsiteX1" fmla="*/ 1116240 w 4814070"/>
              <a:gd name="connsiteY1" fmla="*/ 5564 h 4491793"/>
              <a:gd name="connsiteX2" fmla="*/ 2387173 w 4814070"/>
              <a:gd name="connsiteY2" fmla="*/ 5564 h 4491793"/>
              <a:gd name="connsiteX3" fmla="*/ 4802989 w 4814070"/>
              <a:gd name="connsiteY3" fmla="*/ 3709011 h 4491793"/>
              <a:gd name="connsiteX4" fmla="*/ 2396911 w 4814070"/>
              <a:gd name="connsiteY4" fmla="*/ 4485286 h 4491793"/>
              <a:gd name="connsiteX5" fmla="*/ 0 w 4814070"/>
              <a:gd name="connsiteY5" fmla="*/ 3603726 h 4491793"/>
              <a:gd name="connsiteX0" fmla="*/ 0 w 4792941"/>
              <a:gd name="connsiteY0" fmla="*/ 3603689 h 4491756"/>
              <a:gd name="connsiteX1" fmla="*/ 1116240 w 4792941"/>
              <a:gd name="connsiteY1" fmla="*/ 5527 h 4491756"/>
              <a:gd name="connsiteX2" fmla="*/ 2387173 w 4792941"/>
              <a:gd name="connsiteY2" fmla="*/ 5527 h 4491756"/>
              <a:gd name="connsiteX3" fmla="*/ 4781724 w 4792941"/>
              <a:gd name="connsiteY3" fmla="*/ 3730239 h 4491756"/>
              <a:gd name="connsiteX4" fmla="*/ 2396911 w 4792941"/>
              <a:gd name="connsiteY4" fmla="*/ 4485249 h 4491756"/>
              <a:gd name="connsiteX5" fmla="*/ 0 w 4792941"/>
              <a:gd name="connsiteY5" fmla="*/ 3603689 h 4491756"/>
              <a:gd name="connsiteX0" fmla="*/ 0 w 4792941"/>
              <a:gd name="connsiteY0" fmla="*/ 3603689 h 4491756"/>
              <a:gd name="connsiteX1" fmla="*/ 1116240 w 4792941"/>
              <a:gd name="connsiteY1" fmla="*/ 5527 h 4491756"/>
              <a:gd name="connsiteX2" fmla="*/ 2387173 w 4792941"/>
              <a:gd name="connsiteY2" fmla="*/ 5527 h 4491756"/>
              <a:gd name="connsiteX3" fmla="*/ 4781724 w 4792941"/>
              <a:gd name="connsiteY3" fmla="*/ 3730239 h 4491756"/>
              <a:gd name="connsiteX4" fmla="*/ 2396911 w 4792941"/>
              <a:gd name="connsiteY4" fmla="*/ 4485249 h 4491756"/>
              <a:gd name="connsiteX5" fmla="*/ 0 w 4792941"/>
              <a:gd name="connsiteY5" fmla="*/ 3603689 h 4491756"/>
              <a:gd name="connsiteX0" fmla="*/ 0 w 4785900"/>
              <a:gd name="connsiteY0" fmla="*/ 3603700 h 4491767"/>
              <a:gd name="connsiteX1" fmla="*/ 1116240 w 4785900"/>
              <a:gd name="connsiteY1" fmla="*/ 5538 h 4491767"/>
              <a:gd name="connsiteX2" fmla="*/ 2387173 w 4785900"/>
              <a:gd name="connsiteY2" fmla="*/ 5538 h 4491767"/>
              <a:gd name="connsiteX3" fmla="*/ 4774636 w 4785900"/>
              <a:gd name="connsiteY3" fmla="*/ 3723162 h 4491767"/>
              <a:gd name="connsiteX4" fmla="*/ 2396911 w 4785900"/>
              <a:gd name="connsiteY4" fmla="*/ 4485260 h 4491767"/>
              <a:gd name="connsiteX5" fmla="*/ 0 w 4785900"/>
              <a:gd name="connsiteY5" fmla="*/ 3603700 h 4491767"/>
              <a:gd name="connsiteX0" fmla="*/ 0 w 4785900"/>
              <a:gd name="connsiteY0" fmla="*/ 3603700 h 4491767"/>
              <a:gd name="connsiteX1" fmla="*/ 1116240 w 4785900"/>
              <a:gd name="connsiteY1" fmla="*/ 5538 h 4491767"/>
              <a:gd name="connsiteX2" fmla="*/ 2387173 w 4785900"/>
              <a:gd name="connsiteY2" fmla="*/ 5538 h 4491767"/>
              <a:gd name="connsiteX3" fmla="*/ 4774636 w 4785900"/>
              <a:gd name="connsiteY3" fmla="*/ 3723162 h 4491767"/>
              <a:gd name="connsiteX4" fmla="*/ 2396911 w 4785900"/>
              <a:gd name="connsiteY4" fmla="*/ 4485260 h 4491767"/>
              <a:gd name="connsiteX5" fmla="*/ 0 w 4785900"/>
              <a:gd name="connsiteY5" fmla="*/ 3603700 h 4491767"/>
              <a:gd name="connsiteX0" fmla="*/ 0 w 4785900"/>
              <a:gd name="connsiteY0" fmla="*/ 3603700 h 4491767"/>
              <a:gd name="connsiteX1" fmla="*/ 1116240 w 4785900"/>
              <a:gd name="connsiteY1" fmla="*/ 5538 h 4491767"/>
              <a:gd name="connsiteX2" fmla="*/ 2387173 w 4785900"/>
              <a:gd name="connsiteY2" fmla="*/ 5538 h 4491767"/>
              <a:gd name="connsiteX3" fmla="*/ 4774636 w 4785900"/>
              <a:gd name="connsiteY3" fmla="*/ 3723162 h 4491767"/>
              <a:gd name="connsiteX4" fmla="*/ 2396911 w 4785900"/>
              <a:gd name="connsiteY4" fmla="*/ 4485260 h 4491767"/>
              <a:gd name="connsiteX5" fmla="*/ 0 w 4785900"/>
              <a:gd name="connsiteY5" fmla="*/ 3603700 h 4491767"/>
              <a:gd name="connsiteX0" fmla="*/ 0 w 4785900"/>
              <a:gd name="connsiteY0" fmla="*/ 3603700 h 4491767"/>
              <a:gd name="connsiteX1" fmla="*/ 1116240 w 4785900"/>
              <a:gd name="connsiteY1" fmla="*/ 5538 h 4491767"/>
              <a:gd name="connsiteX2" fmla="*/ 2387173 w 4785900"/>
              <a:gd name="connsiteY2" fmla="*/ 5538 h 4491767"/>
              <a:gd name="connsiteX3" fmla="*/ 4774636 w 4785900"/>
              <a:gd name="connsiteY3" fmla="*/ 3723162 h 4491767"/>
              <a:gd name="connsiteX4" fmla="*/ 2396911 w 4785900"/>
              <a:gd name="connsiteY4" fmla="*/ 4485260 h 4491767"/>
              <a:gd name="connsiteX5" fmla="*/ 0 w 4785900"/>
              <a:gd name="connsiteY5" fmla="*/ 3603700 h 4491767"/>
              <a:gd name="connsiteX0" fmla="*/ 0 w 4785900"/>
              <a:gd name="connsiteY0" fmla="*/ 3603700 h 4491767"/>
              <a:gd name="connsiteX1" fmla="*/ 1116240 w 4785900"/>
              <a:gd name="connsiteY1" fmla="*/ 5538 h 4491767"/>
              <a:gd name="connsiteX2" fmla="*/ 2387173 w 4785900"/>
              <a:gd name="connsiteY2" fmla="*/ 5538 h 4491767"/>
              <a:gd name="connsiteX3" fmla="*/ 4774636 w 4785900"/>
              <a:gd name="connsiteY3" fmla="*/ 3723162 h 4491767"/>
              <a:gd name="connsiteX4" fmla="*/ 2396911 w 4785900"/>
              <a:gd name="connsiteY4" fmla="*/ 4485260 h 4491767"/>
              <a:gd name="connsiteX5" fmla="*/ 0 w 4785900"/>
              <a:gd name="connsiteY5" fmla="*/ 3603700 h 4491767"/>
              <a:gd name="connsiteX0" fmla="*/ 0 w 4785900"/>
              <a:gd name="connsiteY0" fmla="*/ 3603700 h 4491767"/>
              <a:gd name="connsiteX1" fmla="*/ 1116240 w 4785900"/>
              <a:gd name="connsiteY1" fmla="*/ 5538 h 4491767"/>
              <a:gd name="connsiteX2" fmla="*/ 2387173 w 4785900"/>
              <a:gd name="connsiteY2" fmla="*/ 5538 h 4491767"/>
              <a:gd name="connsiteX3" fmla="*/ 4774636 w 4785900"/>
              <a:gd name="connsiteY3" fmla="*/ 3723162 h 4491767"/>
              <a:gd name="connsiteX4" fmla="*/ 2396911 w 4785900"/>
              <a:gd name="connsiteY4" fmla="*/ 4485260 h 4491767"/>
              <a:gd name="connsiteX5" fmla="*/ 0 w 4785900"/>
              <a:gd name="connsiteY5" fmla="*/ 3603700 h 4491767"/>
              <a:gd name="connsiteX0" fmla="*/ 0 w 4785900"/>
              <a:gd name="connsiteY0" fmla="*/ 3603700 h 4491767"/>
              <a:gd name="connsiteX1" fmla="*/ 1116240 w 4785900"/>
              <a:gd name="connsiteY1" fmla="*/ 5538 h 4491767"/>
              <a:gd name="connsiteX2" fmla="*/ 2387173 w 4785900"/>
              <a:gd name="connsiteY2" fmla="*/ 5538 h 4491767"/>
              <a:gd name="connsiteX3" fmla="*/ 4774636 w 4785900"/>
              <a:gd name="connsiteY3" fmla="*/ 3723162 h 4491767"/>
              <a:gd name="connsiteX4" fmla="*/ 2396911 w 4785900"/>
              <a:gd name="connsiteY4" fmla="*/ 4485260 h 4491767"/>
              <a:gd name="connsiteX5" fmla="*/ 0 w 4785900"/>
              <a:gd name="connsiteY5" fmla="*/ 3603700 h 4491767"/>
              <a:gd name="connsiteX0" fmla="*/ 0 w 4785900"/>
              <a:gd name="connsiteY0" fmla="*/ 3603700 h 4491767"/>
              <a:gd name="connsiteX1" fmla="*/ 1116240 w 4785900"/>
              <a:gd name="connsiteY1" fmla="*/ 5538 h 4491767"/>
              <a:gd name="connsiteX2" fmla="*/ 2387173 w 4785900"/>
              <a:gd name="connsiteY2" fmla="*/ 5538 h 4491767"/>
              <a:gd name="connsiteX3" fmla="*/ 4774636 w 4785900"/>
              <a:gd name="connsiteY3" fmla="*/ 3723162 h 4491767"/>
              <a:gd name="connsiteX4" fmla="*/ 2396911 w 4785900"/>
              <a:gd name="connsiteY4" fmla="*/ 4485260 h 4491767"/>
              <a:gd name="connsiteX5" fmla="*/ 0 w 4785900"/>
              <a:gd name="connsiteY5" fmla="*/ 3603700 h 4491767"/>
              <a:gd name="connsiteX0" fmla="*/ 0 w 4785900"/>
              <a:gd name="connsiteY0" fmla="*/ 3603700 h 4491767"/>
              <a:gd name="connsiteX1" fmla="*/ 1116240 w 4785900"/>
              <a:gd name="connsiteY1" fmla="*/ 5538 h 4491767"/>
              <a:gd name="connsiteX2" fmla="*/ 2387173 w 4785900"/>
              <a:gd name="connsiteY2" fmla="*/ 5538 h 4491767"/>
              <a:gd name="connsiteX3" fmla="*/ 4774636 w 4785900"/>
              <a:gd name="connsiteY3" fmla="*/ 3723162 h 4491767"/>
              <a:gd name="connsiteX4" fmla="*/ 2396911 w 4785900"/>
              <a:gd name="connsiteY4" fmla="*/ 4485260 h 4491767"/>
              <a:gd name="connsiteX5" fmla="*/ 0 w 4785900"/>
              <a:gd name="connsiteY5" fmla="*/ 3603700 h 4491767"/>
              <a:gd name="connsiteX0" fmla="*/ 0 w 4785900"/>
              <a:gd name="connsiteY0" fmla="*/ 3603700 h 4491767"/>
              <a:gd name="connsiteX1" fmla="*/ 1116240 w 4785900"/>
              <a:gd name="connsiteY1" fmla="*/ 5538 h 4491767"/>
              <a:gd name="connsiteX2" fmla="*/ 2387173 w 4785900"/>
              <a:gd name="connsiteY2" fmla="*/ 5538 h 4491767"/>
              <a:gd name="connsiteX3" fmla="*/ 4774636 w 4785900"/>
              <a:gd name="connsiteY3" fmla="*/ 3723162 h 4491767"/>
              <a:gd name="connsiteX4" fmla="*/ 2396911 w 4785900"/>
              <a:gd name="connsiteY4" fmla="*/ 4485260 h 4491767"/>
              <a:gd name="connsiteX5" fmla="*/ 0 w 4785900"/>
              <a:gd name="connsiteY5" fmla="*/ 3603700 h 4491767"/>
              <a:gd name="connsiteX0" fmla="*/ 0 w 4785900"/>
              <a:gd name="connsiteY0" fmla="*/ 3603700 h 4491767"/>
              <a:gd name="connsiteX1" fmla="*/ 1116240 w 4785900"/>
              <a:gd name="connsiteY1" fmla="*/ 5538 h 4491767"/>
              <a:gd name="connsiteX2" fmla="*/ 2387173 w 4785900"/>
              <a:gd name="connsiteY2" fmla="*/ 5538 h 4491767"/>
              <a:gd name="connsiteX3" fmla="*/ 4774636 w 4785900"/>
              <a:gd name="connsiteY3" fmla="*/ 3723162 h 4491767"/>
              <a:gd name="connsiteX4" fmla="*/ 2396911 w 4785900"/>
              <a:gd name="connsiteY4" fmla="*/ 4485260 h 4491767"/>
              <a:gd name="connsiteX5" fmla="*/ 0 w 4785900"/>
              <a:gd name="connsiteY5" fmla="*/ 3603700 h 4491767"/>
              <a:gd name="connsiteX0" fmla="*/ 0 w 4785900"/>
              <a:gd name="connsiteY0" fmla="*/ 3603700 h 4491767"/>
              <a:gd name="connsiteX1" fmla="*/ 1116240 w 4785900"/>
              <a:gd name="connsiteY1" fmla="*/ 5538 h 4491767"/>
              <a:gd name="connsiteX2" fmla="*/ 2387173 w 4785900"/>
              <a:gd name="connsiteY2" fmla="*/ 5538 h 4491767"/>
              <a:gd name="connsiteX3" fmla="*/ 4774636 w 4785900"/>
              <a:gd name="connsiteY3" fmla="*/ 3723162 h 4491767"/>
              <a:gd name="connsiteX4" fmla="*/ 2396911 w 4785900"/>
              <a:gd name="connsiteY4" fmla="*/ 4485260 h 4491767"/>
              <a:gd name="connsiteX5" fmla="*/ 0 w 4785900"/>
              <a:gd name="connsiteY5" fmla="*/ 3603700 h 4491767"/>
              <a:gd name="connsiteX0" fmla="*/ 0 w 4785900"/>
              <a:gd name="connsiteY0" fmla="*/ 3603700 h 4491767"/>
              <a:gd name="connsiteX1" fmla="*/ 1116240 w 4785900"/>
              <a:gd name="connsiteY1" fmla="*/ 5538 h 4491767"/>
              <a:gd name="connsiteX2" fmla="*/ 2387173 w 4785900"/>
              <a:gd name="connsiteY2" fmla="*/ 5538 h 4491767"/>
              <a:gd name="connsiteX3" fmla="*/ 4774636 w 4785900"/>
              <a:gd name="connsiteY3" fmla="*/ 3723162 h 4491767"/>
              <a:gd name="connsiteX4" fmla="*/ 2396911 w 4785900"/>
              <a:gd name="connsiteY4" fmla="*/ 4485260 h 4491767"/>
              <a:gd name="connsiteX5" fmla="*/ 0 w 4785900"/>
              <a:gd name="connsiteY5" fmla="*/ 3603700 h 4491767"/>
              <a:gd name="connsiteX0" fmla="*/ 0 w 4785900"/>
              <a:gd name="connsiteY0" fmla="*/ 3603700 h 4506731"/>
              <a:gd name="connsiteX1" fmla="*/ 1116240 w 4785900"/>
              <a:gd name="connsiteY1" fmla="*/ 5538 h 4506731"/>
              <a:gd name="connsiteX2" fmla="*/ 2387173 w 4785900"/>
              <a:gd name="connsiteY2" fmla="*/ 5538 h 4506731"/>
              <a:gd name="connsiteX3" fmla="*/ 4774636 w 4785900"/>
              <a:gd name="connsiteY3" fmla="*/ 3723162 h 4506731"/>
              <a:gd name="connsiteX4" fmla="*/ 2396911 w 4785900"/>
              <a:gd name="connsiteY4" fmla="*/ 4485260 h 4506731"/>
              <a:gd name="connsiteX5" fmla="*/ 0 w 4785900"/>
              <a:gd name="connsiteY5" fmla="*/ 3603700 h 4506731"/>
              <a:gd name="connsiteX0" fmla="*/ 0 w 4785900"/>
              <a:gd name="connsiteY0" fmla="*/ 3603700 h 4494993"/>
              <a:gd name="connsiteX1" fmla="*/ 1116240 w 4785900"/>
              <a:gd name="connsiteY1" fmla="*/ 5538 h 4494993"/>
              <a:gd name="connsiteX2" fmla="*/ 2387173 w 4785900"/>
              <a:gd name="connsiteY2" fmla="*/ 5538 h 4494993"/>
              <a:gd name="connsiteX3" fmla="*/ 4774636 w 4785900"/>
              <a:gd name="connsiteY3" fmla="*/ 3723162 h 4494993"/>
              <a:gd name="connsiteX4" fmla="*/ 2396911 w 4785900"/>
              <a:gd name="connsiteY4" fmla="*/ 4485260 h 4494993"/>
              <a:gd name="connsiteX5" fmla="*/ 0 w 4785900"/>
              <a:gd name="connsiteY5" fmla="*/ 3603700 h 4494993"/>
              <a:gd name="connsiteX0" fmla="*/ 0 w 4785900"/>
              <a:gd name="connsiteY0" fmla="*/ 3603700 h 4496124"/>
              <a:gd name="connsiteX1" fmla="*/ 1116240 w 4785900"/>
              <a:gd name="connsiteY1" fmla="*/ 5538 h 4496124"/>
              <a:gd name="connsiteX2" fmla="*/ 2387173 w 4785900"/>
              <a:gd name="connsiteY2" fmla="*/ 5538 h 4496124"/>
              <a:gd name="connsiteX3" fmla="*/ 4774636 w 4785900"/>
              <a:gd name="connsiteY3" fmla="*/ 3723162 h 4496124"/>
              <a:gd name="connsiteX4" fmla="*/ 2396911 w 4785900"/>
              <a:gd name="connsiteY4" fmla="*/ 4485260 h 4496124"/>
              <a:gd name="connsiteX5" fmla="*/ 0 w 4785900"/>
              <a:gd name="connsiteY5" fmla="*/ 3603700 h 4496124"/>
              <a:gd name="connsiteX0" fmla="*/ 0 w 4785900"/>
              <a:gd name="connsiteY0" fmla="*/ 3603700 h 4491767"/>
              <a:gd name="connsiteX1" fmla="*/ 1116240 w 4785900"/>
              <a:gd name="connsiteY1" fmla="*/ 5538 h 4491767"/>
              <a:gd name="connsiteX2" fmla="*/ 2387173 w 4785900"/>
              <a:gd name="connsiteY2" fmla="*/ 5538 h 4491767"/>
              <a:gd name="connsiteX3" fmla="*/ 4774636 w 4785900"/>
              <a:gd name="connsiteY3" fmla="*/ 3723162 h 4491767"/>
              <a:gd name="connsiteX4" fmla="*/ 2396911 w 4785900"/>
              <a:gd name="connsiteY4" fmla="*/ 4485260 h 4491767"/>
              <a:gd name="connsiteX5" fmla="*/ 0 w 4785900"/>
              <a:gd name="connsiteY5" fmla="*/ 3603700 h 4491767"/>
              <a:gd name="connsiteX0" fmla="*/ 0 w 4785900"/>
              <a:gd name="connsiteY0" fmla="*/ 3603700 h 4491767"/>
              <a:gd name="connsiteX1" fmla="*/ 1116240 w 4785900"/>
              <a:gd name="connsiteY1" fmla="*/ 5538 h 4491767"/>
              <a:gd name="connsiteX2" fmla="*/ 2387173 w 4785900"/>
              <a:gd name="connsiteY2" fmla="*/ 5538 h 4491767"/>
              <a:gd name="connsiteX3" fmla="*/ 4774636 w 4785900"/>
              <a:gd name="connsiteY3" fmla="*/ 3723162 h 4491767"/>
              <a:gd name="connsiteX4" fmla="*/ 2396911 w 4785900"/>
              <a:gd name="connsiteY4" fmla="*/ 4485260 h 4491767"/>
              <a:gd name="connsiteX5" fmla="*/ 0 w 4785900"/>
              <a:gd name="connsiteY5" fmla="*/ 3603700 h 4491767"/>
              <a:gd name="connsiteX0" fmla="*/ 0 w 4785900"/>
              <a:gd name="connsiteY0" fmla="*/ 3603700 h 4492559"/>
              <a:gd name="connsiteX1" fmla="*/ 1116240 w 4785900"/>
              <a:gd name="connsiteY1" fmla="*/ 5538 h 4492559"/>
              <a:gd name="connsiteX2" fmla="*/ 2387173 w 4785900"/>
              <a:gd name="connsiteY2" fmla="*/ 5538 h 4492559"/>
              <a:gd name="connsiteX3" fmla="*/ 4774636 w 4785900"/>
              <a:gd name="connsiteY3" fmla="*/ 3723162 h 4492559"/>
              <a:gd name="connsiteX4" fmla="*/ 2396911 w 4785900"/>
              <a:gd name="connsiteY4" fmla="*/ 4485260 h 4492559"/>
              <a:gd name="connsiteX5" fmla="*/ 0 w 4785900"/>
              <a:gd name="connsiteY5" fmla="*/ 3603700 h 4492559"/>
              <a:gd name="connsiteX0" fmla="*/ 0 w 4785900"/>
              <a:gd name="connsiteY0" fmla="*/ 3603700 h 4510917"/>
              <a:gd name="connsiteX1" fmla="*/ 1116240 w 4785900"/>
              <a:gd name="connsiteY1" fmla="*/ 5538 h 4510917"/>
              <a:gd name="connsiteX2" fmla="*/ 2387173 w 4785900"/>
              <a:gd name="connsiteY2" fmla="*/ 5538 h 4510917"/>
              <a:gd name="connsiteX3" fmla="*/ 4774636 w 4785900"/>
              <a:gd name="connsiteY3" fmla="*/ 3723162 h 4510917"/>
              <a:gd name="connsiteX4" fmla="*/ 2396911 w 4785900"/>
              <a:gd name="connsiteY4" fmla="*/ 4485260 h 4510917"/>
              <a:gd name="connsiteX5" fmla="*/ 0 w 4785900"/>
              <a:gd name="connsiteY5" fmla="*/ 3603700 h 4510917"/>
              <a:gd name="connsiteX0" fmla="*/ 0 w 4785900"/>
              <a:gd name="connsiteY0" fmla="*/ 3603700 h 4491767"/>
              <a:gd name="connsiteX1" fmla="*/ 1116240 w 4785900"/>
              <a:gd name="connsiteY1" fmla="*/ 5538 h 4491767"/>
              <a:gd name="connsiteX2" fmla="*/ 2387173 w 4785900"/>
              <a:gd name="connsiteY2" fmla="*/ 5538 h 4491767"/>
              <a:gd name="connsiteX3" fmla="*/ 4774636 w 4785900"/>
              <a:gd name="connsiteY3" fmla="*/ 3723162 h 4491767"/>
              <a:gd name="connsiteX4" fmla="*/ 2396911 w 4785900"/>
              <a:gd name="connsiteY4" fmla="*/ 4485260 h 4491767"/>
              <a:gd name="connsiteX5" fmla="*/ 0 w 4785900"/>
              <a:gd name="connsiteY5" fmla="*/ 3603700 h 4491767"/>
              <a:gd name="connsiteX0" fmla="*/ 0 w 4785900"/>
              <a:gd name="connsiteY0" fmla="*/ 3603700 h 4529463"/>
              <a:gd name="connsiteX1" fmla="*/ 1116240 w 4785900"/>
              <a:gd name="connsiteY1" fmla="*/ 5538 h 4529463"/>
              <a:gd name="connsiteX2" fmla="*/ 2387173 w 4785900"/>
              <a:gd name="connsiteY2" fmla="*/ 5538 h 4529463"/>
              <a:gd name="connsiteX3" fmla="*/ 4774636 w 4785900"/>
              <a:gd name="connsiteY3" fmla="*/ 3723162 h 4529463"/>
              <a:gd name="connsiteX4" fmla="*/ 2396911 w 4785900"/>
              <a:gd name="connsiteY4" fmla="*/ 4485260 h 4529463"/>
              <a:gd name="connsiteX5" fmla="*/ 0 w 4785900"/>
              <a:gd name="connsiteY5" fmla="*/ 3603700 h 4529463"/>
              <a:gd name="connsiteX0" fmla="*/ 0 w 4835631"/>
              <a:gd name="connsiteY0" fmla="*/ 3603700 h 4575108"/>
              <a:gd name="connsiteX1" fmla="*/ 1116240 w 4835631"/>
              <a:gd name="connsiteY1" fmla="*/ 5538 h 4575108"/>
              <a:gd name="connsiteX2" fmla="*/ 2387173 w 4835631"/>
              <a:gd name="connsiteY2" fmla="*/ 5538 h 4575108"/>
              <a:gd name="connsiteX3" fmla="*/ 4774636 w 4835631"/>
              <a:gd name="connsiteY3" fmla="*/ 3723162 h 4575108"/>
              <a:gd name="connsiteX4" fmla="*/ 3980283 w 4835631"/>
              <a:gd name="connsiteY4" fmla="*/ 4459638 h 4575108"/>
              <a:gd name="connsiteX5" fmla="*/ 2396911 w 4835631"/>
              <a:gd name="connsiteY5" fmla="*/ 4485260 h 4575108"/>
              <a:gd name="connsiteX6" fmla="*/ 0 w 4835631"/>
              <a:gd name="connsiteY6" fmla="*/ 3603700 h 4575108"/>
              <a:gd name="connsiteX0" fmla="*/ 0 w 4831573"/>
              <a:gd name="connsiteY0" fmla="*/ 3603700 h 4555690"/>
              <a:gd name="connsiteX1" fmla="*/ 1116240 w 4831573"/>
              <a:gd name="connsiteY1" fmla="*/ 5538 h 4555690"/>
              <a:gd name="connsiteX2" fmla="*/ 2387173 w 4831573"/>
              <a:gd name="connsiteY2" fmla="*/ 5538 h 4555690"/>
              <a:gd name="connsiteX3" fmla="*/ 4774636 w 4831573"/>
              <a:gd name="connsiteY3" fmla="*/ 3723162 h 4555690"/>
              <a:gd name="connsiteX4" fmla="*/ 3916488 w 4831573"/>
              <a:gd name="connsiteY4" fmla="*/ 4402931 h 4555690"/>
              <a:gd name="connsiteX5" fmla="*/ 2396911 w 4831573"/>
              <a:gd name="connsiteY5" fmla="*/ 4485260 h 4555690"/>
              <a:gd name="connsiteX6" fmla="*/ 0 w 4831573"/>
              <a:gd name="connsiteY6" fmla="*/ 3603700 h 4555690"/>
              <a:gd name="connsiteX0" fmla="*/ 0 w 4824192"/>
              <a:gd name="connsiteY0" fmla="*/ 3603700 h 4555690"/>
              <a:gd name="connsiteX1" fmla="*/ 1116240 w 4824192"/>
              <a:gd name="connsiteY1" fmla="*/ 5538 h 4555690"/>
              <a:gd name="connsiteX2" fmla="*/ 2387173 w 4824192"/>
              <a:gd name="connsiteY2" fmla="*/ 5538 h 4555690"/>
              <a:gd name="connsiteX3" fmla="*/ 4774636 w 4824192"/>
              <a:gd name="connsiteY3" fmla="*/ 3723162 h 4555690"/>
              <a:gd name="connsiteX4" fmla="*/ 3916488 w 4824192"/>
              <a:gd name="connsiteY4" fmla="*/ 4402931 h 4555690"/>
              <a:gd name="connsiteX5" fmla="*/ 2396911 w 4824192"/>
              <a:gd name="connsiteY5" fmla="*/ 4485260 h 4555690"/>
              <a:gd name="connsiteX6" fmla="*/ 0 w 4824192"/>
              <a:gd name="connsiteY6" fmla="*/ 3603700 h 4555690"/>
              <a:gd name="connsiteX0" fmla="*/ 0 w 4824192"/>
              <a:gd name="connsiteY0" fmla="*/ 3603677 h 4555667"/>
              <a:gd name="connsiteX1" fmla="*/ 1116240 w 4824192"/>
              <a:gd name="connsiteY1" fmla="*/ 5515 h 4555667"/>
              <a:gd name="connsiteX2" fmla="*/ 2387173 w 4824192"/>
              <a:gd name="connsiteY2" fmla="*/ 5515 h 4555667"/>
              <a:gd name="connsiteX3" fmla="*/ 4774636 w 4824192"/>
              <a:gd name="connsiteY3" fmla="*/ 3737316 h 4555667"/>
              <a:gd name="connsiteX4" fmla="*/ 3916488 w 4824192"/>
              <a:gd name="connsiteY4" fmla="*/ 4402908 h 4555667"/>
              <a:gd name="connsiteX5" fmla="*/ 2396911 w 4824192"/>
              <a:gd name="connsiteY5" fmla="*/ 4485237 h 4555667"/>
              <a:gd name="connsiteX6" fmla="*/ 0 w 4824192"/>
              <a:gd name="connsiteY6" fmla="*/ 3603677 h 4555667"/>
              <a:gd name="connsiteX0" fmla="*/ 0 w 4785900"/>
              <a:gd name="connsiteY0" fmla="*/ 3603677 h 4555667"/>
              <a:gd name="connsiteX1" fmla="*/ 1116240 w 4785900"/>
              <a:gd name="connsiteY1" fmla="*/ 5515 h 4555667"/>
              <a:gd name="connsiteX2" fmla="*/ 2387173 w 4785900"/>
              <a:gd name="connsiteY2" fmla="*/ 5515 h 4555667"/>
              <a:gd name="connsiteX3" fmla="*/ 4774636 w 4785900"/>
              <a:gd name="connsiteY3" fmla="*/ 3737316 h 4555667"/>
              <a:gd name="connsiteX4" fmla="*/ 3916488 w 4785900"/>
              <a:gd name="connsiteY4" fmla="*/ 4402908 h 4555667"/>
              <a:gd name="connsiteX5" fmla="*/ 2396911 w 4785900"/>
              <a:gd name="connsiteY5" fmla="*/ 4485237 h 4555667"/>
              <a:gd name="connsiteX6" fmla="*/ 0 w 4785900"/>
              <a:gd name="connsiteY6" fmla="*/ 3603677 h 4555667"/>
              <a:gd name="connsiteX0" fmla="*/ 0 w 4785900"/>
              <a:gd name="connsiteY0" fmla="*/ 3603677 h 4539916"/>
              <a:gd name="connsiteX1" fmla="*/ 1116240 w 4785900"/>
              <a:gd name="connsiteY1" fmla="*/ 5515 h 4539916"/>
              <a:gd name="connsiteX2" fmla="*/ 2387173 w 4785900"/>
              <a:gd name="connsiteY2" fmla="*/ 5515 h 4539916"/>
              <a:gd name="connsiteX3" fmla="*/ 4774636 w 4785900"/>
              <a:gd name="connsiteY3" fmla="*/ 3737316 h 4539916"/>
              <a:gd name="connsiteX4" fmla="*/ 3916488 w 4785900"/>
              <a:gd name="connsiteY4" fmla="*/ 4402908 h 4539916"/>
              <a:gd name="connsiteX5" fmla="*/ 2396911 w 4785900"/>
              <a:gd name="connsiteY5" fmla="*/ 4485237 h 4539916"/>
              <a:gd name="connsiteX6" fmla="*/ 0 w 4785900"/>
              <a:gd name="connsiteY6" fmla="*/ 3603677 h 4539916"/>
              <a:gd name="connsiteX0" fmla="*/ 0 w 4785900"/>
              <a:gd name="connsiteY0" fmla="*/ 3603677 h 4491744"/>
              <a:gd name="connsiteX1" fmla="*/ 1116240 w 4785900"/>
              <a:gd name="connsiteY1" fmla="*/ 5515 h 4491744"/>
              <a:gd name="connsiteX2" fmla="*/ 2387173 w 4785900"/>
              <a:gd name="connsiteY2" fmla="*/ 5515 h 4491744"/>
              <a:gd name="connsiteX3" fmla="*/ 4774636 w 4785900"/>
              <a:gd name="connsiteY3" fmla="*/ 3737316 h 4491744"/>
              <a:gd name="connsiteX4" fmla="*/ 3916488 w 4785900"/>
              <a:gd name="connsiteY4" fmla="*/ 4402908 h 4491744"/>
              <a:gd name="connsiteX5" fmla="*/ 2396911 w 4785900"/>
              <a:gd name="connsiteY5" fmla="*/ 4485237 h 4491744"/>
              <a:gd name="connsiteX6" fmla="*/ 0 w 4785900"/>
              <a:gd name="connsiteY6" fmla="*/ 3603677 h 4491744"/>
              <a:gd name="connsiteX0" fmla="*/ 0 w 4785900"/>
              <a:gd name="connsiteY0" fmla="*/ 3603677 h 4491744"/>
              <a:gd name="connsiteX1" fmla="*/ 1116240 w 4785900"/>
              <a:gd name="connsiteY1" fmla="*/ 5515 h 4491744"/>
              <a:gd name="connsiteX2" fmla="*/ 2387173 w 4785900"/>
              <a:gd name="connsiteY2" fmla="*/ 5515 h 4491744"/>
              <a:gd name="connsiteX3" fmla="*/ 4774636 w 4785900"/>
              <a:gd name="connsiteY3" fmla="*/ 3737316 h 4491744"/>
              <a:gd name="connsiteX4" fmla="*/ 3916488 w 4785900"/>
              <a:gd name="connsiteY4" fmla="*/ 4402908 h 4491744"/>
              <a:gd name="connsiteX5" fmla="*/ 2396911 w 4785900"/>
              <a:gd name="connsiteY5" fmla="*/ 4485237 h 4491744"/>
              <a:gd name="connsiteX6" fmla="*/ 0 w 4785900"/>
              <a:gd name="connsiteY6" fmla="*/ 3603677 h 4491744"/>
              <a:gd name="connsiteX0" fmla="*/ 0 w 4801302"/>
              <a:gd name="connsiteY0" fmla="*/ 3598162 h 4486229"/>
              <a:gd name="connsiteX1" fmla="*/ 1116240 w 4801302"/>
              <a:gd name="connsiteY1" fmla="*/ 0 h 4486229"/>
              <a:gd name="connsiteX2" fmla="*/ 2387173 w 4801302"/>
              <a:gd name="connsiteY2" fmla="*/ 0 h 4486229"/>
              <a:gd name="connsiteX3" fmla="*/ 4377231 w 4801302"/>
              <a:gd name="connsiteY3" fmla="*/ 2228350 h 4486229"/>
              <a:gd name="connsiteX4" fmla="*/ 4774636 w 4801302"/>
              <a:gd name="connsiteY4" fmla="*/ 3731801 h 4486229"/>
              <a:gd name="connsiteX5" fmla="*/ 3916488 w 4801302"/>
              <a:gd name="connsiteY5" fmla="*/ 4397393 h 4486229"/>
              <a:gd name="connsiteX6" fmla="*/ 2396911 w 4801302"/>
              <a:gd name="connsiteY6" fmla="*/ 4479722 h 4486229"/>
              <a:gd name="connsiteX7" fmla="*/ 0 w 4801302"/>
              <a:gd name="connsiteY7" fmla="*/ 3598162 h 4486229"/>
              <a:gd name="connsiteX0" fmla="*/ 0 w 4791830"/>
              <a:gd name="connsiteY0" fmla="*/ 3598162 h 4486229"/>
              <a:gd name="connsiteX1" fmla="*/ 1116240 w 4791830"/>
              <a:gd name="connsiteY1" fmla="*/ 0 h 4486229"/>
              <a:gd name="connsiteX2" fmla="*/ 2387173 w 4791830"/>
              <a:gd name="connsiteY2" fmla="*/ 0 h 4486229"/>
              <a:gd name="connsiteX3" fmla="*/ 4270906 w 4791830"/>
              <a:gd name="connsiteY3" fmla="*/ 2207085 h 4486229"/>
              <a:gd name="connsiteX4" fmla="*/ 4774636 w 4791830"/>
              <a:gd name="connsiteY4" fmla="*/ 3731801 h 4486229"/>
              <a:gd name="connsiteX5" fmla="*/ 3916488 w 4791830"/>
              <a:gd name="connsiteY5" fmla="*/ 4397393 h 4486229"/>
              <a:gd name="connsiteX6" fmla="*/ 2396911 w 4791830"/>
              <a:gd name="connsiteY6" fmla="*/ 4479722 h 4486229"/>
              <a:gd name="connsiteX7" fmla="*/ 0 w 4791830"/>
              <a:gd name="connsiteY7" fmla="*/ 3598162 h 4486229"/>
              <a:gd name="connsiteX0" fmla="*/ 0 w 4791432"/>
              <a:gd name="connsiteY0" fmla="*/ 3598162 h 4486229"/>
              <a:gd name="connsiteX1" fmla="*/ 1116240 w 4791432"/>
              <a:gd name="connsiteY1" fmla="*/ 0 h 4486229"/>
              <a:gd name="connsiteX2" fmla="*/ 2387173 w 4791432"/>
              <a:gd name="connsiteY2" fmla="*/ 0 h 4486229"/>
              <a:gd name="connsiteX3" fmla="*/ 4270906 w 4791432"/>
              <a:gd name="connsiteY3" fmla="*/ 2207085 h 4486229"/>
              <a:gd name="connsiteX4" fmla="*/ 4774636 w 4791432"/>
              <a:gd name="connsiteY4" fmla="*/ 3731801 h 4486229"/>
              <a:gd name="connsiteX5" fmla="*/ 3916488 w 4791432"/>
              <a:gd name="connsiteY5" fmla="*/ 4397393 h 4486229"/>
              <a:gd name="connsiteX6" fmla="*/ 2396911 w 4791432"/>
              <a:gd name="connsiteY6" fmla="*/ 4479722 h 4486229"/>
              <a:gd name="connsiteX7" fmla="*/ 0 w 4791432"/>
              <a:gd name="connsiteY7" fmla="*/ 3598162 h 4486229"/>
              <a:gd name="connsiteX0" fmla="*/ 0 w 4793736"/>
              <a:gd name="connsiteY0" fmla="*/ 3598162 h 4486229"/>
              <a:gd name="connsiteX1" fmla="*/ 1116240 w 4793736"/>
              <a:gd name="connsiteY1" fmla="*/ 0 h 4486229"/>
              <a:gd name="connsiteX2" fmla="*/ 2387173 w 4793736"/>
              <a:gd name="connsiteY2" fmla="*/ 0 h 4486229"/>
              <a:gd name="connsiteX3" fmla="*/ 4270906 w 4793736"/>
              <a:gd name="connsiteY3" fmla="*/ 2207085 h 4486229"/>
              <a:gd name="connsiteX4" fmla="*/ 4774636 w 4793736"/>
              <a:gd name="connsiteY4" fmla="*/ 3731801 h 4486229"/>
              <a:gd name="connsiteX5" fmla="*/ 3916488 w 4793736"/>
              <a:gd name="connsiteY5" fmla="*/ 4397393 h 4486229"/>
              <a:gd name="connsiteX6" fmla="*/ 2396911 w 4793736"/>
              <a:gd name="connsiteY6" fmla="*/ 4479722 h 4486229"/>
              <a:gd name="connsiteX7" fmla="*/ 0 w 4793736"/>
              <a:gd name="connsiteY7" fmla="*/ 3598162 h 4486229"/>
              <a:gd name="connsiteX0" fmla="*/ 0 w 4784927"/>
              <a:gd name="connsiteY0" fmla="*/ 3598162 h 4486229"/>
              <a:gd name="connsiteX1" fmla="*/ 1116240 w 4784927"/>
              <a:gd name="connsiteY1" fmla="*/ 0 h 4486229"/>
              <a:gd name="connsiteX2" fmla="*/ 2387173 w 4784927"/>
              <a:gd name="connsiteY2" fmla="*/ 0 h 4486229"/>
              <a:gd name="connsiteX3" fmla="*/ 4022812 w 4784927"/>
              <a:gd name="connsiteY3" fmla="*/ 1774695 h 4486229"/>
              <a:gd name="connsiteX4" fmla="*/ 4774636 w 4784927"/>
              <a:gd name="connsiteY4" fmla="*/ 3731801 h 4486229"/>
              <a:gd name="connsiteX5" fmla="*/ 3916488 w 4784927"/>
              <a:gd name="connsiteY5" fmla="*/ 4397393 h 4486229"/>
              <a:gd name="connsiteX6" fmla="*/ 2396911 w 4784927"/>
              <a:gd name="connsiteY6" fmla="*/ 4479722 h 4486229"/>
              <a:gd name="connsiteX7" fmla="*/ 0 w 4784927"/>
              <a:gd name="connsiteY7" fmla="*/ 3598162 h 4486229"/>
              <a:gd name="connsiteX0" fmla="*/ 0 w 4788027"/>
              <a:gd name="connsiteY0" fmla="*/ 3598162 h 4486229"/>
              <a:gd name="connsiteX1" fmla="*/ 1116240 w 4788027"/>
              <a:gd name="connsiteY1" fmla="*/ 0 h 4486229"/>
              <a:gd name="connsiteX2" fmla="*/ 2387173 w 4788027"/>
              <a:gd name="connsiteY2" fmla="*/ 0 h 4486229"/>
              <a:gd name="connsiteX3" fmla="*/ 4022812 w 4788027"/>
              <a:gd name="connsiteY3" fmla="*/ 1774695 h 4486229"/>
              <a:gd name="connsiteX4" fmla="*/ 4774636 w 4788027"/>
              <a:gd name="connsiteY4" fmla="*/ 3731801 h 4486229"/>
              <a:gd name="connsiteX5" fmla="*/ 3916488 w 4788027"/>
              <a:gd name="connsiteY5" fmla="*/ 4397393 h 4486229"/>
              <a:gd name="connsiteX6" fmla="*/ 2396911 w 4788027"/>
              <a:gd name="connsiteY6" fmla="*/ 4479722 h 4486229"/>
              <a:gd name="connsiteX7" fmla="*/ 0 w 4788027"/>
              <a:gd name="connsiteY7" fmla="*/ 3598162 h 4486229"/>
              <a:gd name="connsiteX0" fmla="*/ 0 w 4795825"/>
              <a:gd name="connsiteY0" fmla="*/ 3598162 h 4486229"/>
              <a:gd name="connsiteX1" fmla="*/ 1116240 w 4795825"/>
              <a:gd name="connsiteY1" fmla="*/ 0 h 4486229"/>
              <a:gd name="connsiteX2" fmla="*/ 2387173 w 4795825"/>
              <a:gd name="connsiteY2" fmla="*/ 0 h 4486229"/>
              <a:gd name="connsiteX3" fmla="*/ 4022812 w 4795825"/>
              <a:gd name="connsiteY3" fmla="*/ 1774695 h 4486229"/>
              <a:gd name="connsiteX4" fmla="*/ 4774636 w 4795825"/>
              <a:gd name="connsiteY4" fmla="*/ 3731801 h 4486229"/>
              <a:gd name="connsiteX5" fmla="*/ 3916488 w 4795825"/>
              <a:gd name="connsiteY5" fmla="*/ 4397393 h 4486229"/>
              <a:gd name="connsiteX6" fmla="*/ 2396911 w 4795825"/>
              <a:gd name="connsiteY6" fmla="*/ 4479722 h 4486229"/>
              <a:gd name="connsiteX7" fmla="*/ 0 w 4795825"/>
              <a:gd name="connsiteY7" fmla="*/ 3598162 h 4486229"/>
              <a:gd name="connsiteX0" fmla="*/ 0 w 4788585"/>
              <a:gd name="connsiteY0" fmla="*/ 3598162 h 4486229"/>
              <a:gd name="connsiteX1" fmla="*/ 1116240 w 4788585"/>
              <a:gd name="connsiteY1" fmla="*/ 0 h 4486229"/>
              <a:gd name="connsiteX2" fmla="*/ 2387173 w 4788585"/>
              <a:gd name="connsiteY2" fmla="*/ 0 h 4486229"/>
              <a:gd name="connsiteX3" fmla="*/ 4022812 w 4788585"/>
              <a:gd name="connsiteY3" fmla="*/ 1774695 h 4486229"/>
              <a:gd name="connsiteX4" fmla="*/ 4774636 w 4788585"/>
              <a:gd name="connsiteY4" fmla="*/ 3731801 h 4486229"/>
              <a:gd name="connsiteX5" fmla="*/ 3916488 w 4788585"/>
              <a:gd name="connsiteY5" fmla="*/ 4397393 h 4486229"/>
              <a:gd name="connsiteX6" fmla="*/ 2396911 w 4788585"/>
              <a:gd name="connsiteY6" fmla="*/ 4479722 h 4486229"/>
              <a:gd name="connsiteX7" fmla="*/ 0 w 4788585"/>
              <a:gd name="connsiteY7" fmla="*/ 3598162 h 4486229"/>
              <a:gd name="connsiteX0" fmla="*/ 0 w 4789166"/>
              <a:gd name="connsiteY0" fmla="*/ 3598162 h 4486229"/>
              <a:gd name="connsiteX1" fmla="*/ 1116240 w 4789166"/>
              <a:gd name="connsiteY1" fmla="*/ 0 h 4486229"/>
              <a:gd name="connsiteX2" fmla="*/ 2387173 w 4789166"/>
              <a:gd name="connsiteY2" fmla="*/ 0 h 4486229"/>
              <a:gd name="connsiteX3" fmla="*/ 4022812 w 4789166"/>
              <a:gd name="connsiteY3" fmla="*/ 1774695 h 4486229"/>
              <a:gd name="connsiteX4" fmla="*/ 4774636 w 4789166"/>
              <a:gd name="connsiteY4" fmla="*/ 3731801 h 4486229"/>
              <a:gd name="connsiteX5" fmla="*/ 3916488 w 4789166"/>
              <a:gd name="connsiteY5" fmla="*/ 4397393 h 4486229"/>
              <a:gd name="connsiteX6" fmla="*/ 2396911 w 4789166"/>
              <a:gd name="connsiteY6" fmla="*/ 4479722 h 4486229"/>
              <a:gd name="connsiteX7" fmla="*/ 0 w 4789166"/>
              <a:gd name="connsiteY7" fmla="*/ 3598162 h 4486229"/>
              <a:gd name="connsiteX0" fmla="*/ 0 w 4794089"/>
              <a:gd name="connsiteY0" fmla="*/ 3598162 h 4486229"/>
              <a:gd name="connsiteX1" fmla="*/ 1116240 w 4794089"/>
              <a:gd name="connsiteY1" fmla="*/ 0 h 4486229"/>
              <a:gd name="connsiteX2" fmla="*/ 2387173 w 4794089"/>
              <a:gd name="connsiteY2" fmla="*/ 0 h 4486229"/>
              <a:gd name="connsiteX3" fmla="*/ 4022812 w 4794089"/>
              <a:gd name="connsiteY3" fmla="*/ 1774695 h 4486229"/>
              <a:gd name="connsiteX4" fmla="*/ 4774636 w 4794089"/>
              <a:gd name="connsiteY4" fmla="*/ 3731801 h 4486229"/>
              <a:gd name="connsiteX5" fmla="*/ 3916488 w 4794089"/>
              <a:gd name="connsiteY5" fmla="*/ 4397393 h 4486229"/>
              <a:gd name="connsiteX6" fmla="*/ 2396911 w 4794089"/>
              <a:gd name="connsiteY6" fmla="*/ 4479722 h 4486229"/>
              <a:gd name="connsiteX7" fmla="*/ 0 w 4794089"/>
              <a:gd name="connsiteY7" fmla="*/ 3598162 h 4486229"/>
              <a:gd name="connsiteX0" fmla="*/ 0 w 4795830"/>
              <a:gd name="connsiteY0" fmla="*/ 3598162 h 4486229"/>
              <a:gd name="connsiteX1" fmla="*/ 1116240 w 4795830"/>
              <a:gd name="connsiteY1" fmla="*/ 0 h 4486229"/>
              <a:gd name="connsiteX2" fmla="*/ 2387173 w 4795830"/>
              <a:gd name="connsiteY2" fmla="*/ 0 h 4486229"/>
              <a:gd name="connsiteX3" fmla="*/ 4022812 w 4795830"/>
              <a:gd name="connsiteY3" fmla="*/ 1774695 h 4486229"/>
              <a:gd name="connsiteX4" fmla="*/ 4774636 w 4795830"/>
              <a:gd name="connsiteY4" fmla="*/ 3731801 h 4486229"/>
              <a:gd name="connsiteX5" fmla="*/ 3916488 w 4795830"/>
              <a:gd name="connsiteY5" fmla="*/ 4397393 h 4486229"/>
              <a:gd name="connsiteX6" fmla="*/ 2396911 w 4795830"/>
              <a:gd name="connsiteY6" fmla="*/ 4479722 h 4486229"/>
              <a:gd name="connsiteX7" fmla="*/ 0 w 4795830"/>
              <a:gd name="connsiteY7" fmla="*/ 3598162 h 4486229"/>
              <a:gd name="connsiteX0" fmla="*/ 0 w 4795830"/>
              <a:gd name="connsiteY0" fmla="*/ 3598162 h 4486229"/>
              <a:gd name="connsiteX1" fmla="*/ 1116240 w 4795830"/>
              <a:gd name="connsiteY1" fmla="*/ 0 h 4486229"/>
              <a:gd name="connsiteX2" fmla="*/ 2387173 w 4795830"/>
              <a:gd name="connsiteY2" fmla="*/ 0 h 4486229"/>
              <a:gd name="connsiteX3" fmla="*/ 4022812 w 4795830"/>
              <a:gd name="connsiteY3" fmla="*/ 1774695 h 4486229"/>
              <a:gd name="connsiteX4" fmla="*/ 4774636 w 4795830"/>
              <a:gd name="connsiteY4" fmla="*/ 3731801 h 4486229"/>
              <a:gd name="connsiteX5" fmla="*/ 3916488 w 4795830"/>
              <a:gd name="connsiteY5" fmla="*/ 4397393 h 4486229"/>
              <a:gd name="connsiteX6" fmla="*/ 2396911 w 4795830"/>
              <a:gd name="connsiteY6" fmla="*/ 4479722 h 4486229"/>
              <a:gd name="connsiteX7" fmla="*/ 0 w 4795830"/>
              <a:gd name="connsiteY7" fmla="*/ 3598162 h 4486229"/>
              <a:gd name="connsiteX0" fmla="*/ 0 w 4802783"/>
              <a:gd name="connsiteY0" fmla="*/ 3598162 h 4486229"/>
              <a:gd name="connsiteX1" fmla="*/ 1116240 w 4802783"/>
              <a:gd name="connsiteY1" fmla="*/ 0 h 4486229"/>
              <a:gd name="connsiteX2" fmla="*/ 2387173 w 4802783"/>
              <a:gd name="connsiteY2" fmla="*/ 0 h 4486229"/>
              <a:gd name="connsiteX3" fmla="*/ 4200021 w 4802783"/>
              <a:gd name="connsiteY3" fmla="*/ 2100760 h 4486229"/>
              <a:gd name="connsiteX4" fmla="*/ 4774636 w 4802783"/>
              <a:gd name="connsiteY4" fmla="*/ 3731801 h 4486229"/>
              <a:gd name="connsiteX5" fmla="*/ 3916488 w 4802783"/>
              <a:gd name="connsiteY5" fmla="*/ 4397393 h 4486229"/>
              <a:gd name="connsiteX6" fmla="*/ 2396911 w 4802783"/>
              <a:gd name="connsiteY6" fmla="*/ 4479722 h 4486229"/>
              <a:gd name="connsiteX7" fmla="*/ 0 w 4802783"/>
              <a:gd name="connsiteY7" fmla="*/ 3598162 h 4486229"/>
              <a:gd name="connsiteX0" fmla="*/ 0 w 4797833"/>
              <a:gd name="connsiteY0" fmla="*/ 3598162 h 4486229"/>
              <a:gd name="connsiteX1" fmla="*/ 1116240 w 4797833"/>
              <a:gd name="connsiteY1" fmla="*/ 0 h 4486229"/>
              <a:gd name="connsiteX2" fmla="*/ 2387173 w 4797833"/>
              <a:gd name="connsiteY2" fmla="*/ 0 h 4486229"/>
              <a:gd name="connsiteX3" fmla="*/ 4200021 w 4797833"/>
              <a:gd name="connsiteY3" fmla="*/ 2100760 h 4486229"/>
              <a:gd name="connsiteX4" fmla="*/ 4774636 w 4797833"/>
              <a:gd name="connsiteY4" fmla="*/ 3731801 h 4486229"/>
              <a:gd name="connsiteX5" fmla="*/ 3916488 w 4797833"/>
              <a:gd name="connsiteY5" fmla="*/ 4397393 h 4486229"/>
              <a:gd name="connsiteX6" fmla="*/ 2396911 w 4797833"/>
              <a:gd name="connsiteY6" fmla="*/ 4479722 h 4486229"/>
              <a:gd name="connsiteX7" fmla="*/ 0 w 4797833"/>
              <a:gd name="connsiteY7" fmla="*/ 3598162 h 4486229"/>
              <a:gd name="connsiteX0" fmla="*/ 0 w 4797592"/>
              <a:gd name="connsiteY0" fmla="*/ 3598162 h 4486229"/>
              <a:gd name="connsiteX1" fmla="*/ 1116240 w 4797592"/>
              <a:gd name="connsiteY1" fmla="*/ 0 h 4486229"/>
              <a:gd name="connsiteX2" fmla="*/ 2387173 w 4797592"/>
              <a:gd name="connsiteY2" fmla="*/ 0 h 4486229"/>
              <a:gd name="connsiteX3" fmla="*/ 4200021 w 4797592"/>
              <a:gd name="connsiteY3" fmla="*/ 2100760 h 4486229"/>
              <a:gd name="connsiteX4" fmla="*/ 4774636 w 4797592"/>
              <a:gd name="connsiteY4" fmla="*/ 3731801 h 4486229"/>
              <a:gd name="connsiteX5" fmla="*/ 3916488 w 4797592"/>
              <a:gd name="connsiteY5" fmla="*/ 4397393 h 4486229"/>
              <a:gd name="connsiteX6" fmla="*/ 2396911 w 4797592"/>
              <a:gd name="connsiteY6" fmla="*/ 4479722 h 4486229"/>
              <a:gd name="connsiteX7" fmla="*/ 0 w 4797592"/>
              <a:gd name="connsiteY7" fmla="*/ 3598162 h 4486229"/>
              <a:gd name="connsiteX0" fmla="*/ 0 w 4795619"/>
              <a:gd name="connsiteY0" fmla="*/ 3598162 h 4486229"/>
              <a:gd name="connsiteX1" fmla="*/ 1116240 w 4795619"/>
              <a:gd name="connsiteY1" fmla="*/ 0 h 4486229"/>
              <a:gd name="connsiteX2" fmla="*/ 2387173 w 4795619"/>
              <a:gd name="connsiteY2" fmla="*/ 0 h 4486229"/>
              <a:gd name="connsiteX3" fmla="*/ 4200021 w 4795619"/>
              <a:gd name="connsiteY3" fmla="*/ 2100760 h 4486229"/>
              <a:gd name="connsiteX4" fmla="*/ 4774636 w 4795619"/>
              <a:gd name="connsiteY4" fmla="*/ 3731801 h 4486229"/>
              <a:gd name="connsiteX5" fmla="*/ 3916488 w 4795619"/>
              <a:gd name="connsiteY5" fmla="*/ 4397393 h 4486229"/>
              <a:gd name="connsiteX6" fmla="*/ 2396911 w 4795619"/>
              <a:gd name="connsiteY6" fmla="*/ 4479722 h 4486229"/>
              <a:gd name="connsiteX7" fmla="*/ 0 w 4795619"/>
              <a:gd name="connsiteY7" fmla="*/ 3598162 h 4486229"/>
              <a:gd name="connsiteX0" fmla="*/ 0 w 4794842"/>
              <a:gd name="connsiteY0" fmla="*/ 3598162 h 4486229"/>
              <a:gd name="connsiteX1" fmla="*/ 1116240 w 4794842"/>
              <a:gd name="connsiteY1" fmla="*/ 0 h 4486229"/>
              <a:gd name="connsiteX2" fmla="*/ 2387173 w 4794842"/>
              <a:gd name="connsiteY2" fmla="*/ 0 h 4486229"/>
              <a:gd name="connsiteX3" fmla="*/ 4200021 w 4794842"/>
              <a:gd name="connsiteY3" fmla="*/ 2100760 h 4486229"/>
              <a:gd name="connsiteX4" fmla="*/ 4774636 w 4794842"/>
              <a:gd name="connsiteY4" fmla="*/ 3731801 h 4486229"/>
              <a:gd name="connsiteX5" fmla="*/ 3916488 w 4794842"/>
              <a:gd name="connsiteY5" fmla="*/ 4397393 h 4486229"/>
              <a:gd name="connsiteX6" fmla="*/ 2396911 w 4794842"/>
              <a:gd name="connsiteY6" fmla="*/ 4479722 h 4486229"/>
              <a:gd name="connsiteX7" fmla="*/ 0 w 4794842"/>
              <a:gd name="connsiteY7" fmla="*/ 3598162 h 4486229"/>
              <a:gd name="connsiteX0" fmla="*/ 0 w 4794294"/>
              <a:gd name="connsiteY0" fmla="*/ 3598162 h 4486229"/>
              <a:gd name="connsiteX1" fmla="*/ 1116240 w 4794294"/>
              <a:gd name="connsiteY1" fmla="*/ 0 h 4486229"/>
              <a:gd name="connsiteX2" fmla="*/ 2387173 w 4794294"/>
              <a:gd name="connsiteY2" fmla="*/ 0 h 4486229"/>
              <a:gd name="connsiteX3" fmla="*/ 4200021 w 4794294"/>
              <a:gd name="connsiteY3" fmla="*/ 2100760 h 4486229"/>
              <a:gd name="connsiteX4" fmla="*/ 4774636 w 4794294"/>
              <a:gd name="connsiteY4" fmla="*/ 3731801 h 4486229"/>
              <a:gd name="connsiteX5" fmla="*/ 3916488 w 4794294"/>
              <a:gd name="connsiteY5" fmla="*/ 4397393 h 4486229"/>
              <a:gd name="connsiteX6" fmla="*/ 2396911 w 4794294"/>
              <a:gd name="connsiteY6" fmla="*/ 4479722 h 4486229"/>
              <a:gd name="connsiteX7" fmla="*/ 0 w 4794294"/>
              <a:gd name="connsiteY7" fmla="*/ 3598162 h 4486229"/>
              <a:gd name="connsiteX0" fmla="*/ 0 w 4799753"/>
              <a:gd name="connsiteY0" fmla="*/ 3598162 h 4486229"/>
              <a:gd name="connsiteX1" fmla="*/ 1116240 w 4799753"/>
              <a:gd name="connsiteY1" fmla="*/ 0 h 4486229"/>
              <a:gd name="connsiteX2" fmla="*/ 2387173 w 4799753"/>
              <a:gd name="connsiteY2" fmla="*/ 0 h 4486229"/>
              <a:gd name="connsiteX3" fmla="*/ 4200021 w 4799753"/>
              <a:gd name="connsiteY3" fmla="*/ 2100760 h 4486229"/>
              <a:gd name="connsiteX4" fmla="*/ 4774636 w 4799753"/>
              <a:gd name="connsiteY4" fmla="*/ 3731801 h 4486229"/>
              <a:gd name="connsiteX5" fmla="*/ 3916488 w 4799753"/>
              <a:gd name="connsiteY5" fmla="*/ 4397393 h 4486229"/>
              <a:gd name="connsiteX6" fmla="*/ 2396911 w 4799753"/>
              <a:gd name="connsiteY6" fmla="*/ 4479722 h 4486229"/>
              <a:gd name="connsiteX7" fmla="*/ 0 w 4799753"/>
              <a:gd name="connsiteY7" fmla="*/ 3598162 h 4486229"/>
              <a:gd name="connsiteX0" fmla="*/ 0 w 4795092"/>
              <a:gd name="connsiteY0" fmla="*/ 3598162 h 4486229"/>
              <a:gd name="connsiteX1" fmla="*/ 1116240 w 4795092"/>
              <a:gd name="connsiteY1" fmla="*/ 0 h 4486229"/>
              <a:gd name="connsiteX2" fmla="*/ 2387173 w 4795092"/>
              <a:gd name="connsiteY2" fmla="*/ 0 h 4486229"/>
              <a:gd name="connsiteX3" fmla="*/ 4019046 w 4795092"/>
              <a:gd name="connsiteY3" fmla="*/ 1764210 h 4486229"/>
              <a:gd name="connsiteX4" fmla="*/ 4774636 w 4795092"/>
              <a:gd name="connsiteY4" fmla="*/ 3731801 h 4486229"/>
              <a:gd name="connsiteX5" fmla="*/ 3916488 w 4795092"/>
              <a:gd name="connsiteY5" fmla="*/ 4397393 h 4486229"/>
              <a:gd name="connsiteX6" fmla="*/ 2396911 w 4795092"/>
              <a:gd name="connsiteY6" fmla="*/ 4479722 h 4486229"/>
              <a:gd name="connsiteX7" fmla="*/ 0 w 4795092"/>
              <a:gd name="connsiteY7" fmla="*/ 3598162 h 4486229"/>
              <a:gd name="connsiteX0" fmla="*/ 0 w 4795157"/>
              <a:gd name="connsiteY0" fmla="*/ 3598162 h 4486229"/>
              <a:gd name="connsiteX1" fmla="*/ 1116240 w 4795157"/>
              <a:gd name="connsiteY1" fmla="*/ 0 h 4486229"/>
              <a:gd name="connsiteX2" fmla="*/ 2387173 w 4795157"/>
              <a:gd name="connsiteY2" fmla="*/ 0 h 4486229"/>
              <a:gd name="connsiteX3" fmla="*/ 4019046 w 4795157"/>
              <a:gd name="connsiteY3" fmla="*/ 1764210 h 4486229"/>
              <a:gd name="connsiteX4" fmla="*/ 4774636 w 4795157"/>
              <a:gd name="connsiteY4" fmla="*/ 3731801 h 4486229"/>
              <a:gd name="connsiteX5" fmla="*/ 3916488 w 4795157"/>
              <a:gd name="connsiteY5" fmla="*/ 4397393 h 4486229"/>
              <a:gd name="connsiteX6" fmla="*/ 2396911 w 4795157"/>
              <a:gd name="connsiteY6" fmla="*/ 4479722 h 4486229"/>
              <a:gd name="connsiteX7" fmla="*/ 0 w 4795157"/>
              <a:gd name="connsiteY7" fmla="*/ 3598162 h 4486229"/>
              <a:gd name="connsiteX0" fmla="*/ 0 w 4774636"/>
              <a:gd name="connsiteY0" fmla="*/ 3598162 h 4486229"/>
              <a:gd name="connsiteX1" fmla="*/ 1116240 w 4774636"/>
              <a:gd name="connsiteY1" fmla="*/ 0 h 4486229"/>
              <a:gd name="connsiteX2" fmla="*/ 2387173 w 4774636"/>
              <a:gd name="connsiteY2" fmla="*/ 0 h 4486229"/>
              <a:gd name="connsiteX3" fmla="*/ 4774636 w 4774636"/>
              <a:gd name="connsiteY3" fmla="*/ 3731801 h 4486229"/>
              <a:gd name="connsiteX4" fmla="*/ 3916488 w 4774636"/>
              <a:gd name="connsiteY4" fmla="*/ 4397393 h 4486229"/>
              <a:gd name="connsiteX5" fmla="*/ 2396911 w 4774636"/>
              <a:gd name="connsiteY5" fmla="*/ 4479722 h 4486229"/>
              <a:gd name="connsiteX6" fmla="*/ 0 w 4774636"/>
              <a:gd name="connsiteY6" fmla="*/ 3598162 h 4486229"/>
              <a:gd name="connsiteX0" fmla="*/ 0 w 4798862"/>
              <a:gd name="connsiteY0" fmla="*/ 3598162 h 4486229"/>
              <a:gd name="connsiteX1" fmla="*/ 1116240 w 4798862"/>
              <a:gd name="connsiteY1" fmla="*/ 0 h 4486229"/>
              <a:gd name="connsiteX2" fmla="*/ 2387173 w 4798862"/>
              <a:gd name="connsiteY2" fmla="*/ 0 h 4486229"/>
              <a:gd name="connsiteX3" fmla="*/ 4774636 w 4798862"/>
              <a:gd name="connsiteY3" fmla="*/ 3731801 h 4486229"/>
              <a:gd name="connsiteX4" fmla="*/ 3916488 w 4798862"/>
              <a:gd name="connsiteY4" fmla="*/ 4397393 h 4486229"/>
              <a:gd name="connsiteX5" fmla="*/ 2396911 w 4798862"/>
              <a:gd name="connsiteY5" fmla="*/ 4479722 h 4486229"/>
              <a:gd name="connsiteX6" fmla="*/ 0 w 4798862"/>
              <a:gd name="connsiteY6" fmla="*/ 3598162 h 4486229"/>
              <a:gd name="connsiteX0" fmla="*/ 0 w 4807335"/>
              <a:gd name="connsiteY0" fmla="*/ 3598162 h 4486229"/>
              <a:gd name="connsiteX1" fmla="*/ 1116240 w 4807335"/>
              <a:gd name="connsiteY1" fmla="*/ 0 h 4486229"/>
              <a:gd name="connsiteX2" fmla="*/ 2387173 w 4807335"/>
              <a:gd name="connsiteY2" fmla="*/ 0 h 4486229"/>
              <a:gd name="connsiteX3" fmla="*/ 4774636 w 4807335"/>
              <a:gd name="connsiteY3" fmla="*/ 3731801 h 4486229"/>
              <a:gd name="connsiteX4" fmla="*/ 3916488 w 4807335"/>
              <a:gd name="connsiteY4" fmla="*/ 4397393 h 4486229"/>
              <a:gd name="connsiteX5" fmla="*/ 2396911 w 4807335"/>
              <a:gd name="connsiteY5" fmla="*/ 4479722 h 4486229"/>
              <a:gd name="connsiteX6" fmla="*/ 0 w 4807335"/>
              <a:gd name="connsiteY6" fmla="*/ 3598162 h 4486229"/>
              <a:gd name="connsiteX0" fmla="*/ 0 w 4788519"/>
              <a:gd name="connsiteY0" fmla="*/ 3598162 h 4486229"/>
              <a:gd name="connsiteX1" fmla="*/ 1116240 w 4788519"/>
              <a:gd name="connsiteY1" fmla="*/ 0 h 4486229"/>
              <a:gd name="connsiteX2" fmla="*/ 2387173 w 4788519"/>
              <a:gd name="connsiteY2" fmla="*/ 0 h 4486229"/>
              <a:gd name="connsiteX3" fmla="*/ 4292171 w 4788519"/>
              <a:gd name="connsiteY3" fmla="*/ 1829703 h 4486229"/>
              <a:gd name="connsiteX4" fmla="*/ 4774636 w 4788519"/>
              <a:gd name="connsiteY4" fmla="*/ 3731801 h 4486229"/>
              <a:gd name="connsiteX5" fmla="*/ 3916488 w 4788519"/>
              <a:gd name="connsiteY5" fmla="*/ 4397393 h 4486229"/>
              <a:gd name="connsiteX6" fmla="*/ 2396911 w 4788519"/>
              <a:gd name="connsiteY6" fmla="*/ 4479722 h 4486229"/>
              <a:gd name="connsiteX7" fmla="*/ 0 w 4788519"/>
              <a:gd name="connsiteY7" fmla="*/ 3598162 h 4486229"/>
              <a:gd name="connsiteX0" fmla="*/ 0 w 4788519"/>
              <a:gd name="connsiteY0" fmla="*/ 3598162 h 4486229"/>
              <a:gd name="connsiteX1" fmla="*/ 1116240 w 4788519"/>
              <a:gd name="connsiteY1" fmla="*/ 0 h 4486229"/>
              <a:gd name="connsiteX2" fmla="*/ 2387173 w 4788519"/>
              <a:gd name="connsiteY2" fmla="*/ 0 h 4486229"/>
              <a:gd name="connsiteX3" fmla="*/ 4292171 w 4788519"/>
              <a:gd name="connsiteY3" fmla="*/ 1829703 h 4486229"/>
              <a:gd name="connsiteX4" fmla="*/ 4774636 w 4788519"/>
              <a:gd name="connsiteY4" fmla="*/ 3731801 h 4486229"/>
              <a:gd name="connsiteX5" fmla="*/ 3916488 w 4788519"/>
              <a:gd name="connsiteY5" fmla="*/ 4397393 h 4486229"/>
              <a:gd name="connsiteX6" fmla="*/ 2396911 w 4788519"/>
              <a:gd name="connsiteY6" fmla="*/ 4479722 h 4486229"/>
              <a:gd name="connsiteX7" fmla="*/ 0 w 4788519"/>
              <a:gd name="connsiteY7" fmla="*/ 3598162 h 4486229"/>
              <a:gd name="connsiteX0" fmla="*/ 0 w 4788519"/>
              <a:gd name="connsiteY0" fmla="*/ 3598162 h 4486229"/>
              <a:gd name="connsiteX1" fmla="*/ 1116240 w 4788519"/>
              <a:gd name="connsiteY1" fmla="*/ 0 h 4486229"/>
              <a:gd name="connsiteX2" fmla="*/ 2387173 w 4788519"/>
              <a:gd name="connsiteY2" fmla="*/ 0 h 4486229"/>
              <a:gd name="connsiteX3" fmla="*/ 4292171 w 4788519"/>
              <a:gd name="connsiteY3" fmla="*/ 1829703 h 4486229"/>
              <a:gd name="connsiteX4" fmla="*/ 4774636 w 4788519"/>
              <a:gd name="connsiteY4" fmla="*/ 3731801 h 4486229"/>
              <a:gd name="connsiteX5" fmla="*/ 3916488 w 4788519"/>
              <a:gd name="connsiteY5" fmla="*/ 4397393 h 4486229"/>
              <a:gd name="connsiteX6" fmla="*/ 2396911 w 4788519"/>
              <a:gd name="connsiteY6" fmla="*/ 4479722 h 4486229"/>
              <a:gd name="connsiteX7" fmla="*/ 0 w 4788519"/>
              <a:gd name="connsiteY7" fmla="*/ 3598162 h 4486229"/>
              <a:gd name="connsiteX0" fmla="*/ 0 w 4781405"/>
              <a:gd name="connsiteY0" fmla="*/ 3598162 h 4486229"/>
              <a:gd name="connsiteX1" fmla="*/ 1116240 w 4781405"/>
              <a:gd name="connsiteY1" fmla="*/ 0 h 4486229"/>
              <a:gd name="connsiteX2" fmla="*/ 2387173 w 4781405"/>
              <a:gd name="connsiteY2" fmla="*/ 0 h 4486229"/>
              <a:gd name="connsiteX3" fmla="*/ 4057221 w 4781405"/>
              <a:gd name="connsiteY3" fmla="*/ 1826528 h 4486229"/>
              <a:gd name="connsiteX4" fmla="*/ 4774636 w 4781405"/>
              <a:gd name="connsiteY4" fmla="*/ 3731801 h 4486229"/>
              <a:gd name="connsiteX5" fmla="*/ 3916488 w 4781405"/>
              <a:gd name="connsiteY5" fmla="*/ 4397393 h 4486229"/>
              <a:gd name="connsiteX6" fmla="*/ 2396911 w 4781405"/>
              <a:gd name="connsiteY6" fmla="*/ 4479722 h 4486229"/>
              <a:gd name="connsiteX7" fmla="*/ 0 w 4781405"/>
              <a:gd name="connsiteY7" fmla="*/ 3598162 h 4486229"/>
              <a:gd name="connsiteX0" fmla="*/ 0 w 4798396"/>
              <a:gd name="connsiteY0" fmla="*/ 3598162 h 4486229"/>
              <a:gd name="connsiteX1" fmla="*/ 1116240 w 4798396"/>
              <a:gd name="connsiteY1" fmla="*/ 0 h 4486229"/>
              <a:gd name="connsiteX2" fmla="*/ 2387173 w 4798396"/>
              <a:gd name="connsiteY2" fmla="*/ 0 h 4486229"/>
              <a:gd name="connsiteX3" fmla="*/ 4057221 w 4798396"/>
              <a:gd name="connsiteY3" fmla="*/ 1826528 h 4486229"/>
              <a:gd name="connsiteX4" fmla="*/ 4774636 w 4798396"/>
              <a:gd name="connsiteY4" fmla="*/ 3731801 h 4486229"/>
              <a:gd name="connsiteX5" fmla="*/ 3916488 w 4798396"/>
              <a:gd name="connsiteY5" fmla="*/ 4397393 h 4486229"/>
              <a:gd name="connsiteX6" fmla="*/ 2396911 w 4798396"/>
              <a:gd name="connsiteY6" fmla="*/ 4479722 h 4486229"/>
              <a:gd name="connsiteX7" fmla="*/ 0 w 4798396"/>
              <a:gd name="connsiteY7" fmla="*/ 3598162 h 4486229"/>
              <a:gd name="connsiteX0" fmla="*/ 0 w 4799552"/>
              <a:gd name="connsiteY0" fmla="*/ 3598162 h 4486229"/>
              <a:gd name="connsiteX1" fmla="*/ 1116240 w 4799552"/>
              <a:gd name="connsiteY1" fmla="*/ 0 h 4486229"/>
              <a:gd name="connsiteX2" fmla="*/ 2387173 w 4799552"/>
              <a:gd name="connsiteY2" fmla="*/ 0 h 4486229"/>
              <a:gd name="connsiteX3" fmla="*/ 4057221 w 4799552"/>
              <a:gd name="connsiteY3" fmla="*/ 1826528 h 4486229"/>
              <a:gd name="connsiteX4" fmla="*/ 4774636 w 4799552"/>
              <a:gd name="connsiteY4" fmla="*/ 3731801 h 4486229"/>
              <a:gd name="connsiteX5" fmla="*/ 3916488 w 4799552"/>
              <a:gd name="connsiteY5" fmla="*/ 4397393 h 4486229"/>
              <a:gd name="connsiteX6" fmla="*/ 2396911 w 4799552"/>
              <a:gd name="connsiteY6" fmla="*/ 4479722 h 4486229"/>
              <a:gd name="connsiteX7" fmla="*/ 0 w 4799552"/>
              <a:gd name="connsiteY7" fmla="*/ 3598162 h 4486229"/>
              <a:gd name="connsiteX0" fmla="*/ 0 w 4799552"/>
              <a:gd name="connsiteY0" fmla="*/ 3598195 h 4486262"/>
              <a:gd name="connsiteX1" fmla="*/ 1116240 w 4799552"/>
              <a:gd name="connsiteY1" fmla="*/ 33 h 4486262"/>
              <a:gd name="connsiteX2" fmla="*/ 2387173 w 4799552"/>
              <a:gd name="connsiteY2" fmla="*/ 33 h 4486262"/>
              <a:gd name="connsiteX3" fmla="*/ 4057221 w 4799552"/>
              <a:gd name="connsiteY3" fmla="*/ 1826561 h 4486262"/>
              <a:gd name="connsiteX4" fmla="*/ 4774636 w 4799552"/>
              <a:gd name="connsiteY4" fmla="*/ 3731834 h 4486262"/>
              <a:gd name="connsiteX5" fmla="*/ 3916488 w 4799552"/>
              <a:gd name="connsiteY5" fmla="*/ 4397426 h 4486262"/>
              <a:gd name="connsiteX6" fmla="*/ 2396911 w 4799552"/>
              <a:gd name="connsiteY6" fmla="*/ 4479755 h 4486262"/>
              <a:gd name="connsiteX7" fmla="*/ 0 w 4799552"/>
              <a:gd name="connsiteY7" fmla="*/ 3598195 h 4486262"/>
              <a:gd name="connsiteX0" fmla="*/ 0 w 4822130"/>
              <a:gd name="connsiteY0" fmla="*/ 3598183 h 4486250"/>
              <a:gd name="connsiteX1" fmla="*/ 1116240 w 4822130"/>
              <a:gd name="connsiteY1" fmla="*/ 21 h 4486250"/>
              <a:gd name="connsiteX2" fmla="*/ 2387173 w 4822130"/>
              <a:gd name="connsiteY2" fmla="*/ 21 h 4486250"/>
              <a:gd name="connsiteX3" fmla="*/ 4057221 w 4822130"/>
              <a:gd name="connsiteY3" fmla="*/ 1826549 h 4486250"/>
              <a:gd name="connsiteX4" fmla="*/ 4774636 w 4822130"/>
              <a:gd name="connsiteY4" fmla="*/ 3731822 h 4486250"/>
              <a:gd name="connsiteX5" fmla="*/ 3916488 w 4822130"/>
              <a:gd name="connsiteY5" fmla="*/ 4397414 h 4486250"/>
              <a:gd name="connsiteX6" fmla="*/ 2396911 w 4822130"/>
              <a:gd name="connsiteY6" fmla="*/ 4479743 h 4486250"/>
              <a:gd name="connsiteX7" fmla="*/ 0 w 4822130"/>
              <a:gd name="connsiteY7" fmla="*/ 3598183 h 4486250"/>
              <a:gd name="connsiteX0" fmla="*/ 0 w 4822130"/>
              <a:gd name="connsiteY0" fmla="*/ 3598162 h 4486229"/>
              <a:gd name="connsiteX1" fmla="*/ 1116240 w 4822130"/>
              <a:gd name="connsiteY1" fmla="*/ 0 h 4486229"/>
              <a:gd name="connsiteX2" fmla="*/ 2387173 w 4822130"/>
              <a:gd name="connsiteY2" fmla="*/ 0 h 4486229"/>
              <a:gd name="connsiteX3" fmla="*/ 4057221 w 4822130"/>
              <a:gd name="connsiteY3" fmla="*/ 1826528 h 4486229"/>
              <a:gd name="connsiteX4" fmla="*/ 4774636 w 4822130"/>
              <a:gd name="connsiteY4" fmla="*/ 3731801 h 4486229"/>
              <a:gd name="connsiteX5" fmla="*/ 3916488 w 4822130"/>
              <a:gd name="connsiteY5" fmla="*/ 4397393 h 4486229"/>
              <a:gd name="connsiteX6" fmla="*/ 2396911 w 4822130"/>
              <a:gd name="connsiteY6" fmla="*/ 4479722 h 4486229"/>
              <a:gd name="connsiteX7" fmla="*/ 0 w 4822130"/>
              <a:gd name="connsiteY7" fmla="*/ 3598162 h 4486229"/>
              <a:gd name="connsiteX0" fmla="*/ 0 w 4807880"/>
              <a:gd name="connsiteY0" fmla="*/ 3598162 h 4486229"/>
              <a:gd name="connsiteX1" fmla="*/ 1116240 w 4807880"/>
              <a:gd name="connsiteY1" fmla="*/ 0 h 4486229"/>
              <a:gd name="connsiteX2" fmla="*/ 2387173 w 4807880"/>
              <a:gd name="connsiteY2" fmla="*/ 0 h 4486229"/>
              <a:gd name="connsiteX3" fmla="*/ 4057221 w 4807880"/>
              <a:gd name="connsiteY3" fmla="*/ 1826528 h 4486229"/>
              <a:gd name="connsiteX4" fmla="*/ 4774636 w 4807880"/>
              <a:gd name="connsiteY4" fmla="*/ 3731801 h 4486229"/>
              <a:gd name="connsiteX5" fmla="*/ 3916488 w 4807880"/>
              <a:gd name="connsiteY5" fmla="*/ 4397393 h 4486229"/>
              <a:gd name="connsiteX6" fmla="*/ 2396911 w 4807880"/>
              <a:gd name="connsiteY6" fmla="*/ 4479722 h 4486229"/>
              <a:gd name="connsiteX7" fmla="*/ 0 w 4807880"/>
              <a:gd name="connsiteY7" fmla="*/ 3598162 h 4486229"/>
              <a:gd name="connsiteX0" fmla="*/ 0 w 4807880"/>
              <a:gd name="connsiteY0" fmla="*/ 3598323 h 4486390"/>
              <a:gd name="connsiteX1" fmla="*/ 1116240 w 4807880"/>
              <a:gd name="connsiteY1" fmla="*/ 161 h 4486390"/>
              <a:gd name="connsiteX2" fmla="*/ 2387173 w 4807880"/>
              <a:gd name="connsiteY2" fmla="*/ 161 h 4486390"/>
              <a:gd name="connsiteX3" fmla="*/ 4057221 w 4807880"/>
              <a:gd name="connsiteY3" fmla="*/ 1826689 h 4486390"/>
              <a:gd name="connsiteX4" fmla="*/ 4774636 w 4807880"/>
              <a:gd name="connsiteY4" fmla="*/ 3731962 h 4486390"/>
              <a:gd name="connsiteX5" fmla="*/ 3916488 w 4807880"/>
              <a:gd name="connsiteY5" fmla="*/ 4397554 h 4486390"/>
              <a:gd name="connsiteX6" fmla="*/ 2396911 w 4807880"/>
              <a:gd name="connsiteY6" fmla="*/ 4479883 h 4486390"/>
              <a:gd name="connsiteX7" fmla="*/ 0 w 4807880"/>
              <a:gd name="connsiteY7" fmla="*/ 3598323 h 4486390"/>
              <a:gd name="connsiteX0" fmla="*/ 0 w 4794686"/>
              <a:gd name="connsiteY0" fmla="*/ 3598343 h 4486410"/>
              <a:gd name="connsiteX1" fmla="*/ 1116240 w 4794686"/>
              <a:gd name="connsiteY1" fmla="*/ 181 h 4486410"/>
              <a:gd name="connsiteX2" fmla="*/ 2387173 w 4794686"/>
              <a:gd name="connsiteY2" fmla="*/ 181 h 4486410"/>
              <a:gd name="connsiteX3" fmla="*/ 3955621 w 4794686"/>
              <a:gd name="connsiteY3" fmla="*/ 1648909 h 4486410"/>
              <a:gd name="connsiteX4" fmla="*/ 4774636 w 4794686"/>
              <a:gd name="connsiteY4" fmla="*/ 3731982 h 4486410"/>
              <a:gd name="connsiteX5" fmla="*/ 3916488 w 4794686"/>
              <a:gd name="connsiteY5" fmla="*/ 4397574 h 4486410"/>
              <a:gd name="connsiteX6" fmla="*/ 2396911 w 4794686"/>
              <a:gd name="connsiteY6" fmla="*/ 4479903 h 4486410"/>
              <a:gd name="connsiteX7" fmla="*/ 0 w 4794686"/>
              <a:gd name="connsiteY7" fmla="*/ 3598343 h 4486410"/>
              <a:gd name="connsiteX0" fmla="*/ 0 w 4790281"/>
              <a:gd name="connsiteY0" fmla="*/ 3598348 h 4486415"/>
              <a:gd name="connsiteX1" fmla="*/ 1116240 w 4790281"/>
              <a:gd name="connsiteY1" fmla="*/ 186 h 4486415"/>
              <a:gd name="connsiteX2" fmla="*/ 2387173 w 4790281"/>
              <a:gd name="connsiteY2" fmla="*/ 186 h 4486415"/>
              <a:gd name="connsiteX3" fmla="*/ 3955621 w 4790281"/>
              <a:gd name="connsiteY3" fmla="*/ 1648914 h 4486415"/>
              <a:gd name="connsiteX4" fmla="*/ 4774636 w 4790281"/>
              <a:gd name="connsiteY4" fmla="*/ 3731987 h 4486415"/>
              <a:gd name="connsiteX5" fmla="*/ 3916488 w 4790281"/>
              <a:gd name="connsiteY5" fmla="*/ 4397579 h 4486415"/>
              <a:gd name="connsiteX6" fmla="*/ 2396911 w 4790281"/>
              <a:gd name="connsiteY6" fmla="*/ 4479908 h 4486415"/>
              <a:gd name="connsiteX7" fmla="*/ 0 w 4790281"/>
              <a:gd name="connsiteY7" fmla="*/ 3598348 h 4486415"/>
              <a:gd name="connsiteX0" fmla="*/ 0 w 4794171"/>
              <a:gd name="connsiteY0" fmla="*/ 3598348 h 4486415"/>
              <a:gd name="connsiteX1" fmla="*/ 1116240 w 4794171"/>
              <a:gd name="connsiteY1" fmla="*/ 186 h 4486415"/>
              <a:gd name="connsiteX2" fmla="*/ 2387173 w 4794171"/>
              <a:gd name="connsiteY2" fmla="*/ 186 h 4486415"/>
              <a:gd name="connsiteX3" fmla="*/ 3955621 w 4794171"/>
              <a:gd name="connsiteY3" fmla="*/ 1648914 h 4486415"/>
              <a:gd name="connsiteX4" fmla="*/ 4774636 w 4794171"/>
              <a:gd name="connsiteY4" fmla="*/ 3731987 h 4486415"/>
              <a:gd name="connsiteX5" fmla="*/ 3916488 w 4794171"/>
              <a:gd name="connsiteY5" fmla="*/ 4397579 h 4486415"/>
              <a:gd name="connsiteX6" fmla="*/ 2396911 w 4794171"/>
              <a:gd name="connsiteY6" fmla="*/ 4479908 h 4486415"/>
              <a:gd name="connsiteX7" fmla="*/ 0 w 4794171"/>
              <a:gd name="connsiteY7" fmla="*/ 3598348 h 4486415"/>
              <a:gd name="connsiteX0" fmla="*/ 0 w 4793147"/>
              <a:gd name="connsiteY0" fmla="*/ 3598348 h 4486415"/>
              <a:gd name="connsiteX1" fmla="*/ 1116240 w 4793147"/>
              <a:gd name="connsiteY1" fmla="*/ 186 h 4486415"/>
              <a:gd name="connsiteX2" fmla="*/ 2387173 w 4793147"/>
              <a:gd name="connsiteY2" fmla="*/ 186 h 4486415"/>
              <a:gd name="connsiteX3" fmla="*/ 3955621 w 4793147"/>
              <a:gd name="connsiteY3" fmla="*/ 1648914 h 4486415"/>
              <a:gd name="connsiteX4" fmla="*/ 4774636 w 4793147"/>
              <a:gd name="connsiteY4" fmla="*/ 3731987 h 4486415"/>
              <a:gd name="connsiteX5" fmla="*/ 3916488 w 4793147"/>
              <a:gd name="connsiteY5" fmla="*/ 4397579 h 4486415"/>
              <a:gd name="connsiteX6" fmla="*/ 2396911 w 4793147"/>
              <a:gd name="connsiteY6" fmla="*/ 4479908 h 4486415"/>
              <a:gd name="connsiteX7" fmla="*/ 0 w 4793147"/>
              <a:gd name="connsiteY7" fmla="*/ 3598348 h 4486415"/>
              <a:gd name="connsiteX0" fmla="*/ 0 w 4776428"/>
              <a:gd name="connsiteY0" fmla="*/ 3598322 h 4486389"/>
              <a:gd name="connsiteX1" fmla="*/ 1116240 w 4776428"/>
              <a:gd name="connsiteY1" fmla="*/ 160 h 4486389"/>
              <a:gd name="connsiteX2" fmla="*/ 2387173 w 4776428"/>
              <a:gd name="connsiteY2" fmla="*/ 160 h 4486389"/>
              <a:gd name="connsiteX3" fmla="*/ 3955621 w 4776428"/>
              <a:gd name="connsiteY3" fmla="*/ 1648888 h 4486389"/>
              <a:gd name="connsiteX4" fmla="*/ 4774636 w 4776428"/>
              <a:gd name="connsiteY4" fmla="*/ 3731961 h 4486389"/>
              <a:gd name="connsiteX5" fmla="*/ 3916488 w 4776428"/>
              <a:gd name="connsiteY5" fmla="*/ 4397553 h 4486389"/>
              <a:gd name="connsiteX6" fmla="*/ 2396911 w 4776428"/>
              <a:gd name="connsiteY6" fmla="*/ 4479882 h 4486389"/>
              <a:gd name="connsiteX7" fmla="*/ 0 w 4776428"/>
              <a:gd name="connsiteY7" fmla="*/ 3598322 h 4486389"/>
              <a:gd name="connsiteX0" fmla="*/ 0 w 4793322"/>
              <a:gd name="connsiteY0" fmla="*/ 3598322 h 4486389"/>
              <a:gd name="connsiteX1" fmla="*/ 1116240 w 4793322"/>
              <a:gd name="connsiteY1" fmla="*/ 160 h 4486389"/>
              <a:gd name="connsiteX2" fmla="*/ 2387173 w 4793322"/>
              <a:gd name="connsiteY2" fmla="*/ 160 h 4486389"/>
              <a:gd name="connsiteX3" fmla="*/ 3955621 w 4793322"/>
              <a:gd name="connsiteY3" fmla="*/ 1648888 h 4486389"/>
              <a:gd name="connsiteX4" fmla="*/ 4774636 w 4793322"/>
              <a:gd name="connsiteY4" fmla="*/ 3731961 h 4486389"/>
              <a:gd name="connsiteX5" fmla="*/ 3916488 w 4793322"/>
              <a:gd name="connsiteY5" fmla="*/ 4397553 h 4486389"/>
              <a:gd name="connsiteX6" fmla="*/ 2396911 w 4793322"/>
              <a:gd name="connsiteY6" fmla="*/ 4479882 h 4486389"/>
              <a:gd name="connsiteX7" fmla="*/ 0 w 4793322"/>
              <a:gd name="connsiteY7" fmla="*/ 3598322 h 4486389"/>
              <a:gd name="connsiteX0" fmla="*/ 0 w 4793322"/>
              <a:gd name="connsiteY0" fmla="*/ 3598162 h 4486229"/>
              <a:gd name="connsiteX1" fmla="*/ 1116240 w 4793322"/>
              <a:gd name="connsiteY1" fmla="*/ 0 h 4486229"/>
              <a:gd name="connsiteX2" fmla="*/ 2387173 w 4793322"/>
              <a:gd name="connsiteY2" fmla="*/ 0 h 4486229"/>
              <a:gd name="connsiteX3" fmla="*/ 3955621 w 4793322"/>
              <a:gd name="connsiteY3" fmla="*/ 1648728 h 4486229"/>
              <a:gd name="connsiteX4" fmla="*/ 4774636 w 4793322"/>
              <a:gd name="connsiteY4" fmla="*/ 3731801 h 4486229"/>
              <a:gd name="connsiteX5" fmla="*/ 3916488 w 4793322"/>
              <a:gd name="connsiteY5" fmla="*/ 4397393 h 4486229"/>
              <a:gd name="connsiteX6" fmla="*/ 2396911 w 4793322"/>
              <a:gd name="connsiteY6" fmla="*/ 4479722 h 4486229"/>
              <a:gd name="connsiteX7" fmla="*/ 0 w 4793322"/>
              <a:gd name="connsiteY7" fmla="*/ 3598162 h 4486229"/>
              <a:gd name="connsiteX0" fmla="*/ 0 w 4781208"/>
              <a:gd name="connsiteY0" fmla="*/ 3598162 h 4486229"/>
              <a:gd name="connsiteX1" fmla="*/ 1116240 w 4781208"/>
              <a:gd name="connsiteY1" fmla="*/ 0 h 4486229"/>
              <a:gd name="connsiteX2" fmla="*/ 2387173 w 4781208"/>
              <a:gd name="connsiteY2" fmla="*/ 0 h 4486229"/>
              <a:gd name="connsiteX3" fmla="*/ 3955621 w 4781208"/>
              <a:gd name="connsiteY3" fmla="*/ 1648728 h 4486229"/>
              <a:gd name="connsiteX4" fmla="*/ 4774636 w 4781208"/>
              <a:gd name="connsiteY4" fmla="*/ 3731801 h 4486229"/>
              <a:gd name="connsiteX5" fmla="*/ 3916488 w 4781208"/>
              <a:gd name="connsiteY5" fmla="*/ 4397393 h 4486229"/>
              <a:gd name="connsiteX6" fmla="*/ 2396911 w 4781208"/>
              <a:gd name="connsiteY6" fmla="*/ 4479722 h 4486229"/>
              <a:gd name="connsiteX7" fmla="*/ 0 w 4781208"/>
              <a:gd name="connsiteY7" fmla="*/ 3598162 h 4486229"/>
              <a:gd name="connsiteX0" fmla="*/ 0 w 4781208"/>
              <a:gd name="connsiteY0" fmla="*/ 3598164 h 4486231"/>
              <a:gd name="connsiteX1" fmla="*/ 1116240 w 4781208"/>
              <a:gd name="connsiteY1" fmla="*/ 2 h 4486231"/>
              <a:gd name="connsiteX2" fmla="*/ 2387173 w 4781208"/>
              <a:gd name="connsiteY2" fmla="*/ 2 h 4486231"/>
              <a:gd name="connsiteX3" fmla="*/ 3955621 w 4781208"/>
              <a:gd name="connsiteY3" fmla="*/ 1648730 h 4486231"/>
              <a:gd name="connsiteX4" fmla="*/ 4774636 w 4781208"/>
              <a:gd name="connsiteY4" fmla="*/ 3731803 h 4486231"/>
              <a:gd name="connsiteX5" fmla="*/ 3916488 w 4781208"/>
              <a:gd name="connsiteY5" fmla="*/ 4397395 h 4486231"/>
              <a:gd name="connsiteX6" fmla="*/ 2396911 w 4781208"/>
              <a:gd name="connsiteY6" fmla="*/ 4479724 h 4486231"/>
              <a:gd name="connsiteX7" fmla="*/ 0 w 4781208"/>
              <a:gd name="connsiteY7" fmla="*/ 3598164 h 4486231"/>
              <a:gd name="connsiteX0" fmla="*/ 0 w 4798466"/>
              <a:gd name="connsiteY0" fmla="*/ 3598164 h 4486231"/>
              <a:gd name="connsiteX1" fmla="*/ 1116240 w 4798466"/>
              <a:gd name="connsiteY1" fmla="*/ 2 h 4486231"/>
              <a:gd name="connsiteX2" fmla="*/ 2387173 w 4798466"/>
              <a:gd name="connsiteY2" fmla="*/ 2 h 4486231"/>
              <a:gd name="connsiteX3" fmla="*/ 3955621 w 4798466"/>
              <a:gd name="connsiteY3" fmla="*/ 1648730 h 4486231"/>
              <a:gd name="connsiteX4" fmla="*/ 4774636 w 4798466"/>
              <a:gd name="connsiteY4" fmla="*/ 3731803 h 4486231"/>
              <a:gd name="connsiteX5" fmla="*/ 3916488 w 4798466"/>
              <a:gd name="connsiteY5" fmla="*/ 4397395 h 4486231"/>
              <a:gd name="connsiteX6" fmla="*/ 2396911 w 4798466"/>
              <a:gd name="connsiteY6" fmla="*/ 4479724 h 4486231"/>
              <a:gd name="connsiteX7" fmla="*/ 0 w 4798466"/>
              <a:gd name="connsiteY7" fmla="*/ 3598164 h 4486231"/>
              <a:gd name="connsiteX0" fmla="*/ 0 w 4796680"/>
              <a:gd name="connsiteY0" fmla="*/ 3598164 h 4486231"/>
              <a:gd name="connsiteX1" fmla="*/ 1116240 w 4796680"/>
              <a:gd name="connsiteY1" fmla="*/ 2 h 4486231"/>
              <a:gd name="connsiteX2" fmla="*/ 2387173 w 4796680"/>
              <a:gd name="connsiteY2" fmla="*/ 2 h 4486231"/>
              <a:gd name="connsiteX3" fmla="*/ 3955621 w 4796680"/>
              <a:gd name="connsiteY3" fmla="*/ 1648730 h 4486231"/>
              <a:gd name="connsiteX4" fmla="*/ 4774636 w 4796680"/>
              <a:gd name="connsiteY4" fmla="*/ 3731803 h 4486231"/>
              <a:gd name="connsiteX5" fmla="*/ 3916488 w 4796680"/>
              <a:gd name="connsiteY5" fmla="*/ 4397395 h 4486231"/>
              <a:gd name="connsiteX6" fmla="*/ 2396911 w 4796680"/>
              <a:gd name="connsiteY6" fmla="*/ 4479724 h 4486231"/>
              <a:gd name="connsiteX7" fmla="*/ 0 w 4796680"/>
              <a:gd name="connsiteY7" fmla="*/ 3598164 h 4486231"/>
              <a:gd name="connsiteX0" fmla="*/ 0 w 4798466"/>
              <a:gd name="connsiteY0" fmla="*/ 3598164 h 4486231"/>
              <a:gd name="connsiteX1" fmla="*/ 1116240 w 4798466"/>
              <a:gd name="connsiteY1" fmla="*/ 2 h 4486231"/>
              <a:gd name="connsiteX2" fmla="*/ 2387173 w 4798466"/>
              <a:gd name="connsiteY2" fmla="*/ 2 h 4486231"/>
              <a:gd name="connsiteX3" fmla="*/ 3955621 w 4798466"/>
              <a:gd name="connsiteY3" fmla="*/ 1648730 h 4486231"/>
              <a:gd name="connsiteX4" fmla="*/ 4774636 w 4798466"/>
              <a:gd name="connsiteY4" fmla="*/ 3731803 h 4486231"/>
              <a:gd name="connsiteX5" fmla="*/ 3916488 w 4798466"/>
              <a:gd name="connsiteY5" fmla="*/ 4397395 h 4486231"/>
              <a:gd name="connsiteX6" fmla="*/ 2396911 w 4798466"/>
              <a:gd name="connsiteY6" fmla="*/ 4479724 h 4486231"/>
              <a:gd name="connsiteX7" fmla="*/ 0 w 4798466"/>
              <a:gd name="connsiteY7" fmla="*/ 3598164 h 4486231"/>
              <a:gd name="connsiteX0" fmla="*/ 0 w 4798466"/>
              <a:gd name="connsiteY0" fmla="*/ 3598162 h 4486229"/>
              <a:gd name="connsiteX1" fmla="*/ 1116240 w 4798466"/>
              <a:gd name="connsiteY1" fmla="*/ 0 h 4486229"/>
              <a:gd name="connsiteX2" fmla="*/ 2387173 w 4798466"/>
              <a:gd name="connsiteY2" fmla="*/ 0 h 4486229"/>
              <a:gd name="connsiteX3" fmla="*/ 3955621 w 4798466"/>
              <a:gd name="connsiteY3" fmla="*/ 1648728 h 4486229"/>
              <a:gd name="connsiteX4" fmla="*/ 4774636 w 4798466"/>
              <a:gd name="connsiteY4" fmla="*/ 3731801 h 4486229"/>
              <a:gd name="connsiteX5" fmla="*/ 3916488 w 4798466"/>
              <a:gd name="connsiteY5" fmla="*/ 4397393 h 4486229"/>
              <a:gd name="connsiteX6" fmla="*/ 2396911 w 4798466"/>
              <a:gd name="connsiteY6" fmla="*/ 4479722 h 4486229"/>
              <a:gd name="connsiteX7" fmla="*/ 0 w 4798466"/>
              <a:gd name="connsiteY7" fmla="*/ 3598162 h 4486229"/>
              <a:gd name="connsiteX0" fmla="*/ 0 w 4798466"/>
              <a:gd name="connsiteY0" fmla="*/ 3598162 h 4486229"/>
              <a:gd name="connsiteX1" fmla="*/ 1116240 w 4798466"/>
              <a:gd name="connsiteY1" fmla="*/ 0 h 4486229"/>
              <a:gd name="connsiteX2" fmla="*/ 2387173 w 4798466"/>
              <a:gd name="connsiteY2" fmla="*/ 0 h 4486229"/>
              <a:gd name="connsiteX3" fmla="*/ 3955621 w 4798466"/>
              <a:gd name="connsiteY3" fmla="*/ 1655078 h 4486229"/>
              <a:gd name="connsiteX4" fmla="*/ 4774636 w 4798466"/>
              <a:gd name="connsiteY4" fmla="*/ 3731801 h 4486229"/>
              <a:gd name="connsiteX5" fmla="*/ 3916488 w 4798466"/>
              <a:gd name="connsiteY5" fmla="*/ 4397393 h 4486229"/>
              <a:gd name="connsiteX6" fmla="*/ 2396911 w 4798466"/>
              <a:gd name="connsiteY6" fmla="*/ 4479722 h 4486229"/>
              <a:gd name="connsiteX7" fmla="*/ 0 w 4798466"/>
              <a:gd name="connsiteY7" fmla="*/ 3598162 h 4486229"/>
              <a:gd name="connsiteX0" fmla="*/ 0 w 4774636"/>
              <a:gd name="connsiteY0" fmla="*/ 3598162 h 4486229"/>
              <a:gd name="connsiteX1" fmla="*/ 1116240 w 4774636"/>
              <a:gd name="connsiteY1" fmla="*/ 0 h 4486229"/>
              <a:gd name="connsiteX2" fmla="*/ 2387173 w 4774636"/>
              <a:gd name="connsiteY2" fmla="*/ 0 h 4486229"/>
              <a:gd name="connsiteX3" fmla="*/ 4774636 w 4774636"/>
              <a:gd name="connsiteY3" fmla="*/ 3731801 h 4486229"/>
              <a:gd name="connsiteX4" fmla="*/ 3916488 w 4774636"/>
              <a:gd name="connsiteY4" fmla="*/ 4397393 h 4486229"/>
              <a:gd name="connsiteX5" fmla="*/ 2396911 w 4774636"/>
              <a:gd name="connsiteY5" fmla="*/ 4479722 h 4486229"/>
              <a:gd name="connsiteX6" fmla="*/ 0 w 4774636"/>
              <a:gd name="connsiteY6" fmla="*/ 3598162 h 4486229"/>
              <a:gd name="connsiteX0" fmla="*/ 0 w 4800948"/>
              <a:gd name="connsiteY0" fmla="*/ 3598162 h 4486229"/>
              <a:gd name="connsiteX1" fmla="*/ 1116240 w 4800948"/>
              <a:gd name="connsiteY1" fmla="*/ 0 h 4486229"/>
              <a:gd name="connsiteX2" fmla="*/ 2387173 w 4800948"/>
              <a:gd name="connsiteY2" fmla="*/ 0 h 4486229"/>
              <a:gd name="connsiteX3" fmla="*/ 4774636 w 4800948"/>
              <a:gd name="connsiteY3" fmla="*/ 3731801 h 4486229"/>
              <a:gd name="connsiteX4" fmla="*/ 3916488 w 4800948"/>
              <a:gd name="connsiteY4" fmla="*/ 4397393 h 4486229"/>
              <a:gd name="connsiteX5" fmla="*/ 2396911 w 4800948"/>
              <a:gd name="connsiteY5" fmla="*/ 4479722 h 4486229"/>
              <a:gd name="connsiteX6" fmla="*/ 0 w 4800948"/>
              <a:gd name="connsiteY6" fmla="*/ 3598162 h 4486229"/>
              <a:gd name="connsiteX0" fmla="*/ 0 w 4820153"/>
              <a:gd name="connsiteY0" fmla="*/ 3598162 h 4486229"/>
              <a:gd name="connsiteX1" fmla="*/ 1116240 w 4820153"/>
              <a:gd name="connsiteY1" fmla="*/ 0 h 4486229"/>
              <a:gd name="connsiteX2" fmla="*/ 2387173 w 4820153"/>
              <a:gd name="connsiteY2" fmla="*/ 0 h 4486229"/>
              <a:gd name="connsiteX3" fmla="*/ 4454096 w 4820153"/>
              <a:gd name="connsiteY3" fmla="*/ 2582179 h 4486229"/>
              <a:gd name="connsiteX4" fmla="*/ 4774636 w 4820153"/>
              <a:gd name="connsiteY4" fmla="*/ 3731801 h 4486229"/>
              <a:gd name="connsiteX5" fmla="*/ 3916488 w 4820153"/>
              <a:gd name="connsiteY5" fmla="*/ 4397393 h 4486229"/>
              <a:gd name="connsiteX6" fmla="*/ 2396911 w 4820153"/>
              <a:gd name="connsiteY6" fmla="*/ 4479722 h 4486229"/>
              <a:gd name="connsiteX7" fmla="*/ 0 w 4820153"/>
              <a:gd name="connsiteY7" fmla="*/ 3598162 h 4486229"/>
              <a:gd name="connsiteX0" fmla="*/ 0 w 4803044"/>
              <a:gd name="connsiteY0" fmla="*/ 3598162 h 4486229"/>
              <a:gd name="connsiteX1" fmla="*/ 1116240 w 4803044"/>
              <a:gd name="connsiteY1" fmla="*/ 0 h 4486229"/>
              <a:gd name="connsiteX2" fmla="*/ 2387173 w 4803044"/>
              <a:gd name="connsiteY2" fmla="*/ 0 h 4486229"/>
              <a:gd name="connsiteX3" fmla="*/ 4454096 w 4803044"/>
              <a:gd name="connsiteY3" fmla="*/ 2582179 h 4486229"/>
              <a:gd name="connsiteX4" fmla="*/ 4774636 w 4803044"/>
              <a:gd name="connsiteY4" fmla="*/ 3731801 h 4486229"/>
              <a:gd name="connsiteX5" fmla="*/ 3916488 w 4803044"/>
              <a:gd name="connsiteY5" fmla="*/ 4397393 h 4486229"/>
              <a:gd name="connsiteX6" fmla="*/ 2396911 w 4803044"/>
              <a:gd name="connsiteY6" fmla="*/ 4479722 h 4486229"/>
              <a:gd name="connsiteX7" fmla="*/ 0 w 4803044"/>
              <a:gd name="connsiteY7" fmla="*/ 3598162 h 4486229"/>
              <a:gd name="connsiteX0" fmla="*/ 0 w 4803044"/>
              <a:gd name="connsiteY0" fmla="*/ 3598162 h 4486229"/>
              <a:gd name="connsiteX1" fmla="*/ 1116240 w 4803044"/>
              <a:gd name="connsiteY1" fmla="*/ 0 h 4486229"/>
              <a:gd name="connsiteX2" fmla="*/ 2387173 w 4803044"/>
              <a:gd name="connsiteY2" fmla="*/ 0 h 4486229"/>
              <a:gd name="connsiteX3" fmla="*/ 2942796 w 4803044"/>
              <a:gd name="connsiteY3" fmla="*/ 559704 h 4486229"/>
              <a:gd name="connsiteX4" fmla="*/ 4454096 w 4803044"/>
              <a:gd name="connsiteY4" fmla="*/ 2582179 h 4486229"/>
              <a:gd name="connsiteX5" fmla="*/ 4774636 w 4803044"/>
              <a:gd name="connsiteY5" fmla="*/ 3731801 h 4486229"/>
              <a:gd name="connsiteX6" fmla="*/ 3916488 w 4803044"/>
              <a:gd name="connsiteY6" fmla="*/ 4397393 h 4486229"/>
              <a:gd name="connsiteX7" fmla="*/ 2396911 w 4803044"/>
              <a:gd name="connsiteY7" fmla="*/ 4479722 h 4486229"/>
              <a:gd name="connsiteX8" fmla="*/ 0 w 4803044"/>
              <a:gd name="connsiteY8" fmla="*/ 3598162 h 4486229"/>
              <a:gd name="connsiteX0" fmla="*/ 0 w 4803044"/>
              <a:gd name="connsiteY0" fmla="*/ 3598162 h 4486229"/>
              <a:gd name="connsiteX1" fmla="*/ 1116240 w 4803044"/>
              <a:gd name="connsiteY1" fmla="*/ 0 h 4486229"/>
              <a:gd name="connsiteX2" fmla="*/ 2387173 w 4803044"/>
              <a:gd name="connsiteY2" fmla="*/ 0 h 4486229"/>
              <a:gd name="connsiteX3" fmla="*/ 3184096 w 4803044"/>
              <a:gd name="connsiteY3" fmla="*/ 473979 h 4486229"/>
              <a:gd name="connsiteX4" fmla="*/ 4454096 w 4803044"/>
              <a:gd name="connsiteY4" fmla="*/ 2582179 h 4486229"/>
              <a:gd name="connsiteX5" fmla="*/ 4774636 w 4803044"/>
              <a:gd name="connsiteY5" fmla="*/ 3731801 h 4486229"/>
              <a:gd name="connsiteX6" fmla="*/ 3916488 w 4803044"/>
              <a:gd name="connsiteY6" fmla="*/ 4397393 h 4486229"/>
              <a:gd name="connsiteX7" fmla="*/ 2396911 w 4803044"/>
              <a:gd name="connsiteY7" fmla="*/ 4479722 h 4486229"/>
              <a:gd name="connsiteX8" fmla="*/ 0 w 4803044"/>
              <a:gd name="connsiteY8" fmla="*/ 3598162 h 4486229"/>
              <a:gd name="connsiteX0" fmla="*/ 0 w 4803044"/>
              <a:gd name="connsiteY0" fmla="*/ 3598162 h 4486229"/>
              <a:gd name="connsiteX1" fmla="*/ 1116240 w 4803044"/>
              <a:gd name="connsiteY1" fmla="*/ 0 h 4486229"/>
              <a:gd name="connsiteX2" fmla="*/ 2387173 w 4803044"/>
              <a:gd name="connsiteY2" fmla="*/ 0 h 4486229"/>
              <a:gd name="connsiteX3" fmla="*/ 3184096 w 4803044"/>
              <a:gd name="connsiteY3" fmla="*/ 473979 h 4486229"/>
              <a:gd name="connsiteX4" fmla="*/ 4454096 w 4803044"/>
              <a:gd name="connsiteY4" fmla="*/ 2582179 h 4486229"/>
              <a:gd name="connsiteX5" fmla="*/ 4774636 w 4803044"/>
              <a:gd name="connsiteY5" fmla="*/ 3731801 h 4486229"/>
              <a:gd name="connsiteX6" fmla="*/ 3916488 w 4803044"/>
              <a:gd name="connsiteY6" fmla="*/ 4397393 h 4486229"/>
              <a:gd name="connsiteX7" fmla="*/ 2396911 w 4803044"/>
              <a:gd name="connsiteY7" fmla="*/ 4479722 h 4486229"/>
              <a:gd name="connsiteX8" fmla="*/ 0 w 4803044"/>
              <a:gd name="connsiteY8" fmla="*/ 3598162 h 4486229"/>
              <a:gd name="connsiteX0" fmla="*/ 0 w 4803044"/>
              <a:gd name="connsiteY0" fmla="*/ 3598162 h 4486229"/>
              <a:gd name="connsiteX1" fmla="*/ 1116240 w 4803044"/>
              <a:gd name="connsiteY1" fmla="*/ 0 h 4486229"/>
              <a:gd name="connsiteX2" fmla="*/ 2387173 w 4803044"/>
              <a:gd name="connsiteY2" fmla="*/ 0 h 4486229"/>
              <a:gd name="connsiteX3" fmla="*/ 3184096 w 4803044"/>
              <a:gd name="connsiteY3" fmla="*/ 473979 h 4486229"/>
              <a:gd name="connsiteX4" fmla="*/ 4454096 w 4803044"/>
              <a:gd name="connsiteY4" fmla="*/ 2582179 h 4486229"/>
              <a:gd name="connsiteX5" fmla="*/ 4774636 w 4803044"/>
              <a:gd name="connsiteY5" fmla="*/ 3731801 h 4486229"/>
              <a:gd name="connsiteX6" fmla="*/ 3916488 w 4803044"/>
              <a:gd name="connsiteY6" fmla="*/ 4397393 h 4486229"/>
              <a:gd name="connsiteX7" fmla="*/ 2396911 w 4803044"/>
              <a:gd name="connsiteY7" fmla="*/ 4479722 h 4486229"/>
              <a:gd name="connsiteX8" fmla="*/ 0 w 4803044"/>
              <a:gd name="connsiteY8" fmla="*/ 3598162 h 4486229"/>
              <a:gd name="connsiteX0" fmla="*/ 0 w 4803044"/>
              <a:gd name="connsiteY0" fmla="*/ 3598162 h 4486229"/>
              <a:gd name="connsiteX1" fmla="*/ 1116240 w 4803044"/>
              <a:gd name="connsiteY1" fmla="*/ 0 h 4486229"/>
              <a:gd name="connsiteX2" fmla="*/ 2387173 w 4803044"/>
              <a:gd name="connsiteY2" fmla="*/ 0 h 4486229"/>
              <a:gd name="connsiteX3" fmla="*/ 3184096 w 4803044"/>
              <a:gd name="connsiteY3" fmla="*/ 473979 h 4486229"/>
              <a:gd name="connsiteX4" fmla="*/ 4454096 w 4803044"/>
              <a:gd name="connsiteY4" fmla="*/ 2582179 h 4486229"/>
              <a:gd name="connsiteX5" fmla="*/ 4774636 w 4803044"/>
              <a:gd name="connsiteY5" fmla="*/ 3731801 h 4486229"/>
              <a:gd name="connsiteX6" fmla="*/ 3916488 w 4803044"/>
              <a:gd name="connsiteY6" fmla="*/ 4397393 h 4486229"/>
              <a:gd name="connsiteX7" fmla="*/ 2396911 w 4803044"/>
              <a:gd name="connsiteY7" fmla="*/ 4479722 h 4486229"/>
              <a:gd name="connsiteX8" fmla="*/ 0 w 4803044"/>
              <a:gd name="connsiteY8" fmla="*/ 3598162 h 4486229"/>
              <a:gd name="connsiteX0" fmla="*/ 0 w 4803044"/>
              <a:gd name="connsiteY0" fmla="*/ 3598162 h 4486229"/>
              <a:gd name="connsiteX1" fmla="*/ 1116240 w 4803044"/>
              <a:gd name="connsiteY1" fmla="*/ 0 h 4486229"/>
              <a:gd name="connsiteX2" fmla="*/ 2387173 w 4803044"/>
              <a:gd name="connsiteY2" fmla="*/ 0 h 4486229"/>
              <a:gd name="connsiteX3" fmla="*/ 3184096 w 4803044"/>
              <a:gd name="connsiteY3" fmla="*/ 473979 h 4486229"/>
              <a:gd name="connsiteX4" fmla="*/ 4454096 w 4803044"/>
              <a:gd name="connsiteY4" fmla="*/ 2582179 h 4486229"/>
              <a:gd name="connsiteX5" fmla="*/ 4774636 w 4803044"/>
              <a:gd name="connsiteY5" fmla="*/ 3731801 h 4486229"/>
              <a:gd name="connsiteX6" fmla="*/ 3916488 w 4803044"/>
              <a:gd name="connsiteY6" fmla="*/ 4397393 h 4486229"/>
              <a:gd name="connsiteX7" fmla="*/ 2396911 w 4803044"/>
              <a:gd name="connsiteY7" fmla="*/ 4479722 h 4486229"/>
              <a:gd name="connsiteX8" fmla="*/ 0 w 4803044"/>
              <a:gd name="connsiteY8" fmla="*/ 3598162 h 4486229"/>
              <a:gd name="connsiteX0" fmla="*/ 0 w 4803044"/>
              <a:gd name="connsiteY0" fmla="*/ 3598162 h 4486229"/>
              <a:gd name="connsiteX1" fmla="*/ 1655990 w 4803044"/>
              <a:gd name="connsiteY1" fmla="*/ 422275 h 4486229"/>
              <a:gd name="connsiteX2" fmla="*/ 2387173 w 4803044"/>
              <a:gd name="connsiteY2" fmla="*/ 0 h 4486229"/>
              <a:gd name="connsiteX3" fmla="*/ 3184096 w 4803044"/>
              <a:gd name="connsiteY3" fmla="*/ 473979 h 4486229"/>
              <a:gd name="connsiteX4" fmla="*/ 4454096 w 4803044"/>
              <a:gd name="connsiteY4" fmla="*/ 2582179 h 4486229"/>
              <a:gd name="connsiteX5" fmla="*/ 4774636 w 4803044"/>
              <a:gd name="connsiteY5" fmla="*/ 3731801 h 4486229"/>
              <a:gd name="connsiteX6" fmla="*/ 3916488 w 4803044"/>
              <a:gd name="connsiteY6" fmla="*/ 4397393 h 4486229"/>
              <a:gd name="connsiteX7" fmla="*/ 2396911 w 4803044"/>
              <a:gd name="connsiteY7" fmla="*/ 4479722 h 4486229"/>
              <a:gd name="connsiteX8" fmla="*/ 0 w 4803044"/>
              <a:gd name="connsiteY8" fmla="*/ 3598162 h 4486229"/>
              <a:gd name="connsiteX0" fmla="*/ 0 w 4803044"/>
              <a:gd name="connsiteY0" fmla="*/ 3598162 h 4486229"/>
              <a:gd name="connsiteX1" fmla="*/ 1655990 w 4803044"/>
              <a:gd name="connsiteY1" fmla="*/ 422275 h 4486229"/>
              <a:gd name="connsiteX2" fmla="*/ 2387173 w 4803044"/>
              <a:gd name="connsiteY2" fmla="*/ 0 h 4486229"/>
              <a:gd name="connsiteX3" fmla="*/ 3184096 w 4803044"/>
              <a:gd name="connsiteY3" fmla="*/ 473979 h 4486229"/>
              <a:gd name="connsiteX4" fmla="*/ 4454096 w 4803044"/>
              <a:gd name="connsiteY4" fmla="*/ 2582179 h 4486229"/>
              <a:gd name="connsiteX5" fmla="*/ 4774636 w 4803044"/>
              <a:gd name="connsiteY5" fmla="*/ 3731801 h 4486229"/>
              <a:gd name="connsiteX6" fmla="*/ 3916488 w 4803044"/>
              <a:gd name="connsiteY6" fmla="*/ 4397393 h 4486229"/>
              <a:gd name="connsiteX7" fmla="*/ 2396911 w 4803044"/>
              <a:gd name="connsiteY7" fmla="*/ 4479722 h 4486229"/>
              <a:gd name="connsiteX8" fmla="*/ 0 w 4803044"/>
              <a:gd name="connsiteY8" fmla="*/ 3598162 h 4486229"/>
              <a:gd name="connsiteX0" fmla="*/ 0 w 4803044"/>
              <a:gd name="connsiteY0" fmla="*/ 3598162 h 4486229"/>
              <a:gd name="connsiteX1" fmla="*/ 1655990 w 4803044"/>
              <a:gd name="connsiteY1" fmla="*/ 422275 h 4486229"/>
              <a:gd name="connsiteX2" fmla="*/ 2387173 w 4803044"/>
              <a:gd name="connsiteY2" fmla="*/ 0 h 4486229"/>
              <a:gd name="connsiteX3" fmla="*/ 3184096 w 4803044"/>
              <a:gd name="connsiteY3" fmla="*/ 473979 h 4486229"/>
              <a:gd name="connsiteX4" fmla="*/ 4454096 w 4803044"/>
              <a:gd name="connsiteY4" fmla="*/ 2582179 h 4486229"/>
              <a:gd name="connsiteX5" fmla="*/ 4774636 w 4803044"/>
              <a:gd name="connsiteY5" fmla="*/ 3731801 h 4486229"/>
              <a:gd name="connsiteX6" fmla="*/ 3916488 w 4803044"/>
              <a:gd name="connsiteY6" fmla="*/ 4397393 h 4486229"/>
              <a:gd name="connsiteX7" fmla="*/ 2396911 w 4803044"/>
              <a:gd name="connsiteY7" fmla="*/ 4479722 h 4486229"/>
              <a:gd name="connsiteX8" fmla="*/ 0 w 4803044"/>
              <a:gd name="connsiteY8" fmla="*/ 3598162 h 4486229"/>
              <a:gd name="connsiteX0" fmla="*/ 0 w 4803044"/>
              <a:gd name="connsiteY0" fmla="*/ 3598162 h 4486229"/>
              <a:gd name="connsiteX1" fmla="*/ 1655990 w 4803044"/>
              <a:gd name="connsiteY1" fmla="*/ 422275 h 4486229"/>
              <a:gd name="connsiteX2" fmla="*/ 2387173 w 4803044"/>
              <a:gd name="connsiteY2" fmla="*/ 0 h 4486229"/>
              <a:gd name="connsiteX3" fmla="*/ 3184096 w 4803044"/>
              <a:gd name="connsiteY3" fmla="*/ 473979 h 4486229"/>
              <a:gd name="connsiteX4" fmla="*/ 4454096 w 4803044"/>
              <a:gd name="connsiteY4" fmla="*/ 2582179 h 4486229"/>
              <a:gd name="connsiteX5" fmla="*/ 4774636 w 4803044"/>
              <a:gd name="connsiteY5" fmla="*/ 3731801 h 4486229"/>
              <a:gd name="connsiteX6" fmla="*/ 3916488 w 4803044"/>
              <a:gd name="connsiteY6" fmla="*/ 4397393 h 4486229"/>
              <a:gd name="connsiteX7" fmla="*/ 2396911 w 4803044"/>
              <a:gd name="connsiteY7" fmla="*/ 4479722 h 4486229"/>
              <a:gd name="connsiteX8" fmla="*/ 0 w 4803044"/>
              <a:gd name="connsiteY8" fmla="*/ 3598162 h 4486229"/>
              <a:gd name="connsiteX0" fmla="*/ 0 w 4803044"/>
              <a:gd name="connsiteY0" fmla="*/ 3598162 h 4486229"/>
              <a:gd name="connsiteX1" fmla="*/ 1655990 w 4803044"/>
              <a:gd name="connsiteY1" fmla="*/ 422275 h 4486229"/>
              <a:gd name="connsiteX2" fmla="*/ 2374473 w 4803044"/>
              <a:gd name="connsiteY2" fmla="*/ 0 h 4486229"/>
              <a:gd name="connsiteX3" fmla="*/ 3184096 w 4803044"/>
              <a:gd name="connsiteY3" fmla="*/ 473979 h 4486229"/>
              <a:gd name="connsiteX4" fmla="*/ 4454096 w 4803044"/>
              <a:gd name="connsiteY4" fmla="*/ 2582179 h 4486229"/>
              <a:gd name="connsiteX5" fmla="*/ 4774636 w 4803044"/>
              <a:gd name="connsiteY5" fmla="*/ 3731801 h 4486229"/>
              <a:gd name="connsiteX6" fmla="*/ 3916488 w 4803044"/>
              <a:gd name="connsiteY6" fmla="*/ 4397393 h 4486229"/>
              <a:gd name="connsiteX7" fmla="*/ 2396911 w 4803044"/>
              <a:gd name="connsiteY7" fmla="*/ 4479722 h 4486229"/>
              <a:gd name="connsiteX8" fmla="*/ 0 w 4803044"/>
              <a:gd name="connsiteY8" fmla="*/ 3598162 h 4486229"/>
              <a:gd name="connsiteX0" fmla="*/ 0 w 4803044"/>
              <a:gd name="connsiteY0" fmla="*/ 3598162 h 4486229"/>
              <a:gd name="connsiteX1" fmla="*/ 1655990 w 4803044"/>
              <a:gd name="connsiteY1" fmla="*/ 422275 h 4486229"/>
              <a:gd name="connsiteX2" fmla="*/ 2374473 w 4803044"/>
              <a:gd name="connsiteY2" fmla="*/ 0 h 4486229"/>
              <a:gd name="connsiteX3" fmla="*/ 3184096 w 4803044"/>
              <a:gd name="connsiteY3" fmla="*/ 473979 h 4486229"/>
              <a:gd name="connsiteX4" fmla="*/ 4454096 w 4803044"/>
              <a:gd name="connsiteY4" fmla="*/ 2582179 h 4486229"/>
              <a:gd name="connsiteX5" fmla="*/ 4774636 w 4803044"/>
              <a:gd name="connsiteY5" fmla="*/ 3731801 h 4486229"/>
              <a:gd name="connsiteX6" fmla="*/ 3916488 w 4803044"/>
              <a:gd name="connsiteY6" fmla="*/ 4397393 h 4486229"/>
              <a:gd name="connsiteX7" fmla="*/ 2396911 w 4803044"/>
              <a:gd name="connsiteY7" fmla="*/ 4479722 h 4486229"/>
              <a:gd name="connsiteX8" fmla="*/ 0 w 4803044"/>
              <a:gd name="connsiteY8" fmla="*/ 3598162 h 4486229"/>
              <a:gd name="connsiteX0" fmla="*/ 0 w 4803044"/>
              <a:gd name="connsiteY0" fmla="*/ 3628806 h 4516873"/>
              <a:gd name="connsiteX1" fmla="*/ 1655990 w 4803044"/>
              <a:gd name="connsiteY1" fmla="*/ 452919 h 4516873"/>
              <a:gd name="connsiteX2" fmla="*/ 2374473 w 4803044"/>
              <a:gd name="connsiteY2" fmla="*/ 30644 h 4516873"/>
              <a:gd name="connsiteX3" fmla="*/ 3184096 w 4803044"/>
              <a:gd name="connsiteY3" fmla="*/ 504623 h 4516873"/>
              <a:gd name="connsiteX4" fmla="*/ 4454096 w 4803044"/>
              <a:gd name="connsiteY4" fmla="*/ 2612823 h 4516873"/>
              <a:gd name="connsiteX5" fmla="*/ 4774636 w 4803044"/>
              <a:gd name="connsiteY5" fmla="*/ 3762445 h 4516873"/>
              <a:gd name="connsiteX6" fmla="*/ 3916488 w 4803044"/>
              <a:gd name="connsiteY6" fmla="*/ 4428037 h 4516873"/>
              <a:gd name="connsiteX7" fmla="*/ 2396911 w 4803044"/>
              <a:gd name="connsiteY7" fmla="*/ 4510366 h 4516873"/>
              <a:gd name="connsiteX8" fmla="*/ 0 w 4803044"/>
              <a:gd name="connsiteY8" fmla="*/ 3628806 h 4516873"/>
              <a:gd name="connsiteX0" fmla="*/ 0 w 4803044"/>
              <a:gd name="connsiteY0" fmla="*/ 3623212 h 4511279"/>
              <a:gd name="connsiteX1" fmla="*/ 1655990 w 4803044"/>
              <a:gd name="connsiteY1" fmla="*/ 447325 h 4511279"/>
              <a:gd name="connsiteX2" fmla="*/ 2374473 w 4803044"/>
              <a:gd name="connsiteY2" fmla="*/ 25050 h 4511279"/>
              <a:gd name="connsiteX3" fmla="*/ 3184096 w 4803044"/>
              <a:gd name="connsiteY3" fmla="*/ 499029 h 4511279"/>
              <a:gd name="connsiteX4" fmla="*/ 4454096 w 4803044"/>
              <a:gd name="connsiteY4" fmla="*/ 2607229 h 4511279"/>
              <a:gd name="connsiteX5" fmla="*/ 4774636 w 4803044"/>
              <a:gd name="connsiteY5" fmla="*/ 3756851 h 4511279"/>
              <a:gd name="connsiteX6" fmla="*/ 3916488 w 4803044"/>
              <a:gd name="connsiteY6" fmla="*/ 4422443 h 4511279"/>
              <a:gd name="connsiteX7" fmla="*/ 2396911 w 4803044"/>
              <a:gd name="connsiteY7" fmla="*/ 4504772 h 4511279"/>
              <a:gd name="connsiteX8" fmla="*/ 0 w 4803044"/>
              <a:gd name="connsiteY8" fmla="*/ 3623212 h 4511279"/>
              <a:gd name="connsiteX0" fmla="*/ 0 w 4803044"/>
              <a:gd name="connsiteY0" fmla="*/ 3598170 h 4486237"/>
              <a:gd name="connsiteX1" fmla="*/ 1655990 w 4803044"/>
              <a:gd name="connsiteY1" fmla="*/ 422283 h 4486237"/>
              <a:gd name="connsiteX2" fmla="*/ 2374473 w 4803044"/>
              <a:gd name="connsiteY2" fmla="*/ 8 h 4486237"/>
              <a:gd name="connsiteX3" fmla="*/ 3184096 w 4803044"/>
              <a:gd name="connsiteY3" fmla="*/ 473987 h 4486237"/>
              <a:gd name="connsiteX4" fmla="*/ 4454096 w 4803044"/>
              <a:gd name="connsiteY4" fmla="*/ 2582187 h 4486237"/>
              <a:gd name="connsiteX5" fmla="*/ 4774636 w 4803044"/>
              <a:gd name="connsiteY5" fmla="*/ 3731809 h 4486237"/>
              <a:gd name="connsiteX6" fmla="*/ 3916488 w 4803044"/>
              <a:gd name="connsiteY6" fmla="*/ 4397401 h 4486237"/>
              <a:gd name="connsiteX7" fmla="*/ 2396911 w 4803044"/>
              <a:gd name="connsiteY7" fmla="*/ 4479730 h 4486237"/>
              <a:gd name="connsiteX8" fmla="*/ 0 w 4803044"/>
              <a:gd name="connsiteY8" fmla="*/ 3598170 h 4486237"/>
              <a:gd name="connsiteX0" fmla="*/ 0 w 4803044"/>
              <a:gd name="connsiteY0" fmla="*/ 3598254 h 4486321"/>
              <a:gd name="connsiteX1" fmla="*/ 1655990 w 4803044"/>
              <a:gd name="connsiteY1" fmla="*/ 422367 h 4486321"/>
              <a:gd name="connsiteX2" fmla="*/ 2374473 w 4803044"/>
              <a:gd name="connsiteY2" fmla="*/ 92 h 4486321"/>
              <a:gd name="connsiteX3" fmla="*/ 3184096 w 4803044"/>
              <a:gd name="connsiteY3" fmla="*/ 474071 h 4486321"/>
              <a:gd name="connsiteX4" fmla="*/ 4454096 w 4803044"/>
              <a:gd name="connsiteY4" fmla="*/ 2582271 h 4486321"/>
              <a:gd name="connsiteX5" fmla="*/ 4774636 w 4803044"/>
              <a:gd name="connsiteY5" fmla="*/ 3731893 h 4486321"/>
              <a:gd name="connsiteX6" fmla="*/ 3916488 w 4803044"/>
              <a:gd name="connsiteY6" fmla="*/ 4397485 h 4486321"/>
              <a:gd name="connsiteX7" fmla="*/ 2396911 w 4803044"/>
              <a:gd name="connsiteY7" fmla="*/ 4479814 h 4486321"/>
              <a:gd name="connsiteX8" fmla="*/ 0 w 4803044"/>
              <a:gd name="connsiteY8" fmla="*/ 3598254 h 4486321"/>
              <a:gd name="connsiteX0" fmla="*/ 0 w 4803044"/>
              <a:gd name="connsiteY0" fmla="*/ 3598348 h 4486415"/>
              <a:gd name="connsiteX1" fmla="*/ 1655990 w 4803044"/>
              <a:gd name="connsiteY1" fmla="*/ 422461 h 4486415"/>
              <a:gd name="connsiteX2" fmla="*/ 2374473 w 4803044"/>
              <a:gd name="connsiteY2" fmla="*/ 186 h 4486415"/>
              <a:gd name="connsiteX3" fmla="*/ 3184096 w 4803044"/>
              <a:gd name="connsiteY3" fmla="*/ 474165 h 4486415"/>
              <a:gd name="connsiteX4" fmla="*/ 4454096 w 4803044"/>
              <a:gd name="connsiteY4" fmla="*/ 2582365 h 4486415"/>
              <a:gd name="connsiteX5" fmla="*/ 4774636 w 4803044"/>
              <a:gd name="connsiteY5" fmla="*/ 3731987 h 4486415"/>
              <a:gd name="connsiteX6" fmla="*/ 3916488 w 4803044"/>
              <a:gd name="connsiteY6" fmla="*/ 4397579 h 4486415"/>
              <a:gd name="connsiteX7" fmla="*/ 2396911 w 4803044"/>
              <a:gd name="connsiteY7" fmla="*/ 4479908 h 4486415"/>
              <a:gd name="connsiteX8" fmla="*/ 0 w 4803044"/>
              <a:gd name="connsiteY8" fmla="*/ 3598348 h 4486415"/>
              <a:gd name="connsiteX0" fmla="*/ 0 w 4803044"/>
              <a:gd name="connsiteY0" fmla="*/ 3598348 h 4486415"/>
              <a:gd name="connsiteX1" fmla="*/ 532971 w 4803044"/>
              <a:gd name="connsiteY1" fmla="*/ 2569665 h 4486415"/>
              <a:gd name="connsiteX2" fmla="*/ 1655990 w 4803044"/>
              <a:gd name="connsiteY2" fmla="*/ 422461 h 4486415"/>
              <a:gd name="connsiteX3" fmla="*/ 2374473 w 4803044"/>
              <a:gd name="connsiteY3" fmla="*/ 186 h 4486415"/>
              <a:gd name="connsiteX4" fmla="*/ 3184096 w 4803044"/>
              <a:gd name="connsiteY4" fmla="*/ 474165 h 4486415"/>
              <a:gd name="connsiteX5" fmla="*/ 4454096 w 4803044"/>
              <a:gd name="connsiteY5" fmla="*/ 2582365 h 4486415"/>
              <a:gd name="connsiteX6" fmla="*/ 4774636 w 4803044"/>
              <a:gd name="connsiteY6" fmla="*/ 3731987 h 4486415"/>
              <a:gd name="connsiteX7" fmla="*/ 3916488 w 4803044"/>
              <a:gd name="connsiteY7" fmla="*/ 4397579 h 4486415"/>
              <a:gd name="connsiteX8" fmla="*/ 2396911 w 4803044"/>
              <a:gd name="connsiteY8" fmla="*/ 4479908 h 4486415"/>
              <a:gd name="connsiteX9" fmla="*/ 0 w 4803044"/>
              <a:gd name="connsiteY9" fmla="*/ 3598348 h 4486415"/>
              <a:gd name="connsiteX0" fmla="*/ 0 w 4803044"/>
              <a:gd name="connsiteY0" fmla="*/ 3598348 h 4486415"/>
              <a:gd name="connsiteX1" fmla="*/ 348821 w 4803044"/>
              <a:gd name="connsiteY1" fmla="*/ 2579190 h 4486415"/>
              <a:gd name="connsiteX2" fmla="*/ 1655990 w 4803044"/>
              <a:gd name="connsiteY2" fmla="*/ 422461 h 4486415"/>
              <a:gd name="connsiteX3" fmla="*/ 2374473 w 4803044"/>
              <a:gd name="connsiteY3" fmla="*/ 186 h 4486415"/>
              <a:gd name="connsiteX4" fmla="*/ 3184096 w 4803044"/>
              <a:gd name="connsiteY4" fmla="*/ 474165 h 4486415"/>
              <a:gd name="connsiteX5" fmla="*/ 4454096 w 4803044"/>
              <a:gd name="connsiteY5" fmla="*/ 2582365 h 4486415"/>
              <a:gd name="connsiteX6" fmla="*/ 4774636 w 4803044"/>
              <a:gd name="connsiteY6" fmla="*/ 3731987 h 4486415"/>
              <a:gd name="connsiteX7" fmla="*/ 3916488 w 4803044"/>
              <a:gd name="connsiteY7" fmla="*/ 4397579 h 4486415"/>
              <a:gd name="connsiteX8" fmla="*/ 2396911 w 4803044"/>
              <a:gd name="connsiteY8" fmla="*/ 4479908 h 4486415"/>
              <a:gd name="connsiteX9" fmla="*/ 0 w 4803044"/>
              <a:gd name="connsiteY9" fmla="*/ 3598348 h 4486415"/>
              <a:gd name="connsiteX0" fmla="*/ 0 w 4803044"/>
              <a:gd name="connsiteY0" fmla="*/ 3598348 h 4486415"/>
              <a:gd name="connsiteX1" fmla="*/ 348821 w 4803044"/>
              <a:gd name="connsiteY1" fmla="*/ 2579190 h 4486415"/>
              <a:gd name="connsiteX2" fmla="*/ 1655990 w 4803044"/>
              <a:gd name="connsiteY2" fmla="*/ 422461 h 4486415"/>
              <a:gd name="connsiteX3" fmla="*/ 2374473 w 4803044"/>
              <a:gd name="connsiteY3" fmla="*/ 186 h 4486415"/>
              <a:gd name="connsiteX4" fmla="*/ 3184096 w 4803044"/>
              <a:gd name="connsiteY4" fmla="*/ 474165 h 4486415"/>
              <a:gd name="connsiteX5" fmla="*/ 4454096 w 4803044"/>
              <a:gd name="connsiteY5" fmla="*/ 2582365 h 4486415"/>
              <a:gd name="connsiteX6" fmla="*/ 4774636 w 4803044"/>
              <a:gd name="connsiteY6" fmla="*/ 3731987 h 4486415"/>
              <a:gd name="connsiteX7" fmla="*/ 3916488 w 4803044"/>
              <a:gd name="connsiteY7" fmla="*/ 4397579 h 4486415"/>
              <a:gd name="connsiteX8" fmla="*/ 2396911 w 4803044"/>
              <a:gd name="connsiteY8" fmla="*/ 4479908 h 4486415"/>
              <a:gd name="connsiteX9" fmla="*/ 0 w 4803044"/>
              <a:gd name="connsiteY9" fmla="*/ 3598348 h 4486415"/>
              <a:gd name="connsiteX0" fmla="*/ 0 w 4803044"/>
              <a:gd name="connsiteY0" fmla="*/ 3598348 h 4486415"/>
              <a:gd name="connsiteX1" fmla="*/ 348821 w 4803044"/>
              <a:gd name="connsiteY1" fmla="*/ 2579190 h 4486415"/>
              <a:gd name="connsiteX2" fmla="*/ 1655990 w 4803044"/>
              <a:gd name="connsiteY2" fmla="*/ 422461 h 4486415"/>
              <a:gd name="connsiteX3" fmla="*/ 2374473 w 4803044"/>
              <a:gd name="connsiteY3" fmla="*/ 186 h 4486415"/>
              <a:gd name="connsiteX4" fmla="*/ 3184096 w 4803044"/>
              <a:gd name="connsiteY4" fmla="*/ 474165 h 4486415"/>
              <a:gd name="connsiteX5" fmla="*/ 4454096 w 4803044"/>
              <a:gd name="connsiteY5" fmla="*/ 2582365 h 4486415"/>
              <a:gd name="connsiteX6" fmla="*/ 4774636 w 4803044"/>
              <a:gd name="connsiteY6" fmla="*/ 3731987 h 4486415"/>
              <a:gd name="connsiteX7" fmla="*/ 3916488 w 4803044"/>
              <a:gd name="connsiteY7" fmla="*/ 4397579 h 4486415"/>
              <a:gd name="connsiteX8" fmla="*/ 2396911 w 4803044"/>
              <a:gd name="connsiteY8" fmla="*/ 4479908 h 4486415"/>
              <a:gd name="connsiteX9" fmla="*/ 0 w 4803044"/>
              <a:gd name="connsiteY9" fmla="*/ 3598348 h 4486415"/>
              <a:gd name="connsiteX0" fmla="*/ 0 w 4803044"/>
              <a:gd name="connsiteY0" fmla="*/ 3598348 h 4486415"/>
              <a:gd name="connsiteX1" fmla="*/ 348821 w 4803044"/>
              <a:gd name="connsiteY1" fmla="*/ 2579190 h 4486415"/>
              <a:gd name="connsiteX2" fmla="*/ 1655990 w 4803044"/>
              <a:gd name="connsiteY2" fmla="*/ 422461 h 4486415"/>
              <a:gd name="connsiteX3" fmla="*/ 2374473 w 4803044"/>
              <a:gd name="connsiteY3" fmla="*/ 186 h 4486415"/>
              <a:gd name="connsiteX4" fmla="*/ 3184096 w 4803044"/>
              <a:gd name="connsiteY4" fmla="*/ 474165 h 4486415"/>
              <a:gd name="connsiteX5" fmla="*/ 4454096 w 4803044"/>
              <a:gd name="connsiteY5" fmla="*/ 2582365 h 4486415"/>
              <a:gd name="connsiteX6" fmla="*/ 4774636 w 4803044"/>
              <a:gd name="connsiteY6" fmla="*/ 3731987 h 4486415"/>
              <a:gd name="connsiteX7" fmla="*/ 3916488 w 4803044"/>
              <a:gd name="connsiteY7" fmla="*/ 4397579 h 4486415"/>
              <a:gd name="connsiteX8" fmla="*/ 2396911 w 4803044"/>
              <a:gd name="connsiteY8" fmla="*/ 4479908 h 4486415"/>
              <a:gd name="connsiteX9" fmla="*/ 0 w 4803044"/>
              <a:gd name="connsiteY9" fmla="*/ 3598348 h 4486415"/>
              <a:gd name="connsiteX0" fmla="*/ 230 w 4803274"/>
              <a:gd name="connsiteY0" fmla="*/ 3598348 h 4486415"/>
              <a:gd name="connsiteX1" fmla="*/ 349051 w 4803274"/>
              <a:gd name="connsiteY1" fmla="*/ 2579190 h 4486415"/>
              <a:gd name="connsiteX2" fmla="*/ 1656220 w 4803274"/>
              <a:gd name="connsiteY2" fmla="*/ 422461 h 4486415"/>
              <a:gd name="connsiteX3" fmla="*/ 2374703 w 4803274"/>
              <a:gd name="connsiteY3" fmla="*/ 186 h 4486415"/>
              <a:gd name="connsiteX4" fmla="*/ 3184326 w 4803274"/>
              <a:gd name="connsiteY4" fmla="*/ 474165 h 4486415"/>
              <a:gd name="connsiteX5" fmla="*/ 4454326 w 4803274"/>
              <a:gd name="connsiteY5" fmla="*/ 2582365 h 4486415"/>
              <a:gd name="connsiteX6" fmla="*/ 4774866 w 4803274"/>
              <a:gd name="connsiteY6" fmla="*/ 3731987 h 4486415"/>
              <a:gd name="connsiteX7" fmla="*/ 3916718 w 4803274"/>
              <a:gd name="connsiteY7" fmla="*/ 4397579 h 4486415"/>
              <a:gd name="connsiteX8" fmla="*/ 2397141 w 4803274"/>
              <a:gd name="connsiteY8" fmla="*/ 4479908 h 4486415"/>
              <a:gd name="connsiteX9" fmla="*/ 230 w 4803274"/>
              <a:gd name="connsiteY9" fmla="*/ 3598348 h 4486415"/>
              <a:gd name="connsiteX0" fmla="*/ 230 w 4803274"/>
              <a:gd name="connsiteY0" fmla="*/ 3598348 h 4479908"/>
              <a:gd name="connsiteX1" fmla="*/ 349051 w 4803274"/>
              <a:gd name="connsiteY1" fmla="*/ 2579190 h 4479908"/>
              <a:gd name="connsiteX2" fmla="*/ 1656220 w 4803274"/>
              <a:gd name="connsiteY2" fmla="*/ 422461 h 4479908"/>
              <a:gd name="connsiteX3" fmla="*/ 2374703 w 4803274"/>
              <a:gd name="connsiteY3" fmla="*/ 186 h 4479908"/>
              <a:gd name="connsiteX4" fmla="*/ 3184326 w 4803274"/>
              <a:gd name="connsiteY4" fmla="*/ 474165 h 4479908"/>
              <a:gd name="connsiteX5" fmla="*/ 4454326 w 4803274"/>
              <a:gd name="connsiteY5" fmla="*/ 2582365 h 4479908"/>
              <a:gd name="connsiteX6" fmla="*/ 4774866 w 4803274"/>
              <a:gd name="connsiteY6" fmla="*/ 3731987 h 4479908"/>
              <a:gd name="connsiteX7" fmla="*/ 3916718 w 4803274"/>
              <a:gd name="connsiteY7" fmla="*/ 4397579 h 4479908"/>
              <a:gd name="connsiteX8" fmla="*/ 2397141 w 4803274"/>
              <a:gd name="connsiteY8" fmla="*/ 4479908 h 4479908"/>
              <a:gd name="connsiteX9" fmla="*/ 230 w 4803274"/>
              <a:gd name="connsiteY9" fmla="*/ 3598348 h 4479908"/>
              <a:gd name="connsiteX0" fmla="*/ 230 w 4803274"/>
              <a:gd name="connsiteY0" fmla="*/ 3598348 h 4479908"/>
              <a:gd name="connsiteX1" fmla="*/ 349051 w 4803274"/>
              <a:gd name="connsiteY1" fmla="*/ 2579190 h 4479908"/>
              <a:gd name="connsiteX2" fmla="*/ 1656220 w 4803274"/>
              <a:gd name="connsiteY2" fmla="*/ 422461 h 4479908"/>
              <a:gd name="connsiteX3" fmla="*/ 2374703 w 4803274"/>
              <a:gd name="connsiteY3" fmla="*/ 186 h 4479908"/>
              <a:gd name="connsiteX4" fmla="*/ 3184326 w 4803274"/>
              <a:gd name="connsiteY4" fmla="*/ 474165 h 4479908"/>
              <a:gd name="connsiteX5" fmla="*/ 4454326 w 4803274"/>
              <a:gd name="connsiteY5" fmla="*/ 2582365 h 4479908"/>
              <a:gd name="connsiteX6" fmla="*/ 4774866 w 4803274"/>
              <a:gd name="connsiteY6" fmla="*/ 3731987 h 4479908"/>
              <a:gd name="connsiteX7" fmla="*/ 3916718 w 4803274"/>
              <a:gd name="connsiteY7" fmla="*/ 4397579 h 4479908"/>
              <a:gd name="connsiteX8" fmla="*/ 2397141 w 4803274"/>
              <a:gd name="connsiteY8" fmla="*/ 4479908 h 4479908"/>
              <a:gd name="connsiteX9" fmla="*/ 793551 w 4803274"/>
              <a:gd name="connsiteY9" fmla="*/ 4287340 h 4479908"/>
              <a:gd name="connsiteX10" fmla="*/ 230 w 4803274"/>
              <a:gd name="connsiteY10" fmla="*/ 3598348 h 4479908"/>
              <a:gd name="connsiteX0" fmla="*/ 230 w 4803274"/>
              <a:gd name="connsiteY0" fmla="*/ 3598348 h 4479908"/>
              <a:gd name="connsiteX1" fmla="*/ 349051 w 4803274"/>
              <a:gd name="connsiteY1" fmla="*/ 2579190 h 4479908"/>
              <a:gd name="connsiteX2" fmla="*/ 1656220 w 4803274"/>
              <a:gd name="connsiteY2" fmla="*/ 422461 h 4479908"/>
              <a:gd name="connsiteX3" fmla="*/ 2374703 w 4803274"/>
              <a:gd name="connsiteY3" fmla="*/ 186 h 4479908"/>
              <a:gd name="connsiteX4" fmla="*/ 3184326 w 4803274"/>
              <a:gd name="connsiteY4" fmla="*/ 474165 h 4479908"/>
              <a:gd name="connsiteX5" fmla="*/ 4454326 w 4803274"/>
              <a:gd name="connsiteY5" fmla="*/ 2582365 h 4479908"/>
              <a:gd name="connsiteX6" fmla="*/ 4774866 w 4803274"/>
              <a:gd name="connsiteY6" fmla="*/ 3731987 h 4479908"/>
              <a:gd name="connsiteX7" fmla="*/ 3916718 w 4803274"/>
              <a:gd name="connsiteY7" fmla="*/ 4397579 h 4479908"/>
              <a:gd name="connsiteX8" fmla="*/ 2397141 w 4803274"/>
              <a:gd name="connsiteY8" fmla="*/ 4479908 h 4479908"/>
              <a:gd name="connsiteX9" fmla="*/ 698301 w 4803274"/>
              <a:gd name="connsiteY9" fmla="*/ 4369890 h 4479908"/>
              <a:gd name="connsiteX10" fmla="*/ 230 w 4803274"/>
              <a:gd name="connsiteY10" fmla="*/ 3598348 h 4479908"/>
              <a:gd name="connsiteX0" fmla="*/ 230 w 4803274"/>
              <a:gd name="connsiteY0" fmla="*/ 3598348 h 4479908"/>
              <a:gd name="connsiteX1" fmla="*/ 349051 w 4803274"/>
              <a:gd name="connsiteY1" fmla="*/ 2579190 h 4479908"/>
              <a:gd name="connsiteX2" fmla="*/ 1656220 w 4803274"/>
              <a:gd name="connsiteY2" fmla="*/ 422461 h 4479908"/>
              <a:gd name="connsiteX3" fmla="*/ 2374703 w 4803274"/>
              <a:gd name="connsiteY3" fmla="*/ 186 h 4479908"/>
              <a:gd name="connsiteX4" fmla="*/ 3184326 w 4803274"/>
              <a:gd name="connsiteY4" fmla="*/ 474165 h 4479908"/>
              <a:gd name="connsiteX5" fmla="*/ 4454326 w 4803274"/>
              <a:gd name="connsiteY5" fmla="*/ 2582365 h 4479908"/>
              <a:gd name="connsiteX6" fmla="*/ 4774866 w 4803274"/>
              <a:gd name="connsiteY6" fmla="*/ 3731987 h 4479908"/>
              <a:gd name="connsiteX7" fmla="*/ 3916718 w 4803274"/>
              <a:gd name="connsiteY7" fmla="*/ 4397579 h 4479908"/>
              <a:gd name="connsiteX8" fmla="*/ 2397141 w 4803274"/>
              <a:gd name="connsiteY8" fmla="*/ 4479908 h 4479908"/>
              <a:gd name="connsiteX9" fmla="*/ 698301 w 4803274"/>
              <a:gd name="connsiteY9" fmla="*/ 4369890 h 4479908"/>
              <a:gd name="connsiteX10" fmla="*/ 230 w 4803274"/>
              <a:gd name="connsiteY10" fmla="*/ 3598348 h 4479908"/>
              <a:gd name="connsiteX0" fmla="*/ 230 w 4803274"/>
              <a:gd name="connsiteY0" fmla="*/ 3598348 h 4479908"/>
              <a:gd name="connsiteX1" fmla="*/ 349051 w 4803274"/>
              <a:gd name="connsiteY1" fmla="*/ 2579190 h 4479908"/>
              <a:gd name="connsiteX2" fmla="*/ 1656220 w 4803274"/>
              <a:gd name="connsiteY2" fmla="*/ 422461 h 4479908"/>
              <a:gd name="connsiteX3" fmla="*/ 2374703 w 4803274"/>
              <a:gd name="connsiteY3" fmla="*/ 186 h 4479908"/>
              <a:gd name="connsiteX4" fmla="*/ 3184326 w 4803274"/>
              <a:gd name="connsiteY4" fmla="*/ 474165 h 4479908"/>
              <a:gd name="connsiteX5" fmla="*/ 4454326 w 4803274"/>
              <a:gd name="connsiteY5" fmla="*/ 2582365 h 4479908"/>
              <a:gd name="connsiteX6" fmla="*/ 4774866 w 4803274"/>
              <a:gd name="connsiteY6" fmla="*/ 3731987 h 4479908"/>
              <a:gd name="connsiteX7" fmla="*/ 3916718 w 4803274"/>
              <a:gd name="connsiteY7" fmla="*/ 4397579 h 4479908"/>
              <a:gd name="connsiteX8" fmla="*/ 2397141 w 4803274"/>
              <a:gd name="connsiteY8" fmla="*/ 4479908 h 4479908"/>
              <a:gd name="connsiteX9" fmla="*/ 698301 w 4803274"/>
              <a:gd name="connsiteY9" fmla="*/ 4369890 h 4479908"/>
              <a:gd name="connsiteX10" fmla="*/ 230 w 4803274"/>
              <a:gd name="connsiteY10" fmla="*/ 3598348 h 4479908"/>
              <a:gd name="connsiteX0" fmla="*/ 230 w 4803274"/>
              <a:gd name="connsiteY0" fmla="*/ 3598348 h 4479908"/>
              <a:gd name="connsiteX1" fmla="*/ 349051 w 4803274"/>
              <a:gd name="connsiteY1" fmla="*/ 2579190 h 4479908"/>
              <a:gd name="connsiteX2" fmla="*/ 1656220 w 4803274"/>
              <a:gd name="connsiteY2" fmla="*/ 422461 h 4479908"/>
              <a:gd name="connsiteX3" fmla="*/ 2374703 w 4803274"/>
              <a:gd name="connsiteY3" fmla="*/ 186 h 4479908"/>
              <a:gd name="connsiteX4" fmla="*/ 3184326 w 4803274"/>
              <a:gd name="connsiteY4" fmla="*/ 474165 h 4479908"/>
              <a:gd name="connsiteX5" fmla="*/ 4454326 w 4803274"/>
              <a:gd name="connsiteY5" fmla="*/ 2582365 h 4479908"/>
              <a:gd name="connsiteX6" fmla="*/ 4774866 w 4803274"/>
              <a:gd name="connsiteY6" fmla="*/ 3731987 h 4479908"/>
              <a:gd name="connsiteX7" fmla="*/ 3916718 w 4803274"/>
              <a:gd name="connsiteY7" fmla="*/ 4397579 h 4479908"/>
              <a:gd name="connsiteX8" fmla="*/ 2397141 w 4803274"/>
              <a:gd name="connsiteY8" fmla="*/ 4479908 h 4479908"/>
              <a:gd name="connsiteX9" fmla="*/ 698301 w 4803274"/>
              <a:gd name="connsiteY9" fmla="*/ 4369890 h 4479908"/>
              <a:gd name="connsiteX10" fmla="*/ 230 w 4803274"/>
              <a:gd name="connsiteY10" fmla="*/ 3598348 h 4479908"/>
              <a:gd name="connsiteX0" fmla="*/ 230 w 4803274"/>
              <a:gd name="connsiteY0" fmla="*/ 3598348 h 4479908"/>
              <a:gd name="connsiteX1" fmla="*/ 349051 w 4803274"/>
              <a:gd name="connsiteY1" fmla="*/ 2579190 h 4479908"/>
              <a:gd name="connsiteX2" fmla="*/ 1656220 w 4803274"/>
              <a:gd name="connsiteY2" fmla="*/ 422461 h 4479908"/>
              <a:gd name="connsiteX3" fmla="*/ 2374703 w 4803274"/>
              <a:gd name="connsiteY3" fmla="*/ 186 h 4479908"/>
              <a:gd name="connsiteX4" fmla="*/ 3184326 w 4803274"/>
              <a:gd name="connsiteY4" fmla="*/ 474165 h 4479908"/>
              <a:gd name="connsiteX5" fmla="*/ 4454326 w 4803274"/>
              <a:gd name="connsiteY5" fmla="*/ 2582365 h 4479908"/>
              <a:gd name="connsiteX6" fmla="*/ 4774866 w 4803274"/>
              <a:gd name="connsiteY6" fmla="*/ 3731987 h 4479908"/>
              <a:gd name="connsiteX7" fmla="*/ 3916718 w 4803274"/>
              <a:gd name="connsiteY7" fmla="*/ 4397579 h 4479908"/>
              <a:gd name="connsiteX8" fmla="*/ 2397141 w 4803274"/>
              <a:gd name="connsiteY8" fmla="*/ 4479908 h 4479908"/>
              <a:gd name="connsiteX9" fmla="*/ 698301 w 4803274"/>
              <a:gd name="connsiteY9" fmla="*/ 4369890 h 4479908"/>
              <a:gd name="connsiteX10" fmla="*/ 230 w 4803274"/>
              <a:gd name="connsiteY10" fmla="*/ 3598348 h 4479908"/>
              <a:gd name="connsiteX0" fmla="*/ 0 w 4803044"/>
              <a:gd name="connsiteY0" fmla="*/ 3598348 h 4479908"/>
              <a:gd name="connsiteX1" fmla="*/ 348821 w 4803044"/>
              <a:gd name="connsiteY1" fmla="*/ 2579190 h 4479908"/>
              <a:gd name="connsiteX2" fmla="*/ 1655990 w 4803044"/>
              <a:gd name="connsiteY2" fmla="*/ 422461 h 4479908"/>
              <a:gd name="connsiteX3" fmla="*/ 2374473 w 4803044"/>
              <a:gd name="connsiteY3" fmla="*/ 186 h 4479908"/>
              <a:gd name="connsiteX4" fmla="*/ 3184096 w 4803044"/>
              <a:gd name="connsiteY4" fmla="*/ 474165 h 4479908"/>
              <a:gd name="connsiteX5" fmla="*/ 4454096 w 4803044"/>
              <a:gd name="connsiteY5" fmla="*/ 2582365 h 4479908"/>
              <a:gd name="connsiteX6" fmla="*/ 4774636 w 4803044"/>
              <a:gd name="connsiteY6" fmla="*/ 3731987 h 4479908"/>
              <a:gd name="connsiteX7" fmla="*/ 3916488 w 4803044"/>
              <a:gd name="connsiteY7" fmla="*/ 4397579 h 4479908"/>
              <a:gd name="connsiteX8" fmla="*/ 2396911 w 4803044"/>
              <a:gd name="connsiteY8" fmla="*/ 4479908 h 4479908"/>
              <a:gd name="connsiteX9" fmla="*/ 698071 w 4803044"/>
              <a:gd name="connsiteY9" fmla="*/ 4369890 h 4479908"/>
              <a:gd name="connsiteX10" fmla="*/ 0 w 4803044"/>
              <a:gd name="connsiteY10" fmla="*/ 3598348 h 4479908"/>
              <a:gd name="connsiteX0" fmla="*/ 0 w 4803044"/>
              <a:gd name="connsiteY0" fmla="*/ 3598348 h 4479908"/>
              <a:gd name="connsiteX1" fmla="*/ 348821 w 4803044"/>
              <a:gd name="connsiteY1" fmla="*/ 2579190 h 4479908"/>
              <a:gd name="connsiteX2" fmla="*/ 1655990 w 4803044"/>
              <a:gd name="connsiteY2" fmla="*/ 422461 h 4479908"/>
              <a:gd name="connsiteX3" fmla="*/ 2374473 w 4803044"/>
              <a:gd name="connsiteY3" fmla="*/ 186 h 4479908"/>
              <a:gd name="connsiteX4" fmla="*/ 3184096 w 4803044"/>
              <a:gd name="connsiteY4" fmla="*/ 474165 h 4479908"/>
              <a:gd name="connsiteX5" fmla="*/ 4454096 w 4803044"/>
              <a:gd name="connsiteY5" fmla="*/ 2582365 h 4479908"/>
              <a:gd name="connsiteX6" fmla="*/ 4774636 w 4803044"/>
              <a:gd name="connsiteY6" fmla="*/ 3731987 h 4479908"/>
              <a:gd name="connsiteX7" fmla="*/ 3916488 w 4803044"/>
              <a:gd name="connsiteY7" fmla="*/ 4397579 h 4479908"/>
              <a:gd name="connsiteX8" fmla="*/ 2396911 w 4803044"/>
              <a:gd name="connsiteY8" fmla="*/ 4479908 h 4479908"/>
              <a:gd name="connsiteX9" fmla="*/ 698071 w 4803044"/>
              <a:gd name="connsiteY9" fmla="*/ 4369890 h 4479908"/>
              <a:gd name="connsiteX10" fmla="*/ 0 w 4803044"/>
              <a:gd name="connsiteY10" fmla="*/ 3598348 h 4479908"/>
              <a:gd name="connsiteX0" fmla="*/ 0 w 4796694"/>
              <a:gd name="connsiteY0" fmla="*/ 3598348 h 4479908"/>
              <a:gd name="connsiteX1" fmla="*/ 342471 w 4796694"/>
              <a:gd name="connsiteY1" fmla="*/ 2579190 h 4479908"/>
              <a:gd name="connsiteX2" fmla="*/ 1649640 w 4796694"/>
              <a:gd name="connsiteY2" fmla="*/ 422461 h 4479908"/>
              <a:gd name="connsiteX3" fmla="*/ 2368123 w 4796694"/>
              <a:gd name="connsiteY3" fmla="*/ 186 h 4479908"/>
              <a:gd name="connsiteX4" fmla="*/ 3177746 w 4796694"/>
              <a:gd name="connsiteY4" fmla="*/ 474165 h 4479908"/>
              <a:gd name="connsiteX5" fmla="*/ 4447746 w 4796694"/>
              <a:gd name="connsiteY5" fmla="*/ 2582365 h 4479908"/>
              <a:gd name="connsiteX6" fmla="*/ 4768286 w 4796694"/>
              <a:gd name="connsiteY6" fmla="*/ 3731987 h 4479908"/>
              <a:gd name="connsiteX7" fmla="*/ 3910138 w 4796694"/>
              <a:gd name="connsiteY7" fmla="*/ 4397579 h 4479908"/>
              <a:gd name="connsiteX8" fmla="*/ 2390561 w 4796694"/>
              <a:gd name="connsiteY8" fmla="*/ 4479908 h 4479908"/>
              <a:gd name="connsiteX9" fmla="*/ 691721 w 4796694"/>
              <a:gd name="connsiteY9" fmla="*/ 4369890 h 4479908"/>
              <a:gd name="connsiteX10" fmla="*/ 0 w 4796694"/>
              <a:gd name="connsiteY10" fmla="*/ 3598348 h 4479908"/>
              <a:gd name="connsiteX0" fmla="*/ 0 w 4796694"/>
              <a:gd name="connsiteY0" fmla="*/ 3598348 h 4479908"/>
              <a:gd name="connsiteX1" fmla="*/ 342471 w 4796694"/>
              <a:gd name="connsiteY1" fmla="*/ 2579190 h 4479908"/>
              <a:gd name="connsiteX2" fmla="*/ 1649640 w 4796694"/>
              <a:gd name="connsiteY2" fmla="*/ 422461 h 4479908"/>
              <a:gd name="connsiteX3" fmla="*/ 2368123 w 4796694"/>
              <a:gd name="connsiteY3" fmla="*/ 186 h 4479908"/>
              <a:gd name="connsiteX4" fmla="*/ 3177746 w 4796694"/>
              <a:gd name="connsiteY4" fmla="*/ 474165 h 4479908"/>
              <a:gd name="connsiteX5" fmla="*/ 4447746 w 4796694"/>
              <a:gd name="connsiteY5" fmla="*/ 2582365 h 4479908"/>
              <a:gd name="connsiteX6" fmla="*/ 4768286 w 4796694"/>
              <a:gd name="connsiteY6" fmla="*/ 3731987 h 4479908"/>
              <a:gd name="connsiteX7" fmla="*/ 3910138 w 4796694"/>
              <a:gd name="connsiteY7" fmla="*/ 4397579 h 4479908"/>
              <a:gd name="connsiteX8" fmla="*/ 2390561 w 4796694"/>
              <a:gd name="connsiteY8" fmla="*/ 4479908 h 4479908"/>
              <a:gd name="connsiteX9" fmla="*/ 691721 w 4796694"/>
              <a:gd name="connsiteY9" fmla="*/ 4369890 h 4479908"/>
              <a:gd name="connsiteX10" fmla="*/ 0 w 4796694"/>
              <a:gd name="connsiteY10" fmla="*/ 3598348 h 4479908"/>
              <a:gd name="connsiteX0" fmla="*/ 0 w 4796694"/>
              <a:gd name="connsiteY0" fmla="*/ 3598348 h 4479908"/>
              <a:gd name="connsiteX1" fmla="*/ 342471 w 4796694"/>
              <a:gd name="connsiteY1" fmla="*/ 2579190 h 4479908"/>
              <a:gd name="connsiteX2" fmla="*/ 1649640 w 4796694"/>
              <a:gd name="connsiteY2" fmla="*/ 422461 h 4479908"/>
              <a:gd name="connsiteX3" fmla="*/ 2368123 w 4796694"/>
              <a:gd name="connsiteY3" fmla="*/ 186 h 4479908"/>
              <a:gd name="connsiteX4" fmla="*/ 3177746 w 4796694"/>
              <a:gd name="connsiteY4" fmla="*/ 474165 h 4479908"/>
              <a:gd name="connsiteX5" fmla="*/ 4447746 w 4796694"/>
              <a:gd name="connsiteY5" fmla="*/ 2582365 h 4479908"/>
              <a:gd name="connsiteX6" fmla="*/ 4768286 w 4796694"/>
              <a:gd name="connsiteY6" fmla="*/ 3731987 h 4479908"/>
              <a:gd name="connsiteX7" fmla="*/ 3910138 w 4796694"/>
              <a:gd name="connsiteY7" fmla="*/ 4397579 h 4479908"/>
              <a:gd name="connsiteX8" fmla="*/ 2390561 w 4796694"/>
              <a:gd name="connsiteY8" fmla="*/ 4479908 h 4479908"/>
              <a:gd name="connsiteX9" fmla="*/ 691721 w 4796694"/>
              <a:gd name="connsiteY9" fmla="*/ 4369890 h 4479908"/>
              <a:gd name="connsiteX10" fmla="*/ 0 w 4796694"/>
              <a:gd name="connsiteY10" fmla="*/ 3598348 h 4479908"/>
              <a:gd name="connsiteX0" fmla="*/ 0 w 4796694"/>
              <a:gd name="connsiteY0" fmla="*/ 3598348 h 4479908"/>
              <a:gd name="connsiteX1" fmla="*/ 342471 w 4796694"/>
              <a:gd name="connsiteY1" fmla="*/ 2579190 h 4479908"/>
              <a:gd name="connsiteX2" fmla="*/ 1649640 w 4796694"/>
              <a:gd name="connsiteY2" fmla="*/ 422461 h 4479908"/>
              <a:gd name="connsiteX3" fmla="*/ 2368123 w 4796694"/>
              <a:gd name="connsiteY3" fmla="*/ 186 h 4479908"/>
              <a:gd name="connsiteX4" fmla="*/ 3177746 w 4796694"/>
              <a:gd name="connsiteY4" fmla="*/ 474165 h 4479908"/>
              <a:gd name="connsiteX5" fmla="*/ 4447746 w 4796694"/>
              <a:gd name="connsiteY5" fmla="*/ 2582365 h 4479908"/>
              <a:gd name="connsiteX6" fmla="*/ 4768286 w 4796694"/>
              <a:gd name="connsiteY6" fmla="*/ 3731987 h 4479908"/>
              <a:gd name="connsiteX7" fmla="*/ 3910138 w 4796694"/>
              <a:gd name="connsiteY7" fmla="*/ 4397579 h 4479908"/>
              <a:gd name="connsiteX8" fmla="*/ 2390561 w 4796694"/>
              <a:gd name="connsiteY8" fmla="*/ 4479908 h 4479908"/>
              <a:gd name="connsiteX9" fmla="*/ 691721 w 4796694"/>
              <a:gd name="connsiteY9" fmla="*/ 4369890 h 4479908"/>
              <a:gd name="connsiteX10" fmla="*/ 0 w 4796694"/>
              <a:gd name="connsiteY10" fmla="*/ 3598348 h 4479908"/>
              <a:gd name="connsiteX0" fmla="*/ 0 w 4796694"/>
              <a:gd name="connsiteY0" fmla="*/ 3598348 h 4479908"/>
              <a:gd name="connsiteX1" fmla="*/ 342471 w 4796694"/>
              <a:gd name="connsiteY1" fmla="*/ 2579190 h 4479908"/>
              <a:gd name="connsiteX2" fmla="*/ 1649640 w 4796694"/>
              <a:gd name="connsiteY2" fmla="*/ 422461 h 4479908"/>
              <a:gd name="connsiteX3" fmla="*/ 2368123 w 4796694"/>
              <a:gd name="connsiteY3" fmla="*/ 186 h 4479908"/>
              <a:gd name="connsiteX4" fmla="*/ 3177746 w 4796694"/>
              <a:gd name="connsiteY4" fmla="*/ 474165 h 4479908"/>
              <a:gd name="connsiteX5" fmla="*/ 4447746 w 4796694"/>
              <a:gd name="connsiteY5" fmla="*/ 2582365 h 4479908"/>
              <a:gd name="connsiteX6" fmla="*/ 4768286 w 4796694"/>
              <a:gd name="connsiteY6" fmla="*/ 3731987 h 4479908"/>
              <a:gd name="connsiteX7" fmla="*/ 3910138 w 4796694"/>
              <a:gd name="connsiteY7" fmla="*/ 4397579 h 4479908"/>
              <a:gd name="connsiteX8" fmla="*/ 2390561 w 4796694"/>
              <a:gd name="connsiteY8" fmla="*/ 4479908 h 4479908"/>
              <a:gd name="connsiteX9" fmla="*/ 691721 w 4796694"/>
              <a:gd name="connsiteY9" fmla="*/ 4369890 h 4479908"/>
              <a:gd name="connsiteX10" fmla="*/ 0 w 4796694"/>
              <a:gd name="connsiteY10" fmla="*/ 3598348 h 4479908"/>
              <a:gd name="connsiteX0" fmla="*/ 0 w 4796694"/>
              <a:gd name="connsiteY0" fmla="*/ 3598348 h 4479908"/>
              <a:gd name="connsiteX1" fmla="*/ 342471 w 4796694"/>
              <a:gd name="connsiteY1" fmla="*/ 2579190 h 4479908"/>
              <a:gd name="connsiteX2" fmla="*/ 1649640 w 4796694"/>
              <a:gd name="connsiteY2" fmla="*/ 422461 h 4479908"/>
              <a:gd name="connsiteX3" fmla="*/ 2368123 w 4796694"/>
              <a:gd name="connsiteY3" fmla="*/ 186 h 4479908"/>
              <a:gd name="connsiteX4" fmla="*/ 3177746 w 4796694"/>
              <a:gd name="connsiteY4" fmla="*/ 474165 h 4479908"/>
              <a:gd name="connsiteX5" fmla="*/ 4447746 w 4796694"/>
              <a:gd name="connsiteY5" fmla="*/ 2582365 h 4479908"/>
              <a:gd name="connsiteX6" fmla="*/ 4768286 w 4796694"/>
              <a:gd name="connsiteY6" fmla="*/ 3731987 h 4479908"/>
              <a:gd name="connsiteX7" fmla="*/ 3910138 w 4796694"/>
              <a:gd name="connsiteY7" fmla="*/ 4397579 h 4479908"/>
              <a:gd name="connsiteX8" fmla="*/ 2390561 w 4796694"/>
              <a:gd name="connsiteY8" fmla="*/ 4479908 h 4479908"/>
              <a:gd name="connsiteX9" fmla="*/ 691721 w 4796694"/>
              <a:gd name="connsiteY9" fmla="*/ 4369890 h 4479908"/>
              <a:gd name="connsiteX10" fmla="*/ 0 w 4796694"/>
              <a:gd name="connsiteY10" fmla="*/ 3598348 h 4479908"/>
              <a:gd name="connsiteX0" fmla="*/ 0 w 4796694"/>
              <a:gd name="connsiteY0" fmla="*/ 3598348 h 4479908"/>
              <a:gd name="connsiteX1" fmla="*/ 342471 w 4796694"/>
              <a:gd name="connsiteY1" fmla="*/ 2579190 h 4479908"/>
              <a:gd name="connsiteX2" fmla="*/ 1649640 w 4796694"/>
              <a:gd name="connsiteY2" fmla="*/ 422461 h 4479908"/>
              <a:gd name="connsiteX3" fmla="*/ 2368123 w 4796694"/>
              <a:gd name="connsiteY3" fmla="*/ 186 h 4479908"/>
              <a:gd name="connsiteX4" fmla="*/ 3177746 w 4796694"/>
              <a:gd name="connsiteY4" fmla="*/ 474165 h 4479908"/>
              <a:gd name="connsiteX5" fmla="*/ 4447746 w 4796694"/>
              <a:gd name="connsiteY5" fmla="*/ 2582365 h 4479908"/>
              <a:gd name="connsiteX6" fmla="*/ 4768286 w 4796694"/>
              <a:gd name="connsiteY6" fmla="*/ 3731987 h 4479908"/>
              <a:gd name="connsiteX7" fmla="*/ 3910138 w 4796694"/>
              <a:gd name="connsiteY7" fmla="*/ 4397579 h 4479908"/>
              <a:gd name="connsiteX8" fmla="*/ 2390561 w 4796694"/>
              <a:gd name="connsiteY8" fmla="*/ 4479908 h 4479908"/>
              <a:gd name="connsiteX9" fmla="*/ 691721 w 4796694"/>
              <a:gd name="connsiteY9" fmla="*/ 4369890 h 4479908"/>
              <a:gd name="connsiteX10" fmla="*/ 0 w 4796694"/>
              <a:gd name="connsiteY10" fmla="*/ 3598348 h 4479908"/>
              <a:gd name="connsiteX0" fmla="*/ 0 w 4796694"/>
              <a:gd name="connsiteY0" fmla="*/ 3598348 h 4479908"/>
              <a:gd name="connsiteX1" fmla="*/ 342471 w 4796694"/>
              <a:gd name="connsiteY1" fmla="*/ 2579190 h 4479908"/>
              <a:gd name="connsiteX2" fmla="*/ 1649640 w 4796694"/>
              <a:gd name="connsiteY2" fmla="*/ 422461 h 4479908"/>
              <a:gd name="connsiteX3" fmla="*/ 2368123 w 4796694"/>
              <a:gd name="connsiteY3" fmla="*/ 186 h 4479908"/>
              <a:gd name="connsiteX4" fmla="*/ 3177746 w 4796694"/>
              <a:gd name="connsiteY4" fmla="*/ 474165 h 4479908"/>
              <a:gd name="connsiteX5" fmla="*/ 4447746 w 4796694"/>
              <a:gd name="connsiteY5" fmla="*/ 2582365 h 4479908"/>
              <a:gd name="connsiteX6" fmla="*/ 4768286 w 4796694"/>
              <a:gd name="connsiteY6" fmla="*/ 3731987 h 4479908"/>
              <a:gd name="connsiteX7" fmla="*/ 3910138 w 4796694"/>
              <a:gd name="connsiteY7" fmla="*/ 4397579 h 4479908"/>
              <a:gd name="connsiteX8" fmla="*/ 2390561 w 4796694"/>
              <a:gd name="connsiteY8" fmla="*/ 4479908 h 4479908"/>
              <a:gd name="connsiteX9" fmla="*/ 691721 w 4796694"/>
              <a:gd name="connsiteY9" fmla="*/ 4369890 h 4479908"/>
              <a:gd name="connsiteX10" fmla="*/ 0 w 4796694"/>
              <a:gd name="connsiteY10" fmla="*/ 3598348 h 4479908"/>
              <a:gd name="connsiteX0" fmla="*/ 2721 w 4799415"/>
              <a:gd name="connsiteY0" fmla="*/ 3598348 h 4479908"/>
              <a:gd name="connsiteX1" fmla="*/ 345192 w 4799415"/>
              <a:gd name="connsiteY1" fmla="*/ 2579190 h 4479908"/>
              <a:gd name="connsiteX2" fmla="*/ 1652361 w 4799415"/>
              <a:gd name="connsiteY2" fmla="*/ 422461 h 4479908"/>
              <a:gd name="connsiteX3" fmla="*/ 2370844 w 4799415"/>
              <a:gd name="connsiteY3" fmla="*/ 186 h 4479908"/>
              <a:gd name="connsiteX4" fmla="*/ 3180467 w 4799415"/>
              <a:gd name="connsiteY4" fmla="*/ 474165 h 4479908"/>
              <a:gd name="connsiteX5" fmla="*/ 4450467 w 4799415"/>
              <a:gd name="connsiteY5" fmla="*/ 2582365 h 4479908"/>
              <a:gd name="connsiteX6" fmla="*/ 4771007 w 4799415"/>
              <a:gd name="connsiteY6" fmla="*/ 3731987 h 4479908"/>
              <a:gd name="connsiteX7" fmla="*/ 3912859 w 4799415"/>
              <a:gd name="connsiteY7" fmla="*/ 4397579 h 4479908"/>
              <a:gd name="connsiteX8" fmla="*/ 2393282 w 4799415"/>
              <a:gd name="connsiteY8" fmla="*/ 4479908 h 4479908"/>
              <a:gd name="connsiteX9" fmla="*/ 694442 w 4799415"/>
              <a:gd name="connsiteY9" fmla="*/ 4369890 h 4479908"/>
              <a:gd name="connsiteX10" fmla="*/ 2721 w 4799415"/>
              <a:gd name="connsiteY10" fmla="*/ 3598348 h 4479908"/>
              <a:gd name="connsiteX0" fmla="*/ 2118 w 4798812"/>
              <a:gd name="connsiteY0" fmla="*/ 3598348 h 4479908"/>
              <a:gd name="connsiteX1" fmla="*/ 344589 w 4798812"/>
              <a:gd name="connsiteY1" fmla="*/ 2579190 h 4479908"/>
              <a:gd name="connsiteX2" fmla="*/ 1651758 w 4798812"/>
              <a:gd name="connsiteY2" fmla="*/ 422461 h 4479908"/>
              <a:gd name="connsiteX3" fmla="*/ 2370241 w 4798812"/>
              <a:gd name="connsiteY3" fmla="*/ 186 h 4479908"/>
              <a:gd name="connsiteX4" fmla="*/ 3179864 w 4798812"/>
              <a:gd name="connsiteY4" fmla="*/ 474165 h 4479908"/>
              <a:gd name="connsiteX5" fmla="*/ 4449864 w 4798812"/>
              <a:gd name="connsiteY5" fmla="*/ 2582365 h 4479908"/>
              <a:gd name="connsiteX6" fmla="*/ 4770404 w 4798812"/>
              <a:gd name="connsiteY6" fmla="*/ 3731987 h 4479908"/>
              <a:gd name="connsiteX7" fmla="*/ 3912256 w 4798812"/>
              <a:gd name="connsiteY7" fmla="*/ 4397579 h 4479908"/>
              <a:gd name="connsiteX8" fmla="*/ 2392679 w 4798812"/>
              <a:gd name="connsiteY8" fmla="*/ 4479908 h 4479908"/>
              <a:gd name="connsiteX9" fmla="*/ 693839 w 4798812"/>
              <a:gd name="connsiteY9" fmla="*/ 4369890 h 4479908"/>
              <a:gd name="connsiteX10" fmla="*/ 2118 w 4798812"/>
              <a:gd name="connsiteY10" fmla="*/ 3598348 h 4479908"/>
              <a:gd name="connsiteX0" fmla="*/ 2118 w 4798812"/>
              <a:gd name="connsiteY0" fmla="*/ 3598348 h 4479908"/>
              <a:gd name="connsiteX1" fmla="*/ 344589 w 4798812"/>
              <a:gd name="connsiteY1" fmla="*/ 2579190 h 4479908"/>
              <a:gd name="connsiteX2" fmla="*/ 1651758 w 4798812"/>
              <a:gd name="connsiteY2" fmla="*/ 422461 h 4479908"/>
              <a:gd name="connsiteX3" fmla="*/ 2370241 w 4798812"/>
              <a:gd name="connsiteY3" fmla="*/ 186 h 4479908"/>
              <a:gd name="connsiteX4" fmla="*/ 3179864 w 4798812"/>
              <a:gd name="connsiteY4" fmla="*/ 474165 h 4479908"/>
              <a:gd name="connsiteX5" fmla="*/ 4449864 w 4798812"/>
              <a:gd name="connsiteY5" fmla="*/ 2582365 h 4479908"/>
              <a:gd name="connsiteX6" fmla="*/ 4770404 w 4798812"/>
              <a:gd name="connsiteY6" fmla="*/ 3731987 h 4479908"/>
              <a:gd name="connsiteX7" fmla="*/ 3912256 w 4798812"/>
              <a:gd name="connsiteY7" fmla="*/ 4397579 h 4479908"/>
              <a:gd name="connsiteX8" fmla="*/ 2392679 w 4798812"/>
              <a:gd name="connsiteY8" fmla="*/ 4479908 h 4479908"/>
              <a:gd name="connsiteX9" fmla="*/ 693839 w 4798812"/>
              <a:gd name="connsiteY9" fmla="*/ 4369890 h 4479908"/>
              <a:gd name="connsiteX10" fmla="*/ 2118 w 4798812"/>
              <a:gd name="connsiteY10" fmla="*/ 3598348 h 4479908"/>
              <a:gd name="connsiteX0" fmla="*/ 2118 w 4798812"/>
              <a:gd name="connsiteY0" fmla="*/ 3598348 h 4479908"/>
              <a:gd name="connsiteX1" fmla="*/ 344589 w 4798812"/>
              <a:gd name="connsiteY1" fmla="*/ 2579190 h 4479908"/>
              <a:gd name="connsiteX2" fmla="*/ 1651758 w 4798812"/>
              <a:gd name="connsiteY2" fmla="*/ 422461 h 4479908"/>
              <a:gd name="connsiteX3" fmla="*/ 2370241 w 4798812"/>
              <a:gd name="connsiteY3" fmla="*/ 186 h 4479908"/>
              <a:gd name="connsiteX4" fmla="*/ 3179864 w 4798812"/>
              <a:gd name="connsiteY4" fmla="*/ 474165 h 4479908"/>
              <a:gd name="connsiteX5" fmla="*/ 4449864 w 4798812"/>
              <a:gd name="connsiteY5" fmla="*/ 2582365 h 4479908"/>
              <a:gd name="connsiteX6" fmla="*/ 4770404 w 4798812"/>
              <a:gd name="connsiteY6" fmla="*/ 3731987 h 4479908"/>
              <a:gd name="connsiteX7" fmla="*/ 3912256 w 4798812"/>
              <a:gd name="connsiteY7" fmla="*/ 4397579 h 4479908"/>
              <a:gd name="connsiteX8" fmla="*/ 2392679 w 4798812"/>
              <a:gd name="connsiteY8" fmla="*/ 4479908 h 4479908"/>
              <a:gd name="connsiteX9" fmla="*/ 693839 w 4798812"/>
              <a:gd name="connsiteY9" fmla="*/ 4369890 h 4479908"/>
              <a:gd name="connsiteX10" fmla="*/ 2118 w 4798812"/>
              <a:gd name="connsiteY10" fmla="*/ 3598348 h 4479908"/>
              <a:gd name="connsiteX0" fmla="*/ 2118 w 4798812"/>
              <a:gd name="connsiteY0" fmla="*/ 3598348 h 4479908"/>
              <a:gd name="connsiteX1" fmla="*/ 344589 w 4798812"/>
              <a:gd name="connsiteY1" fmla="*/ 2579190 h 4479908"/>
              <a:gd name="connsiteX2" fmla="*/ 1651758 w 4798812"/>
              <a:gd name="connsiteY2" fmla="*/ 422461 h 4479908"/>
              <a:gd name="connsiteX3" fmla="*/ 2370241 w 4798812"/>
              <a:gd name="connsiteY3" fmla="*/ 186 h 4479908"/>
              <a:gd name="connsiteX4" fmla="*/ 3179864 w 4798812"/>
              <a:gd name="connsiteY4" fmla="*/ 474165 h 4479908"/>
              <a:gd name="connsiteX5" fmla="*/ 4449864 w 4798812"/>
              <a:gd name="connsiteY5" fmla="*/ 2582365 h 4479908"/>
              <a:gd name="connsiteX6" fmla="*/ 4770404 w 4798812"/>
              <a:gd name="connsiteY6" fmla="*/ 3731987 h 4479908"/>
              <a:gd name="connsiteX7" fmla="*/ 3912256 w 4798812"/>
              <a:gd name="connsiteY7" fmla="*/ 4397579 h 4479908"/>
              <a:gd name="connsiteX8" fmla="*/ 2392679 w 4798812"/>
              <a:gd name="connsiteY8" fmla="*/ 4479908 h 4479908"/>
              <a:gd name="connsiteX9" fmla="*/ 693839 w 4798812"/>
              <a:gd name="connsiteY9" fmla="*/ 4369890 h 4479908"/>
              <a:gd name="connsiteX10" fmla="*/ 2118 w 4798812"/>
              <a:gd name="connsiteY10" fmla="*/ 3598348 h 4479908"/>
              <a:gd name="connsiteX0" fmla="*/ 2118 w 4798812"/>
              <a:gd name="connsiteY0" fmla="*/ 3598348 h 4479908"/>
              <a:gd name="connsiteX1" fmla="*/ 344589 w 4798812"/>
              <a:gd name="connsiteY1" fmla="*/ 2579190 h 4479908"/>
              <a:gd name="connsiteX2" fmla="*/ 1651758 w 4798812"/>
              <a:gd name="connsiteY2" fmla="*/ 422461 h 4479908"/>
              <a:gd name="connsiteX3" fmla="*/ 2370241 w 4798812"/>
              <a:gd name="connsiteY3" fmla="*/ 186 h 4479908"/>
              <a:gd name="connsiteX4" fmla="*/ 3179864 w 4798812"/>
              <a:gd name="connsiteY4" fmla="*/ 474165 h 4479908"/>
              <a:gd name="connsiteX5" fmla="*/ 4449864 w 4798812"/>
              <a:gd name="connsiteY5" fmla="*/ 2582365 h 4479908"/>
              <a:gd name="connsiteX6" fmla="*/ 4770404 w 4798812"/>
              <a:gd name="connsiteY6" fmla="*/ 3731987 h 4479908"/>
              <a:gd name="connsiteX7" fmla="*/ 3912256 w 4798812"/>
              <a:gd name="connsiteY7" fmla="*/ 4397579 h 4479908"/>
              <a:gd name="connsiteX8" fmla="*/ 2392679 w 4798812"/>
              <a:gd name="connsiteY8" fmla="*/ 4479908 h 4479908"/>
              <a:gd name="connsiteX9" fmla="*/ 693839 w 4798812"/>
              <a:gd name="connsiteY9" fmla="*/ 4369890 h 4479908"/>
              <a:gd name="connsiteX10" fmla="*/ 2118 w 4798812"/>
              <a:gd name="connsiteY10" fmla="*/ 3598348 h 4479908"/>
              <a:gd name="connsiteX0" fmla="*/ 2118 w 4798812"/>
              <a:gd name="connsiteY0" fmla="*/ 3598348 h 4479908"/>
              <a:gd name="connsiteX1" fmla="*/ 344589 w 4798812"/>
              <a:gd name="connsiteY1" fmla="*/ 2579190 h 4479908"/>
              <a:gd name="connsiteX2" fmla="*/ 1651758 w 4798812"/>
              <a:gd name="connsiteY2" fmla="*/ 422461 h 4479908"/>
              <a:gd name="connsiteX3" fmla="*/ 2370241 w 4798812"/>
              <a:gd name="connsiteY3" fmla="*/ 186 h 4479908"/>
              <a:gd name="connsiteX4" fmla="*/ 3179864 w 4798812"/>
              <a:gd name="connsiteY4" fmla="*/ 474165 h 4479908"/>
              <a:gd name="connsiteX5" fmla="*/ 4449864 w 4798812"/>
              <a:gd name="connsiteY5" fmla="*/ 2582365 h 4479908"/>
              <a:gd name="connsiteX6" fmla="*/ 4770404 w 4798812"/>
              <a:gd name="connsiteY6" fmla="*/ 3731987 h 4479908"/>
              <a:gd name="connsiteX7" fmla="*/ 3912256 w 4798812"/>
              <a:gd name="connsiteY7" fmla="*/ 4397579 h 4479908"/>
              <a:gd name="connsiteX8" fmla="*/ 2392679 w 4798812"/>
              <a:gd name="connsiteY8" fmla="*/ 4479908 h 4479908"/>
              <a:gd name="connsiteX9" fmla="*/ 693839 w 4798812"/>
              <a:gd name="connsiteY9" fmla="*/ 4369890 h 4479908"/>
              <a:gd name="connsiteX10" fmla="*/ 2118 w 4798812"/>
              <a:gd name="connsiteY10" fmla="*/ 3598348 h 4479908"/>
              <a:gd name="connsiteX0" fmla="*/ 2118 w 4798812"/>
              <a:gd name="connsiteY0" fmla="*/ 3598348 h 4479908"/>
              <a:gd name="connsiteX1" fmla="*/ 344589 w 4798812"/>
              <a:gd name="connsiteY1" fmla="*/ 2579190 h 4479908"/>
              <a:gd name="connsiteX2" fmla="*/ 1651758 w 4798812"/>
              <a:gd name="connsiteY2" fmla="*/ 422461 h 4479908"/>
              <a:gd name="connsiteX3" fmla="*/ 2370241 w 4798812"/>
              <a:gd name="connsiteY3" fmla="*/ 186 h 4479908"/>
              <a:gd name="connsiteX4" fmla="*/ 3179864 w 4798812"/>
              <a:gd name="connsiteY4" fmla="*/ 474165 h 4479908"/>
              <a:gd name="connsiteX5" fmla="*/ 4449864 w 4798812"/>
              <a:gd name="connsiteY5" fmla="*/ 2582365 h 4479908"/>
              <a:gd name="connsiteX6" fmla="*/ 4770404 w 4798812"/>
              <a:gd name="connsiteY6" fmla="*/ 3731987 h 4479908"/>
              <a:gd name="connsiteX7" fmla="*/ 3912256 w 4798812"/>
              <a:gd name="connsiteY7" fmla="*/ 4397579 h 4479908"/>
              <a:gd name="connsiteX8" fmla="*/ 2392679 w 4798812"/>
              <a:gd name="connsiteY8" fmla="*/ 4479908 h 4479908"/>
              <a:gd name="connsiteX9" fmla="*/ 693839 w 4798812"/>
              <a:gd name="connsiteY9" fmla="*/ 4369890 h 4479908"/>
              <a:gd name="connsiteX10" fmla="*/ 2118 w 4798812"/>
              <a:gd name="connsiteY10" fmla="*/ 3598348 h 4479908"/>
              <a:gd name="connsiteX0" fmla="*/ 2118 w 4797181"/>
              <a:gd name="connsiteY0" fmla="*/ 3598348 h 4479908"/>
              <a:gd name="connsiteX1" fmla="*/ 344589 w 4797181"/>
              <a:gd name="connsiteY1" fmla="*/ 2579190 h 4479908"/>
              <a:gd name="connsiteX2" fmla="*/ 1651758 w 4797181"/>
              <a:gd name="connsiteY2" fmla="*/ 422461 h 4479908"/>
              <a:gd name="connsiteX3" fmla="*/ 2370241 w 4797181"/>
              <a:gd name="connsiteY3" fmla="*/ 186 h 4479908"/>
              <a:gd name="connsiteX4" fmla="*/ 3179864 w 4797181"/>
              <a:gd name="connsiteY4" fmla="*/ 474165 h 4479908"/>
              <a:gd name="connsiteX5" fmla="*/ 4449864 w 4797181"/>
              <a:gd name="connsiteY5" fmla="*/ 2582365 h 4479908"/>
              <a:gd name="connsiteX6" fmla="*/ 4770404 w 4797181"/>
              <a:gd name="connsiteY6" fmla="*/ 3731987 h 4479908"/>
              <a:gd name="connsiteX7" fmla="*/ 3912256 w 4797181"/>
              <a:gd name="connsiteY7" fmla="*/ 4397579 h 4479908"/>
              <a:gd name="connsiteX8" fmla="*/ 2392679 w 4797181"/>
              <a:gd name="connsiteY8" fmla="*/ 4479908 h 4479908"/>
              <a:gd name="connsiteX9" fmla="*/ 693839 w 4797181"/>
              <a:gd name="connsiteY9" fmla="*/ 4369890 h 4479908"/>
              <a:gd name="connsiteX10" fmla="*/ 2118 w 4797181"/>
              <a:gd name="connsiteY10" fmla="*/ 3598348 h 4479908"/>
              <a:gd name="connsiteX0" fmla="*/ 2118 w 4792335"/>
              <a:gd name="connsiteY0" fmla="*/ 3598348 h 4479908"/>
              <a:gd name="connsiteX1" fmla="*/ 344589 w 4792335"/>
              <a:gd name="connsiteY1" fmla="*/ 2579190 h 4479908"/>
              <a:gd name="connsiteX2" fmla="*/ 1651758 w 4792335"/>
              <a:gd name="connsiteY2" fmla="*/ 422461 h 4479908"/>
              <a:gd name="connsiteX3" fmla="*/ 2370241 w 4792335"/>
              <a:gd name="connsiteY3" fmla="*/ 186 h 4479908"/>
              <a:gd name="connsiteX4" fmla="*/ 3179864 w 4792335"/>
              <a:gd name="connsiteY4" fmla="*/ 474165 h 4479908"/>
              <a:gd name="connsiteX5" fmla="*/ 4449864 w 4792335"/>
              <a:gd name="connsiteY5" fmla="*/ 2582365 h 4479908"/>
              <a:gd name="connsiteX6" fmla="*/ 4770404 w 4792335"/>
              <a:gd name="connsiteY6" fmla="*/ 3731987 h 4479908"/>
              <a:gd name="connsiteX7" fmla="*/ 3912256 w 4792335"/>
              <a:gd name="connsiteY7" fmla="*/ 4397579 h 4479908"/>
              <a:gd name="connsiteX8" fmla="*/ 2392679 w 4792335"/>
              <a:gd name="connsiteY8" fmla="*/ 4479908 h 4479908"/>
              <a:gd name="connsiteX9" fmla="*/ 693839 w 4792335"/>
              <a:gd name="connsiteY9" fmla="*/ 4369890 h 4479908"/>
              <a:gd name="connsiteX10" fmla="*/ 2118 w 4792335"/>
              <a:gd name="connsiteY10" fmla="*/ 3598348 h 4479908"/>
              <a:gd name="connsiteX0" fmla="*/ 2118 w 4797181"/>
              <a:gd name="connsiteY0" fmla="*/ 3598348 h 4479908"/>
              <a:gd name="connsiteX1" fmla="*/ 344589 w 4797181"/>
              <a:gd name="connsiteY1" fmla="*/ 2579190 h 4479908"/>
              <a:gd name="connsiteX2" fmla="*/ 1651758 w 4797181"/>
              <a:gd name="connsiteY2" fmla="*/ 422461 h 4479908"/>
              <a:gd name="connsiteX3" fmla="*/ 2370241 w 4797181"/>
              <a:gd name="connsiteY3" fmla="*/ 186 h 4479908"/>
              <a:gd name="connsiteX4" fmla="*/ 3179864 w 4797181"/>
              <a:gd name="connsiteY4" fmla="*/ 474165 h 4479908"/>
              <a:gd name="connsiteX5" fmla="*/ 4449864 w 4797181"/>
              <a:gd name="connsiteY5" fmla="*/ 2582365 h 4479908"/>
              <a:gd name="connsiteX6" fmla="*/ 4770404 w 4797181"/>
              <a:gd name="connsiteY6" fmla="*/ 3731987 h 4479908"/>
              <a:gd name="connsiteX7" fmla="*/ 3912256 w 4797181"/>
              <a:gd name="connsiteY7" fmla="*/ 4397579 h 4479908"/>
              <a:gd name="connsiteX8" fmla="*/ 2392679 w 4797181"/>
              <a:gd name="connsiteY8" fmla="*/ 4479908 h 4479908"/>
              <a:gd name="connsiteX9" fmla="*/ 693839 w 4797181"/>
              <a:gd name="connsiteY9" fmla="*/ 4369890 h 4479908"/>
              <a:gd name="connsiteX10" fmla="*/ 2118 w 4797181"/>
              <a:gd name="connsiteY10" fmla="*/ 3598348 h 44799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97181" h="4479908">
                <a:moveTo>
                  <a:pt x="2118" y="3598348"/>
                </a:moveTo>
                <a:cubicBezTo>
                  <a:pt x="-18133" y="3306254"/>
                  <a:pt x="107665" y="3090359"/>
                  <a:pt x="344589" y="2579190"/>
                </a:cubicBezTo>
                <a:cubicBezTo>
                  <a:pt x="888262" y="1479280"/>
                  <a:pt x="1282710" y="963571"/>
                  <a:pt x="1651758" y="422461"/>
                </a:cubicBezTo>
                <a:cubicBezTo>
                  <a:pt x="1825253" y="152967"/>
                  <a:pt x="2116615" y="5327"/>
                  <a:pt x="2370241" y="186"/>
                </a:cubicBezTo>
                <a:cubicBezTo>
                  <a:pt x="2623867" y="-4955"/>
                  <a:pt x="2930627" y="94602"/>
                  <a:pt x="3179864" y="474165"/>
                </a:cubicBezTo>
                <a:cubicBezTo>
                  <a:pt x="3518001" y="907703"/>
                  <a:pt x="4053221" y="1759713"/>
                  <a:pt x="4449864" y="2582365"/>
                </a:cubicBezTo>
                <a:cubicBezTo>
                  <a:pt x="4717599" y="3137657"/>
                  <a:pt x="4860005" y="3413576"/>
                  <a:pt x="4770404" y="3731987"/>
                </a:cubicBezTo>
                <a:cubicBezTo>
                  <a:pt x="4582267" y="4318393"/>
                  <a:pt x="4159687" y="4362712"/>
                  <a:pt x="3912256" y="4397579"/>
                </a:cubicBezTo>
                <a:cubicBezTo>
                  <a:pt x="3381290" y="4446623"/>
                  <a:pt x="3169474" y="4473708"/>
                  <a:pt x="2392679" y="4479908"/>
                </a:cubicBezTo>
                <a:cubicBezTo>
                  <a:pt x="1856276" y="4477410"/>
                  <a:pt x="1000191" y="4427917"/>
                  <a:pt x="693839" y="4369890"/>
                </a:cubicBezTo>
                <a:cubicBezTo>
                  <a:pt x="387487" y="4311863"/>
                  <a:pt x="63501" y="4073540"/>
                  <a:pt x="2118" y="3598348"/>
                </a:cubicBez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25000" r="-16000"/>
            </a:stretch>
          </a:blipFill>
          <a:ln w="12700">
            <a:noFill/>
          </a:ln>
        </p:spPr>
        <p:txBody>
          <a:bodyPr anchor="ctr"/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Picture Placeholder 11"/>
          <p:cNvSpPr>
            <a:spLocks noGrp="1"/>
          </p:cNvSpPr>
          <p:nvPr userDrawn="1">
            <p:ph type="pic" sz="quarter" idx="11"/>
          </p:nvPr>
        </p:nvSpPr>
        <p:spPr>
          <a:xfrm>
            <a:off x="5838825" y="1"/>
            <a:ext cx="3028950" cy="2047952"/>
          </a:xfrm>
          <a:custGeom>
            <a:avLst/>
            <a:gdLst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3028950 w 3028950"/>
              <a:gd name="connsiteY2" fmla="*/ 2044700 h 2044700"/>
              <a:gd name="connsiteX3" fmla="*/ 0 w 3028950"/>
              <a:gd name="connsiteY3" fmla="*/ 2044700 h 2044700"/>
              <a:gd name="connsiteX4" fmla="*/ 0 w 3028950"/>
              <a:gd name="connsiteY4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3028950 w 3028950"/>
              <a:gd name="connsiteY2" fmla="*/ 2044700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97225"/>
              <a:gd name="connsiteY0" fmla="*/ 0 h 2044700"/>
              <a:gd name="connsiteX1" fmla="*/ 3028950 w 3097225"/>
              <a:gd name="connsiteY1" fmla="*/ 0 h 2044700"/>
              <a:gd name="connsiteX2" fmla="*/ 2076450 w 3097225"/>
              <a:gd name="connsiteY2" fmla="*/ 1673225 h 2044700"/>
              <a:gd name="connsiteX3" fmla="*/ 1492250 w 3097225"/>
              <a:gd name="connsiteY3" fmla="*/ 2044700 h 2044700"/>
              <a:gd name="connsiteX4" fmla="*/ 0 w 3097225"/>
              <a:gd name="connsiteY4" fmla="*/ 2044700 h 2044700"/>
              <a:gd name="connsiteX5" fmla="*/ 0 w 3097225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97763"/>
              <a:gd name="connsiteY0" fmla="*/ 0 h 2044700"/>
              <a:gd name="connsiteX1" fmla="*/ 3028950 w 3097763"/>
              <a:gd name="connsiteY1" fmla="*/ 0 h 2044700"/>
              <a:gd name="connsiteX2" fmla="*/ 2076450 w 3097763"/>
              <a:gd name="connsiteY2" fmla="*/ 1673225 h 2044700"/>
              <a:gd name="connsiteX3" fmla="*/ 1492250 w 3097763"/>
              <a:gd name="connsiteY3" fmla="*/ 2044700 h 2044700"/>
              <a:gd name="connsiteX4" fmla="*/ 0 w 3097763"/>
              <a:gd name="connsiteY4" fmla="*/ 2044700 h 2044700"/>
              <a:gd name="connsiteX5" fmla="*/ 0 w 3097763"/>
              <a:gd name="connsiteY5" fmla="*/ 0 h 2044700"/>
              <a:gd name="connsiteX0" fmla="*/ 0 w 3096834"/>
              <a:gd name="connsiteY0" fmla="*/ 0 h 2044700"/>
              <a:gd name="connsiteX1" fmla="*/ 3028950 w 3096834"/>
              <a:gd name="connsiteY1" fmla="*/ 0 h 2044700"/>
              <a:gd name="connsiteX2" fmla="*/ 2076450 w 3096834"/>
              <a:gd name="connsiteY2" fmla="*/ 1673225 h 2044700"/>
              <a:gd name="connsiteX3" fmla="*/ 1492250 w 3096834"/>
              <a:gd name="connsiteY3" fmla="*/ 2044700 h 2044700"/>
              <a:gd name="connsiteX4" fmla="*/ 0 w 3096834"/>
              <a:gd name="connsiteY4" fmla="*/ 2044700 h 2044700"/>
              <a:gd name="connsiteX5" fmla="*/ 0 w 3096834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6111"/>
              <a:gd name="connsiteX1" fmla="*/ 3028950 w 3028950"/>
              <a:gd name="connsiteY1" fmla="*/ 0 h 2046111"/>
              <a:gd name="connsiteX2" fmla="*/ 2076450 w 3028950"/>
              <a:gd name="connsiteY2" fmla="*/ 1673225 h 2046111"/>
              <a:gd name="connsiteX3" fmla="*/ 1492250 w 3028950"/>
              <a:gd name="connsiteY3" fmla="*/ 2044700 h 2046111"/>
              <a:gd name="connsiteX4" fmla="*/ 0 w 3028950"/>
              <a:gd name="connsiteY4" fmla="*/ 2044700 h 2046111"/>
              <a:gd name="connsiteX5" fmla="*/ 0 w 3028950"/>
              <a:gd name="connsiteY5" fmla="*/ 0 h 2046111"/>
              <a:gd name="connsiteX0" fmla="*/ 0 w 3028950"/>
              <a:gd name="connsiteY0" fmla="*/ 0 h 2044721"/>
              <a:gd name="connsiteX1" fmla="*/ 3028950 w 3028950"/>
              <a:gd name="connsiteY1" fmla="*/ 0 h 2044721"/>
              <a:gd name="connsiteX2" fmla="*/ 2076450 w 3028950"/>
              <a:gd name="connsiteY2" fmla="*/ 1673225 h 2044721"/>
              <a:gd name="connsiteX3" fmla="*/ 1492250 w 3028950"/>
              <a:gd name="connsiteY3" fmla="*/ 2044700 h 2044721"/>
              <a:gd name="connsiteX4" fmla="*/ 965200 w 3028950"/>
              <a:gd name="connsiteY4" fmla="*/ 1692275 h 2044721"/>
              <a:gd name="connsiteX5" fmla="*/ 0 w 3028950"/>
              <a:gd name="connsiteY5" fmla="*/ 0 h 2044721"/>
              <a:gd name="connsiteX0" fmla="*/ 0 w 3028950"/>
              <a:gd name="connsiteY0" fmla="*/ 0 h 2084939"/>
              <a:gd name="connsiteX1" fmla="*/ 3028950 w 3028950"/>
              <a:gd name="connsiteY1" fmla="*/ 0 h 2084939"/>
              <a:gd name="connsiteX2" fmla="*/ 2076450 w 3028950"/>
              <a:gd name="connsiteY2" fmla="*/ 1673225 h 2084939"/>
              <a:gd name="connsiteX3" fmla="*/ 1492250 w 3028950"/>
              <a:gd name="connsiteY3" fmla="*/ 2044700 h 2084939"/>
              <a:gd name="connsiteX4" fmla="*/ 965200 w 3028950"/>
              <a:gd name="connsiteY4" fmla="*/ 1692275 h 2084939"/>
              <a:gd name="connsiteX5" fmla="*/ 0 w 3028950"/>
              <a:gd name="connsiteY5" fmla="*/ 0 h 2084939"/>
              <a:gd name="connsiteX0" fmla="*/ 0 w 3028950"/>
              <a:gd name="connsiteY0" fmla="*/ 0 h 2044749"/>
              <a:gd name="connsiteX1" fmla="*/ 3028950 w 3028950"/>
              <a:gd name="connsiteY1" fmla="*/ 0 h 2044749"/>
              <a:gd name="connsiteX2" fmla="*/ 2076450 w 3028950"/>
              <a:gd name="connsiteY2" fmla="*/ 1673225 h 2044749"/>
              <a:gd name="connsiteX3" fmla="*/ 1492250 w 3028950"/>
              <a:gd name="connsiteY3" fmla="*/ 2044700 h 2044749"/>
              <a:gd name="connsiteX4" fmla="*/ 965200 w 3028950"/>
              <a:gd name="connsiteY4" fmla="*/ 1692275 h 2044749"/>
              <a:gd name="connsiteX5" fmla="*/ 0 w 3028950"/>
              <a:gd name="connsiteY5" fmla="*/ 0 h 2044749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965200 w 3028950"/>
              <a:gd name="connsiteY4" fmla="*/ 1692275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949325 w 3028950"/>
              <a:gd name="connsiteY4" fmla="*/ 1673225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949325 w 3028950"/>
              <a:gd name="connsiteY4" fmla="*/ 1673225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949325 w 3028950"/>
              <a:gd name="connsiteY4" fmla="*/ 1673225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949325 w 3028950"/>
              <a:gd name="connsiteY4" fmla="*/ 1673225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949325 w 3028950"/>
              <a:gd name="connsiteY4" fmla="*/ 1673225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949325 w 3028950"/>
              <a:gd name="connsiteY4" fmla="*/ 1673225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949325 w 3028950"/>
              <a:gd name="connsiteY4" fmla="*/ 1673225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949325 w 3028950"/>
              <a:gd name="connsiteY4" fmla="*/ 1673225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949325 w 3028950"/>
              <a:gd name="connsiteY4" fmla="*/ 1673225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949325 w 3028950"/>
              <a:gd name="connsiteY4" fmla="*/ 1673225 h 2044700"/>
              <a:gd name="connsiteX5" fmla="*/ 0 w 3028950"/>
              <a:gd name="connsiteY5" fmla="*/ 0 h 2044700"/>
              <a:gd name="connsiteX0" fmla="*/ 0 w 3028950"/>
              <a:gd name="connsiteY0" fmla="*/ 0 h 2047875"/>
              <a:gd name="connsiteX1" fmla="*/ 3028950 w 3028950"/>
              <a:gd name="connsiteY1" fmla="*/ 0 h 2047875"/>
              <a:gd name="connsiteX2" fmla="*/ 2076450 w 3028950"/>
              <a:gd name="connsiteY2" fmla="*/ 1673225 h 2047875"/>
              <a:gd name="connsiteX3" fmla="*/ 1511300 w 3028950"/>
              <a:gd name="connsiteY3" fmla="*/ 2047875 h 2047875"/>
              <a:gd name="connsiteX4" fmla="*/ 949325 w 3028950"/>
              <a:gd name="connsiteY4" fmla="*/ 1673225 h 2047875"/>
              <a:gd name="connsiteX5" fmla="*/ 0 w 3028950"/>
              <a:gd name="connsiteY5" fmla="*/ 0 h 2047875"/>
              <a:gd name="connsiteX0" fmla="*/ 0 w 3028950"/>
              <a:gd name="connsiteY0" fmla="*/ 0 h 2047875"/>
              <a:gd name="connsiteX1" fmla="*/ 3028950 w 3028950"/>
              <a:gd name="connsiteY1" fmla="*/ 0 h 2047875"/>
              <a:gd name="connsiteX2" fmla="*/ 2076450 w 3028950"/>
              <a:gd name="connsiteY2" fmla="*/ 1673225 h 2047875"/>
              <a:gd name="connsiteX3" fmla="*/ 1511300 w 3028950"/>
              <a:gd name="connsiteY3" fmla="*/ 2047875 h 2047875"/>
              <a:gd name="connsiteX4" fmla="*/ 949325 w 3028950"/>
              <a:gd name="connsiteY4" fmla="*/ 1673225 h 2047875"/>
              <a:gd name="connsiteX5" fmla="*/ 0 w 3028950"/>
              <a:gd name="connsiteY5" fmla="*/ 0 h 2047875"/>
              <a:gd name="connsiteX0" fmla="*/ 0 w 3028950"/>
              <a:gd name="connsiteY0" fmla="*/ 0 h 2047875"/>
              <a:gd name="connsiteX1" fmla="*/ 3028950 w 3028950"/>
              <a:gd name="connsiteY1" fmla="*/ 0 h 2047875"/>
              <a:gd name="connsiteX2" fmla="*/ 2076450 w 3028950"/>
              <a:gd name="connsiteY2" fmla="*/ 1673225 h 2047875"/>
              <a:gd name="connsiteX3" fmla="*/ 1511300 w 3028950"/>
              <a:gd name="connsiteY3" fmla="*/ 2047875 h 2047875"/>
              <a:gd name="connsiteX4" fmla="*/ 949325 w 3028950"/>
              <a:gd name="connsiteY4" fmla="*/ 1673225 h 2047875"/>
              <a:gd name="connsiteX5" fmla="*/ 0 w 3028950"/>
              <a:gd name="connsiteY5" fmla="*/ 0 h 2047875"/>
              <a:gd name="connsiteX0" fmla="*/ 0 w 3028950"/>
              <a:gd name="connsiteY0" fmla="*/ 0 h 2047875"/>
              <a:gd name="connsiteX1" fmla="*/ 3028950 w 3028950"/>
              <a:gd name="connsiteY1" fmla="*/ 0 h 2047875"/>
              <a:gd name="connsiteX2" fmla="*/ 2076450 w 3028950"/>
              <a:gd name="connsiteY2" fmla="*/ 1673225 h 2047875"/>
              <a:gd name="connsiteX3" fmla="*/ 1511300 w 3028950"/>
              <a:gd name="connsiteY3" fmla="*/ 2047875 h 2047875"/>
              <a:gd name="connsiteX4" fmla="*/ 949325 w 3028950"/>
              <a:gd name="connsiteY4" fmla="*/ 1673225 h 2047875"/>
              <a:gd name="connsiteX5" fmla="*/ 0 w 3028950"/>
              <a:gd name="connsiteY5" fmla="*/ 0 h 2047875"/>
              <a:gd name="connsiteX0" fmla="*/ 0 w 3028950"/>
              <a:gd name="connsiteY0" fmla="*/ 0 h 2047875"/>
              <a:gd name="connsiteX1" fmla="*/ 3028950 w 3028950"/>
              <a:gd name="connsiteY1" fmla="*/ 0 h 2047875"/>
              <a:gd name="connsiteX2" fmla="*/ 2076450 w 3028950"/>
              <a:gd name="connsiteY2" fmla="*/ 1673225 h 2047875"/>
              <a:gd name="connsiteX3" fmla="*/ 1511300 w 3028950"/>
              <a:gd name="connsiteY3" fmla="*/ 2047875 h 2047875"/>
              <a:gd name="connsiteX4" fmla="*/ 949325 w 3028950"/>
              <a:gd name="connsiteY4" fmla="*/ 1673225 h 2047875"/>
              <a:gd name="connsiteX5" fmla="*/ 0 w 3028950"/>
              <a:gd name="connsiteY5" fmla="*/ 0 h 2047875"/>
              <a:gd name="connsiteX0" fmla="*/ 0 w 3028950"/>
              <a:gd name="connsiteY0" fmla="*/ 0 h 2047875"/>
              <a:gd name="connsiteX1" fmla="*/ 3028950 w 3028950"/>
              <a:gd name="connsiteY1" fmla="*/ 0 h 2047875"/>
              <a:gd name="connsiteX2" fmla="*/ 2076450 w 3028950"/>
              <a:gd name="connsiteY2" fmla="*/ 1673225 h 2047875"/>
              <a:gd name="connsiteX3" fmla="*/ 1511300 w 3028950"/>
              <a:gd name="connsiteY3" fmla="*/ 2047875 h 2047875"/>
              <a:gd name="connsiteX4" fmla="*/ 949325 w 3028950"/>
              <a:gd name="connsiteY4" fmla="*/ 1673225 h 2047875"/>
              <a:gd name="connsiteX5" fmla="*/ 0 w 3028950"/>
              <a:gd name="connsiteY5" fmla="*/ 0 h 2047875"/>
              <a:gd name="connsiteX0" fmla="*/ 0 w 3028950"/>
              <a:gd name="connsiteY0" fmla="*/ 0 h 2054038"/>
              <a:gd name="connsiteX1" fmla="*/ 3028950 w 3028950"/>
              <a:gd name="connsiteY1" fmla="*/ 0 h 2054038"/>
              <a:gd name="connsiteX2" fmla="*/ 2076450 w 3028950"/>
              <a:gd name="connsiteY2" fmla="*/ 1673225 h 2054038"/>
              <a:gd name="connsiteX3" fmla="*/ 1511300 w 3028950"/>
              <a:gd name="connsiteY3" fmla="*/ 2047875 h 2054038"/>
              <a:gd name="connsiteX4" fmla="*/ 949325 w 3028950"/>
              <a:gd name="connsiteY4" fmla="*/ 1673225 h 2054038"/>
              <a:gd name="connsiteX5" fmla="*/ 0 w 3028950"/>
              <a:gd name="connsiteY5" fmla="*/ 0 h 2054038"/>
              <a:gd name="connsiteX0" fmla="*/ 0 w 3028950"/>
              <a:gd name="connsiteY0" fmla="*/ 0 h 2047952"/>
              <a:gd name="connsiteX1" fmla="*/ 3028950 w 3028950"/>
              <a:gd name="connsiteY1" fmla="*/ 0 h 2047952"/>
              <a:gd name="connsiteX2" fmla="*/ 2076450 w 3028950"/>
              <a:gd name="connsiteY2" fmla="*/ 1673225 h 2047952"/>
              <a:gd name="connsiteX3" fmla="*/ 1511300 w 3028950"/>
              <a:gd name="connsiteY3" fmla="*/ 2047875 h 2047952"/>
              <a:gd name="connsiteX4" fmla="*/ 949325 w 3028950"/>
              <a:gd name="connsiteY4" fmla="*/ 1673225 h 2047952"/>
              <a:gd name="connsiteX5" fmla="*/ 0 w 3028950"/>
              <a:gd name="connsiteY5" fmla="*/ 0 h 2047952"/>
              <a:gd name="connsiteX0" fmla="*/ 0 w 3028950"/>
              <a:gd name="connsiteY0" fmla="*/ 0 h 2047875"/>
              <a:gd name="connsiteX1" fmla="*/ 3028950 w 3028950"/>
              <a:gd name="connsiteY1" fmla="*/ 0 h 2047875"/>
              <a:gd name="connsiteX2" fmla="*/ 2076450 w 3028950"/>
              <a:gd name="connsiteY2" fmla="*/ 1673225 h 2047875"/>
              <a:gd name="connsiteX3" fmla="*/ 1511300 w 3028950"/>
              <a:gd name="connsiteY3" fmla="*/ 2047875 h 2047875"/>
              <a:gd name="connsiteX4" fmla="*/ 949325 w 3028950"/>
              <a:gd name="connsiteY4" fmla="*/ 1673225 h 2047875"/>
              <a:gd name="connsiteX5" fmla="*/ 0 w 3028950"/>
              <a:gd name="connsiteY5" fmla="*/ 0 h 2047875"/>
              <a:gd name="connsiteX0" fmla="*/ 0 w 3028950"/>
              <a:gd name="connsiteY0" fmla="*/ 0 h 2047952"/>
              <a:gd name="connsiteX1" fmla="*/ 3028950 w 3028950"/>
              <a:gd name="connsiteY1" fmla="*/ 0 h 2047952"/>
              <a:gd name="connsiteX2" fmla="*/ 2076450 w 3028950"/>
              <a:gd name="connsiteY2" fmla="*/ 1673225 h 2047952"/>
              <a:gd name="connsiteX3" fmla="*/ 1511300 w 3028950"/>
              <a:gd name="connsiteY3" fmla="*/ 2047875 h 2047952"/>
              <a:gd name="connsiteX4" fmla="*/ 949325 w 3028950"/>
              <a:gd name="connsiteY4" fmla="*/ 1673225 h 2047952"/>
              <a:gd name="connsiteX5" fmla="*/ 0 w 3028950"/>
              <a:gd name="connsiteY5" fmla="*/ 0 h 2047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28950" h="2047952">
                <a:moveTo>
                  <a:pt x="0" y="0"/>
                </a:moveTo>
                <a:lnTo>
                  <a:pt x="3028950" y="0"/>
                </a:lnTo>
                <a:cubicBezTo>
                  <a:pt x="2638425" y="856721"/>
                  <a:pt x="2329392" y="1331913"/>
                  <a:pt x="2076450" y="1673225"/>
                </a:cubicBezTo>
                <a:cubicBezTo>
                  <a:pt x="1823508" y="2014537"/>
                  <a:pt x="1694392" y="2044700"/>
                  <a:pt x="1511300" y="2047875"/>
                </a:cubicBezTo>
                <a:cubicBezTo>
                  <a:pt x="1328208" y="2051050"/>
                  <a:pt x="1140883" y="1957388"/>
                  <a:pt x="949325" y="1673225"/>
                </a:cubicBezTo>
                <a:cubicBezTo>
                  <a:pt x="757767" y="1389062"/>
                  <a:pt x="318558" y="748242"/>
                  <a:pt x="0" y="0"/>
                </a:cubicBezTo>
                <a:close/>
              </a:path>
            </a:pathLst>
          </a:custGeom>
          <a:blipFill dpi="0"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15000" t="-14000" r="-21000"/>
            </a:stretch>
          </a:blipFill>
          <a:ln w="12700">
            <a:noFill/>
          </a:ln>
        </p:spPr>
        <p:txBody>
          <a:bodyPr anchor="ctr"/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C76825C-3504-A641-97DA-5A09BA346A2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5800" y="903202"/>
            <a:ext cx="2013315" cy="1144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48747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SIGMA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05610D52-4099-478B-8E34-C790241019F7}"/>
              </a:ext>
            </a:extLst>
          </p:cNvPr>
          <p:cNvSpPr/>
          <p:nvPr/>
        </p:nvSpPr>
        <p:spPr>
          <a:xfrm>
            <a:off x="0" y="6057875"/>
            <a:ext cx="12192000" cy="547340"/>
          </a:xfrm>
          <a:prstGeom prst="rect">
            <a:avLst/>
          </a:prstGeom>
          <a:solidFill>
            <a:srgbClr val="D5003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6000" rIns="96000" rtlCol="0" anchor="ctr"/>
          <a:lstStyle/>
          <a:p>
            <a:pPr lvl="0" algn="ctr" defTabSz="1219170"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09907F5E-D0AD-4C5F-9177-BD00A84D46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599" y="3171326"/>
            <a:ext cx="4691968" cy="2203511"/>
          </a:xfrm>
          <a:prstGeom prst="rect">
            <a:avLst/>
          </a:prstGeom>
        </p:spPr>
        <p:txBody>
          <a:bodyPr anchor="t"/>
          <a:lstStyle>
            <a:lvl1pPr algn="ctr"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ES_tradnl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C9415EF-6A0C-4EF1-89AA-272DC554103A}"/>
              </a:ext>
            </a:extLst>
          </p:cNvPr>
          <p:cNvGrpSpPr>
            <a:grpSpLocks noChangeAspect="1"/>
          </p:cNvGrpSpPr>
          <p:nvPr/>
        </p:nvGrpSpPr>
        <p:grpSpPr>
          <a:xfrm>
            <a:off x="1495176" y="1328013"/>
            <a:ext cx="2563264" cy="1457520"/>
            <a:chOff x="1541463" y="2291616"/>
            <a:chExt cx="833732" cy="474074"/>
          </a:xfrm>
          <a:effectLst/>
        </p:grpSpPr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EEC63078-DFF5-4B93-8CFE-AE1CB635A5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632" y="2438564"/>
              <a:ext cx="665563" cy="327126"/>
            </a:xfrm>
            <a:custGeom>
              <a:avLst/>
              <a:gdLst>
                <a:gd name="T0" fmla="*/ 2937 w 3463"/>
                <a:gd name="T1" fmla="*/ 123 h 1703"/>
                <a:gd name="T2" fmla="*/ 2655 w 3463"/>
                <a:gd name="T3" fmla="*/ 476 h 1703"/>
                <a:gd name="T4" fmla="*/ 2529 w 3463"/>
                <a:gd name="T5" fmla="*/ 752 h 1703"/>
                <a:gd name="T6" fmla="*/ 2571 w 3463"/>
                <a:gd name="T7" fmla="*/ 266 h 1703"/>
                <a:gd name="T8" fmla="*/ 2529 w 3463"/>
                <a:gd name="T9" fmla="*/ 44 h 1703"/>
                <a:gd name="T10" fmla="*/ 2296 w 3463"/>
                <a:gd name="T11" fmla="*/ 64 h 1703"/>
                <a:gd name="T12" fmla="*/ 2102 w 3463"/>
                <a:gd name="T13" fmla="*/ 101 h 1703"/>
                <a:gd name="T14" fmla="*/ 1962 w 3463"/>
                <a:gd name="T15" fmla="*/ 15 h 1703"/>
                <a:gd name="T16" fmla="*/ 1673 w 3463"/>
                <a:gd name="T17" fmla="*/ 210 h 1703"/>
                <a:gd name="T18" fmla="*/ 1605 w 3463"/>
                <a:gd name="T19" fmla="*/ 37 h 1703"/>
                <a:gd name="T20" fmla="*/ 1447 w 3463"/>
                <a:gd name="T21" fmla="*/ 60 h 1703"/>
                <a:gd name="T22" fmla="*/ 1235 w 3463"/>
                <a:gd name="T23" fmla="*/ 79 h 1703"/>
                <a:gd name="T24" fmla="*/ 1019 w 3463"/>
                <a:gd name="T25" fmla="*/ 31 h 1703"/>
                <a:gd name="T26" fmla="*/ 703 w 3463"/>
                <a:gd name="T27" fmla="*/ 139 h 1703"/>
                <a:gd name="T28" fmla="*/ 437 w 3463"/>
                <a:gd name="T29" fmla="*/ 471 h 1703"/>
                <a:gd name="T30" fmla="*/ 271 w 3463"/>
                <a:gd name="T31" fmla="*/ 734 h 1703"/>
                <a:gd name="T32" fmla="*/ 307 w 3463"/>
                <a:gd name="T33" fmla="*/ 221 h 1703"/>
                <a:gd name="T34" fmla="*/ 261 w 3463"/>
                <a:gd name="T35" fmla="*/ 17 h 1703"/>
                <a:gd name="T36" fmla="*/ 105 w 3463"/>
                <a:gd name="T37" fmla="*/ 30 h 1703"/>
                <a:gd name="T38" fmla="*/ 21 w 3463"/>
                <a:gd name="T39" fmla="*/ 927 h 1703"/>
                <a:gd name="T40" fmla="*/ 185 w 3463"/>
                <a:gd name="T41" fmla="*/ 961 h 1703"/>
                <a:gd name="T42" fmla="*/ 393 w 3463"/>
                <a:gd name="T43" fmla="*/ 839 h 1703"/>
                <a:gd name="T44" fmla="*/ 223 w 3463"/>
                <a:gd name="T45" fmla="*/ 1153 h 1703"/>
                <a:gd name="T46" fmla="*/ 140 w 3463"/>
                <a:gd name="T47" fmla="*/ 1447 h 1703"/>
                <a:gd name="T48" fmla="*/ 283 w 3463"/>
                <a:gd name="T49" fmla="*/ 1659 h 1703"/>
                <a:gd name="T50" fmla="*/ 629 w 3463"/>
                <a:gd name="T51" fmla="*/ 1676 h 1703"/>
                <a:gd name="T52" fmla="*/ 963 w 3463"/>
                <a:gd name="T53" fmla="*/ 1455 h 1703"/>
                <a:gd name="T54" fmla="*/ 1128 w 3463"/>
                <a:gd name="T55" fmla="*/ 1112 h 1703"/>
                <a:gd name="T56" fmla="*/ 1403 w 3463"/>
                <a:gd name="T57" fmla="*/ 251 h 1703"/>
                <a:gd name="T58" fmla="*/ 1401 w 3463"/>
                <a:gd name="T59" fmla="*/ 955 h 1703"/>
                <a:gd name="T60" fmla="*/ 1556 w 3463"/>
                <a:gd name="T61" fmla="*/ 963 h 1703"/>
                <a:gd name="T62" fmla="*/ 1633 w 3463"/>
                <a:gd name="T63" fmla="*/ 552 h 1703"/>
                <a:gd name="T64" fmla="*/ 1846 w 3463"/>
                <a:gd name="T65" fmla="*/ 233 h 1703"/>
                <a:gd name="T66" fmla="*/ 1874 w 3463"/>
                <a:gd name="T67" fmla="*/ 338 h 1703"/>
                <a:gd name="T68" fmla="*/ 1867 w 3463"/>
                <a:gd name="T69" fmla="*/ 962 h 1703"/>
                <a:gd name="T70" fmla="*/ 2040 w 3463"/>
                <a:gd name="T71" fmla="*/ 947 h 1703"/>
                <a:gd name="T72" fmla="*/ 2125 w 3463"/>
                <a:gd name="T73" fmla="*/ 476 h 1703"/>
                <a:gd name="T74" fmla="*/ 2330 w 3463"/>
                <a:gd name="T75" fmla="*/ 229 h 1703"/>
                <a:gd name="T76" fmla="*/ 2278 w 3463"/>
                <a:gd name="T77" fmla="*/ 756 h 1703"/>
                <a:gd name="T78" fmla="*/ 2335 w 3463"/>
                <a:gd name="T79" fmla="*/ 975 h 1703"/>
                <a:gd name="T80" fmla="*/ 2562 w 3463"/>
                <a:gd name="T81" fmla="*/ 909 h 1703"/>
                <a:gd name="T82" fmla="*/ 2691 w 3463"/>
                <a:gd name="T83" fmla="*/ 966 h 1703"/>
                <a:gd name="T84" fmla="*/ 2940 w 3463"/>
                <a:gd name="T85" fmla="*/ 936 h 1703"/>
                <a:gd name="T86" fmla="*/ 3135 w 3463"/>
                <a:gd name="T87" fmla="*/ 907 h 1703"/>
                <a:gd name="T88" fmla="*/ 3243 w 3463"/>
                <a:gd name="T89" fmla="*/ 991 h 1703"/>
                <a:gd name="T90" fmla="*/ 3351 w 3463"/>
                <a:gd name="T91" fmla="*/ 889 h 1703"/>
                <a:gd name="T92" fmla="*/ 3452 w 3463"/>
                <a:gd name="T93" fmla="*/ 82 h 1703"/>
                <a:gd name="T94" fmla="*/ 917 w 3463"/>
                <a:gd name="T95" fmla="*/ 950 h 1703"/>
                <a:gd name="T96" fmla="*/ 791 w 3463"/>
                <a:gd name="T97" fmla="*/ 1460 h 1703"/>
                <a:gd name="T98" fmla="*/ 565 w 3463"/>
                <a:gd name="T99" fmla="*/ 1554 h 1703"/>
                <a:gd name="T100" fmla="*/ 373 w 3463"/>
                <a:gd name="T101" fmla="*/ 1411 h 1703"/>
                <a:gd name="T102" fmla="*/ 461 w 3463"/>
                <a:gd name="T103" fmla="*/ 1066 h 1703"/>
                <a:gd name="T104" fmla="*/ 738 w 3463"/>
                <a:gd name="T105" fmla="*/ 916 h 1703"/>
                <a:gd name="T106" fmla="*/ 950 w 3463"/>
                <a:gd name="T107" fmla="*/ 445 h 1703"/>
                <a:gd name="T108" fmla="*/ 703 w 3463"/>
                <a:gd name="T109" fmla="*/ 743 h 1703"/>
                <a:gd name="T110" fmla="*/ 630 w 3463"/>
                <a:gd name="T111" fmla="*/ 641 h 1703"/>
                <a:gd name="T112" fmla="*/ 748 w 3463"/>
                <a:gd name="T113" fmla="*/ 291 h 1703"/>
                <a:gd name="T114" fmla="*/ 998 w 3463"/>
                <a:gd name="T115" fmla="*/ 229 h 1703"/>
                <a:gd name="T116" fmla="*/ 3056 w 3463"/>
                <a:gd name="T117" fmla="*/ 628 h 1703"/>
                <a:gd name="T118" fmla="*/ 2862 w 3463"/>
                <a:gd name="T119" fmla="*/ 759 h 1703"/>
                <a:gd name="T120" fmla="*/ 2896 w 3463"/>
                <a:gd name="T121" fmla="*/ 416 h 1703"/>
                <a:gd name="T122" fmla="*/ 3071 w 3463"/>
                <a:gd name="T123" fmla="*/ 214 h 1703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463" h="1703">
                  <a:moveTo>
                    <a:pt x="3244" y="27"/>
                  </a:moveTo>
                  <a:lnTo>
                    <a:pt x="3228" y="28"/>
                  </a:lnTo>
                  <a:lnTo>
                    <a:pt x="3212" y="29"/>
                  </a:lnTo>
                  <a:lnTo>
                    <a:pt x="3197" y="30"/>
                  </a:lnTo>
                  <a:lnTo>
                    <a:pt x="3181" y="32"/>
                  </a:lnTo>
                  <a:lnTo>
                    <a:pt x="3166" y="34"/>
                  </a:lnTo>
                  <a:lnTo>
                    <a:pt x="3151" y="37"/>
                  </a:lnTo>
                  <a:lnTo>
                    <a:pt x="3135" y="40"/>
                  </a:lnTo>
                  <a:lnTo>
                    <a:pt x="3120" y="43"/>
                  </a:lnTo>
                  <a:lnTo>
                    <a:pt x="3106" y="47"/>
                  </a:lnTo>
                  <a:lnTo>
                    <a:pt x="3091" y="51"/>
                  </a:lnTo>
                  <a:lnTo>
                    <a:pt x="3076" y="55"/>
                  </a:lnTo>
                  <a:lnTo>
                    <a:pt x="3062" y="60"/>
                  </a:lnTo>
                  <a:lnTo>
                    <a:pt x="3033" y="71"/>
                  </a:lnTo>
                  <a:lnTo>
                    <a:pt x="3019" y="78"/>
                  </a:lnTo>
                  <a:lnTo>
                    <a:pt x="3005" y="84"/>
                  </a:lnTo>
                  <a:lnTo>
                    <a:pt x="2991" y="91"/>
                  </a:lnTo>
                  <a:lnTo>
                    <a:pt x="2977" y="98"/>
                  </a:lnTo>
                  <a:lnTo>
                    <a:pt x="2950" y="114"/>
                  </a:lnTo>
                  <a:lnTo>
                    <a:pt x="2937" y="123"/>
                  </a:lnTo>
                  <a:lnTo>
                    <a:pt x="2924" y="132"/>
                  </a:lnTo>
                  <a:lnTo>
                    <a:pt x="2911" y="141"/>
                  </a:lnTo>
                  <a:lnTo>
                    <a:pt x="2898" y="150"/>
                  </a:lnTo>
                  <a:lnTo>
                    <a:pt x="2885" y="160"/>
                  </a:lnTo>
                  <a:lnTo>
                    <a:pt x="2873" y="171"/>
                  </a:lnTo>
                  <a:lnTo>
                    <a:pt x="2848" y="193"/>
                  </a:lnTo>
                  <a:lnTo>
                    <a:pt x="2836" y="205"/>
                  </a:lnTo>
                  <a:lnTo>
                    <a:pt x="2824" y="217"/>
                  </a:lnTo>
                  <a:lnTo>
                    <a:pt x="2800" y="242"/>
                  </a:lnTo>
                  <a:lnTo>
                    <a:pt x="2783" y="261"/>
                  </a:lnTo>
                  <a:lnTo>
                    <a:pt x="2767" y="281"/>
                  </a:lnTo>
                  <a:lnTo>
                    <a:pt x="2751" y="302"/>
                  </a:lnTo>
                  <a:lnTo>
                    <a:pt x="2737" y="322"/>
                  </a:lnTo>
                  <a:lnTo>
                    <a:pt x="2722" y="343"/>
                  </a:lnTo>
                  <a:lnTo>
                    <a:pt x="2709" y="364"/>
                  </a:lnTo>
                  <a:lnTo>
                    <a:pt x="2696" y="386"/>
                  </a:lnTo>
                  <a:lnTo>
                    <a:pt x="2685" y="408"/>
                  </a:lnTo>
                  <a:lnTo>
                    <a:pt x="2674" y="430"/>
                  </a:lnTo>
                  <a:lnTo>
                    <a:pt x="2664" y="453"/>
                  </a:lnTo>
                  <a:lnTo>
                    <a:pt x="2655" y="476"/>
                  </a:lnTo>
                  <a:lnTo>
                    <a:pt x="2647" y="499"/>
                  </a:lnTo>
                  <a:lnTo>
                    <a:pt x="2643" y="511"/>
                  </a:lnTo>
                  <a:lnTo>
                    <a:pt x="2639" y="523"/>
                  </a:lnTo>
                  <a:lnTo>
                    <a:pt x="2632" y="547"/>
                  </a:lnTo>
                  <a:lnTo>
                    <a:pt x="2627" y="571"/>
                  </a:lnTo>
                  <a:lnTo>
                    <a:pt x="2621" y="596"/>
                  </a:lnTo>
                  <a:lnTo>
                    <a:pt x="2618" y="608"/>
                  </a:lnTo>
                  <a:lnTo>
                    <a:pt x="2612" y="625"/>
                  </a:lnTo>
                  <a:lnTo>
                    <a:pt x="2604" y="645"/>
                  </a:lnTo>
                  <a:lnTo>
                    <a:pt x="2600" y="656"/>
                  </a:lnTo>
                  <a:lnTo>
                    <a:pt x="2594" y="667"/>
                  </a:lnTo>
                  <a:lnTo>
                    <a:pt x="2588" y="678"/>
                  </a:lnTo>
                  <a:lnTo>
                    <a:pt x="2582" y="690"/>
                  </a:lnTo>
                  <a:lnTo>
                    <a:pt x="2575" y="701"/>
                  </a:lnTo>
                  <a:lnTo>
                    <a:pt x="2567" y="712"/>
                  </a:lnTo>
                  <a:lnTo>
                    <a:pt x="2558" y="723"/>
                  </a:lnTo>
                  <a:lnTo>
                    <a:pt x="2549" y="734"/>
                  </a:lnTo>
                  <a:lnTo>
                    <a:pt x="2544" y="739"/>
                  </a:lnTo>
                  <a:lnTo>
                    <a:pt x="2539" y="743"/>
                  </a:lnTo>
                  <a:lnTo>
                    <a:pt x="2529" y="752"/>
                  </a:lnTo>
                  <a:lnTo>
                    <a:pt x="2525" y="755"/>
                  </a:lnTo>
                  <a:lnTo>
                    <a:pt x="2522" y="757"/>
                  </a:lnTo>
                  <a:lnTo>
                    <a:pt x="2520" y="758"/>
                  </a:lnTo>
                  <a:lnTo>
                    <a:pt x="2517" y="759"/>
                  </a:lnTo>
                  <a:lnTo>
                    <a:pt x="2515" y="759"/>
                  </a:lnTo>
                  <a:lnTo>
                    <a:pt x="2513" y="759"/>
                  </a:lnTo>
                  <a:lnTo>
                    <a:pt x="2512" y="759"/>
                  </a:lnTo>
                  <a:lnTo>
                    <a:pt x="2510" y="758"/>
                  </a:lnTo>
                  <a:lnTo>
                    <a:pt x="2508" y="756"/>
                  </a:lnTo>
                  <a:lnTo>
                    <a:pt x="2507" y="754"/>
                  </a:lnTo>
                  <a:lnTo>
                    <a:pt x="2506" y="751"/>
                  </a:lnTo>
                  <a:lnTo>
                    <a:pt x="2506" y="748"/>
                  </a:lnTo>
                  <a:lnTo>
                    <a:pt x="2505" y="738"/>
                  </a:lnTo>
                  <a:lnTo>
                    <a:pt x="2506" y="729"/>
                  </a:lnTo>
                  <a:lnTo>
                    <a:pt x="2509" y="711"/>
                  </a:lnTo>
                  <a:lnTo>
                    <a:pt x="2516" y="658"/>
                  </a:lnTo>
                  <a:lnTo>
                    <a:pt x="2537" y="508"/>
                  </a:lnTo>
                  <a:lnTo>
                    <a:pt x="2566" y="300"/>
                  </a:lnTo>
                  <a:lnTo>
                    <a:pt x="2569" y="283"/>
                  </a:lnTo>
                  <a:lnTo>
                    <a:pt x="2571" y="266"/>
                  </a:lnTo>
                  <a:lnTo>
                    <a:pt x="2574" y="234"/>
                  </a:lnTo>
                  <a:lnTo>
                    <a:pt x="2576" y="218"/>
                  </a:lnTo>
                  <a:lnTo>
                    <a:pt x="2576" y="204"/>
                  </a:lnTo>
                  <a:lnTo>
                    <a:pt x="2577" y="176"/>
                  </a:lnTo>
                  <a:lnTo>
                    <a:pt x="2577" y="163"/>
                  </a:lnTo>
                  <a:lnTo>
                    <a:pt x="2576" y="150"/>
                  </a:lnTo>
                  <a:lnTo>
                    <a:pt x="2575" y="138"/>
                  </a:lnTo>
                  <a:lnTo>
                    <a:pt x="2573" y="127"/>
                  </a:lnTo>
                  <a:lnTo>
                    <a:pt x="2571" y="117"/>
                  </a:lnTo>
                  <a:lnTo>
                    <a:pt x="2568" y="107"/>
                  </a:lnTo>
                  <a:lnTo>
                    <a:pt x="2565" y="98"/>
                  </a:lnTo>
                  <a:lnTo>
                    <a:pt x="2562" y="89"/>
                  </a:lnTo>
                  <a:lnTo>
                    <a:pt x="2558" y="81"/>
                  </a:lnTo>
                  <a:lnTo>
                    <a:pt x="2554" y="74"/>
                  </a:lnTo>
                  <a:lnTo>
                    <a:pt x="2551" y="70"/>
                  </a:lnTo>
                  <a:lnTo>
                    <a:pt x="2549" y="67"/>
                  </a:lnTo>
                  <a:lnTo>
                    <a:pt x="2545" y="60"/>
                  </a:lnTo>
                  <a:lnTo>
                    <a:pt x="2540" y="55"/>
                  </a:lnTo>
                  <a:lnTo>
                    <a:pt x="2535" y="49"/>
                  </a:lnTo>
                  <a:lnTo>
                    <a:pt x="2529" y="44"/>
                  </a:lnTo>
                  <a:lnTo>
                    <a:pt x="2524" y="40"/>
                  </a:lnTo>
                  <a:lnTo>
                    <a:pt x="2513" y="33"/>
                  </a:lnTo>
                  <a:lnTo>
                    <a:pt x="2507" y="29"/>
                  </a:lnTo>
                  <a:lnTo>
                    <a:pt x="2502" y="27"/>
                  </a:lnTo>
                  <a:lnTo>
                    <a:pt x="2490" y="22"/>
                  </a:lnTo>
                  <a:lnTo>
                    <a:pt x="2479" y="19"/>
                  </a:lnTo>
                  <a:lnTo>
                    <a:pt x="2468" y="16"/>
                  </a:lnTo>
                  <a:lnTo>
                    <a:pt x="2458" y="15"/>
                  </a:lnTo>
                  <a:lnTo>
                    <a:pt x="2448" y="14"/>
                  </a:lnTo>
                  <a:lnTo>
                    <a:pt x="2440" y="14"/>
                  </a:lnTo>
                  <a:lnTo>
                    <a:pt x="2426" y="14"/>
                  </a:lnTo>
                  <a:lnTo>
                    <a:pt x="2412" y="16"/>
                  </a:lnTo>
                  <a:lnTo>
                    <a:pt x="2398" y="18"/>
                  </a:lnTo>
                  <a:lnTo>
                    <a:pt x="2384" y="22"/>
                  </a:lnTo>
                  <a:lnTo>
                    <a:pt x="2370" y="26"/>
                  </a:lnTo>
                  <a:lnTo>
                    <a:pt x="2355" y="32"/>
                  </a:lnTo>
                  <a:lnTo>
                    <a:pt x="2340" y="38"/>
                  </a:lnTo>
                  <a:lnTo>
                    <a:pt x="2326" y="46"/>
                  </a:lnTo>
                  <a:lnTo>
                    <a:pt x="2311" y="54"/>
                  </a:lnTo>
                  <a:lnTo>
                    <a:pt x="2296" y="64"/>
                  </a:lnTo>
                  <a:lnTo>
                    <a:pt x="2280" y="74"/>
                  </a:lnTo>
                  <a:lnTo>
                    <a:pt x="2265" y="86"/>
                  </a:lnTo>
                  <a:lnTo>
                    <a:pt x="2249" y="98"/>
                  </a:lnTo>
                  <a:lnTo>
                    <a:pt x="2234" y="112"/>
                  </a:lnTo>
                  <a:lnTo>
                    <a:pt x="2218" y="126"/>
                  </a:lnTo>
                  <a:lnTo>
                    <a:pt x="2202" y="142"/>
                  </a:lnTo>
                  <a:lnTo>
                    <a:pt x="2189" y="155"/>
                  </a:lnTo>
                  <a:lnTo>
                    <a:pt x="2177" y="168"/>
                  </a:lnTo>
                  <a:lnTo>
                    <a:pt x="2165" y="181"/>
                  </a:lnTo>
                  <a:lnTo>
                    <a:pt x="2153" y="195"/>
                  </a:lnTo>
                  <a:lnTo>
                    <a:pt x="2130" y="224"/>
                  </a:lnTo>
                  <a:lnTo>
                    <a:pt x="2108" y="253"/>
                  </a:lnTo>
                  <a:lnTo>
                    <a:pt x="2113" y="182"/>
                  </a:lnTo>
                  <a:lnTo>
                    <a:pt x="2113" y="168"/>
                  </a:lnTo>
                  <a:lnTo>
                    <a:pt x="2112" y="155"/>
                  </a:lnTo>
                  <a:lnTo>
                    <a:pt x="2111" y="143"/>
                  </a:lnTo>
                  <a:lnTo>
                    <a:pt x="2109" y="131"/>
                  </a:lnTo>
                  <a:lnTo>
                    <a:pt x="2107" y="120"/>
                  </a:lnTo>
                  <a:lnTo>
                    <a:pt x="2105" y="110"/>
                  </a:lnTo>
                  <a:lnTo>
                    <a:pt x="2102" y="101"/>
                  </a:lnTo>
                  <a:lnTo>
                    <a:pt x="2098" y="92"/>
                  </a:lnTo>
                  <a:lnTo>
                    <a:pt x="2095" y="83"/>
                  </a:lnTo>
                  <a:lnTo>
                    <a:pt x="2091" y="76"/>
                  </a:lnTo>
                  <a:lnTo>
                    <a:pt x="2087" y="69"/>
                  </a:lnTo>
                  <a:lnTo>
                    <a:pt x="2082" y="62"/>
                  </a:lnTo>
                  <a:lnTo>
                    <a:pt x="2078" y="56"/>
                  </a:lnTo>
                  <a:lnTo>
                    <a:pt x="2073" y="51"/>
                  </a:lnTo>
                  <a:lnTo>
                    <a:pt x="2068" y="46"/>
                  </a:lnTo>
                  <a:lnTo>
                    <a:pt x="2062" y="41"/>
                  </a:lnTo>
                  <a:lnTo>
                    <a:pt x="2057" y="37"/>
                  </a:lnTo>
                  <a:lnTo>
                    <a:pt x="2052" y="33"/>
                  </a:lnTo>
                  <a:lnTo>
                    <a:pt x="2041" y="27"/>
                  </a:lnTo>
                  <a:lnTo>
                    <a:pt x="2035" y="24"/>
                  </a:lnTo>
                  <a:lnTo>
                    <a:pt x="2030" y="22"/>
                  </a:lnTo>
                  <a:lnTo>
                    <a:pt x="2019" y="19"/>
                  </a:lnTo>
                  <a:lnTo>
                    <a:pt x="2009" y="16"/>
                  </a:lnTo>
                  <a:lnTo>
                    <a:pt x="1999" y="15"/>
                  </a:lnTo>
                  <a:lnTo>
                    <a:pt x="1990" y="14"/>
                  </a:lnTo>
                  <a:lnTo>
                    <a:pt x="1982" y="14"/>
                  </a:lnTo>
                  <a:lnTo>
                    <a:pt x="1962" y="15"/>
                  </a:lnTo>
                  <a:lnTo>
                    <a:pt x="1952" y="16"/>
                  </a:lnTo>
                  <a:lnTo>
                    <a:pt x="1941" y="17"/>
                  </a:lnTo>
                  <a:lnTo>
                    <a:pt x="1931" y="19"/>
                  </a:lnTo>
                  <a:lnTo>
                    <a:pt x="1921" y="22"/>
                  </a:lnTo>
                  <a:lnTo>
                    <a:pt x="1901" y="28"/>
                  </a:lnTo>
                  <a:lnTo>
                    <a:pt x="1891" y="31"/>
                  </a:lnTo>
                  <a:lnTo>
                    <a:pt x="1880" y="36"/>
                  </a:lnTo>
                  <a:lnTo>
                    <a:pt x="1870" y="40"/>
                  </a:lnTo>
                  <a:lnTo>
                    <a:pt x="1860" y="45"/>
                  </a:lnTo>
                  <a:lnTo>
                    <a:pt x="1839" y="57"/>
                  </a:lnTo>
                  <a:lnTo>
                    <a:pt x="1819" y="70"/>
                  </a:lnTo>
                  <a:lnTo>
                    <a:pt x="1798" y="85"/>
                  </a:lnTo>
                  <a:lnTo>
                    <a:pt x="1778" y="101"/>
                  </a:lnTo>
                  <a:lnTo>
                    <a:pt x="1767" y="110"/>
                  </a:lnTo>
                  <a:lnTo>
                    <a:pt x="1757" y="119"/>
                  </a:lnTo>
                  <a:lnTo>
                    <a:pt x="1746" y="129"/>
                  </a:lnTo>
                  <a:lnTo>
                    <a:pt x="1736" y="140"/>
                  </a:lnTo>
                  <a:lnTo>
                    <a:pt x="1715" y="161"/>
                  </a:lnTo>
                  <a:lnTo>
                    <a:pt x="1694" y="185"/>
                  </a:lnTo>
                  <a:lnTo>
                    <a:pt x="1673" y="210"/>
                  </a:lnTo>
                  <a:lnTo>
                    <a:pt x="1662" y="224"/>
                  </a:lnTo>
                  <a:lnTo>
                    <a:pt x="1651" y="238"/>
                  </a:lnTo>
                  <a:lnTo>
                    <a:pt x="1652" y="232"/>
                  </a:lnTo>
                  <a:lnTo>
                    <a:pt x="1657" y="160"/>
                  </a:lnTo>
                  <a:lnTo>
                    <a:pt x="1656" y="148"/>
                  </a:lnTo>
                  <a:lnTo>
                    <a:pt x="1656" y="136"/>
                  </a:lnTo>
                  <a:lnTo>
                    <a:pt x="1654" y="125"/>
                  </a:lnTo>
                  <a:lnTo>
                    <a:pt x="1653" y="115"/>
                  </a:lnTo>
                  <a:lnTo>
                    <a:pt x="1650" y="105"/>
                  </a:lnTo>
                  <a:lnTo>
                    <a:pt x="1648" y="96"/>
                  </a:lnTo>
                  <a:lnTo>
                    <a:pt x="1645" y="88"/>
                  </a:lnTo>
                  <a:lnTo>
                    <a:pt x="1641" y="80"/>
                  </a:lnTo>
                  <a:lnTo>
                    <a:pt x="1638" y="73"/>
                  </a:lnTo>
                  <a:lnTo>
                    <a:pt x="1634" y="66"/>
                  </a:lnTo>
                  <a:lnTo>
                    <a:pt x="1629" y="60"/>
                  </a:lnTo>
                  <a:lnTo>
                    <a:pt x="1625" y="55"/>
                  </a:lnTo>
                  <a:lnTo>
                    <a:pt x="1620" y="49"/>
                  </a:lnTo>
                  <a:lnTo>
                    <a:pt x="1615" y="45"/>
                  </a:lnTo>
                  <a:lnTo>
                    <a:pt x="1610" y="41"/>
                  </a:lnTo>
                  <a:lnTo>
                    <a:pt x="1605" y="37"/>
                  </a:lnTo>
                  <a:lnTo>
                    <a:pt x="1600" y="33"/>
                  </a:lnTo>
                  <a:lnTo>
                    <a:pt x="1595" y="30"/>
                  </a:lnTo>
                  <a:lnTo>
                    <a:pt x="1589" y="28"/>
                  </a:lnTo>
                  <a:lnTo>
                    <a:pt x="1584" y="25"/>
                  </a:lnTo>
                  <a:lnTo>
                    <a:pt x="1574" y="22"/>
                  </a:lnTo>
                  <a:lnTo>
                    <a:pt x="1568" y="20"/>
                  </a:lnTo>
                  <a:lnTo>
                    <a:pt x="1563" y="19"/>
                  </a:lnTo>
                  <a:lnTo>
                    <a:pt x="1554" y="17"/>
                  </a:lnTo>
                  <a:lnTo>
                    <a:pt x="1545" y="17"/>
                  </a:lnTo>
                  <a:lnTo>
                    <a:pt x="1531" y="16"/>
                  </a:lnTo>
                  <a:lnTo>
                    <a:pt x="1526" y="17"/>
                  </a:lnTo>
                  <a:lnTo>
                    <a:pt x="1520" y="19"/>
                  </a:lnTo>
                  <a:lnTo>
                    <a:pt x="1514" y="21"/>
                  </a:lnTo>
                  <a:lnTo>
                    <a:pt x="1507" y="24"/>
                  </a:lnTo>
                  <a:lnTo>
                    <a:pt x="1500" y="27"/>
                  </a:lnTo>
                  <a:lnTo>
                    <a:pt x="1492" y="31"/>
                  </a:lnTo>
                  <a:lnTo>
                    <a:pt x="1475" y="41"/>
                  </a:lnTo>
                  <a:lnTo>
                    <a:pt x="1466" y="47"/>
                  </a:lnTo>
                  <a:lnTo>
                    <a:pt x="1456" y="53"/>
                  </a:lnTo>
                  <a:lnTo>
                    <a:pt x="1447" y="60"/>
                  </a:lnTo>
                  <a:lnTo>
                    <a:pt x="1436" y="67"/>
                  </a:lnTo>
                  <a:lnTo>
                    <a:pt x="1416" y="83"/>
                  </a:lnTo>
                  <a:lnTo>
                    <a:pt x="1394" y="100"/>
                  </a:lnTo>
                  <a:lnTo>
                    <a:pt x="1372" y="118"/>
                  </a:lnTo>
                  <a:lnTo>
                    <a:pt x="1349" y="137"/>
                  </a:lnTo>
                  <a:lnTo>
                    <a:pt x="1305" y="177"/>
                  </a:lnTo>
                  <a:lnTo>
                    <a:pt x="1282" y="197"/>
                  </a:lnTo>
                  <a:lnTo>
                    <a:pt x="1261" y="217"/>
                  </a:lnTo>
                  <a:lnTo>
                    <a:pt x="1241" y="236"/>
                  </a:lnTo>
                  <a:lnTo>
                    <a:pt x="1222" y="255"/>
                  </a:lnTo>
                  <a:lnTo>
                    <a:pt x="1239" y="130"/>
                  </a:lnTo>
                  <a:lnTo>
                    <a:pt x="1240" y="123"/>
                  </a:lnTo>
                  <a:lnTo>
                    <a:pt x="1241" y="117"/>
                  </a:lnTo>
                  <a:lnTo>
                    <a:pt x="1241" y="111"/>
                  </a:lnTo>
                  <a:lnTo>
                    <a:pt x="1241" y="105"/>
                  </a:lnTo>
                  <a:lnTo>
                    <a:pt x="1241" y="99"/>
                  </a:lnTo>
                  <a:lnTo>
                    <a:pt x="1240" y="94"/>
                  </a:lnTo>
                  <a:lnTo>
                    <a:pt x="1239" y="89"/>
                  </a:lnTo>
                  <a:lnTo>
                    <a:pt x="1237" y="84"/>
                  </a:lnTo>
                  <a:lnTo>
                    <a:pt x="1235" y="79"/>
                  </a:lnTo>
                  <a:lnTo>
                    <a:pt x="1233" y="75"/>
                  </a:lnTo>
                  <a:lnTo>
                    <a:pt x="1230" y="70"/>
                  </a:lnTo>
                  <a:lnTo>
                    <a:pt x="1226" y="66"/>
                  </a:lnTo>
                  <a:lnTo>
                    <a:pt x="1223" y="62"/>
                  </a:lnTo>
                  <a:lnTo>
                    <a:pt x="1218" y="59"/>
                  </a:lnTo>
                  <a:lnTo>
                    <a:pt x="1213" y="55"/>
                  </a:lnTo>
                  <a:lnTo>
                    <a:pt x="1208" y="52"/>
                  </a:lnTo>
                  <a:lnTo>
                    <a:pt x="1196" y="47"/>
                  </a:lnTo>
                  <a:lnTo>
                    <a:pt x="1190" y="44"/>
                  </a:lnTo>
                  <a:lnTo>
                    <a:pt x="1182" y="42"/>
                  </a:lnTo>
                  <a:lnTo>
                    <a:pt x="1166" y="38"/>
                  </a:lnTo>
                  <a:lnTo>
                    <a:pt x="1148" y="35"/>
                  </a:lnTo>
                  <a:lnTo>
                    <a:pt x="1128" y="32"/>
                  </a:lnTo>
                  <a:lnTo>
                    <a:pt x="1117" y="31"/>
                  </a:lnTo>
                  <a:lnTo>
                    <a:pt x="1105" y="31"/>
                  </a:lnTo>
                  <a:lnTo>
                    <a:pt x="1093" y="30"/>
                  </a:lnTo>
                  <a:lnTo>
                    <a:pt x="1080" y="30"/>
                  </a:lnTo>
                  <a:lnTo>
                    <a:pt x="1052" y="30"/>
                  </a:lnTo>
                  <a:lnTo>
                    <a:pt x="1036" y="30"/>
                  </a:lnTo>
                  <a:lnTo>
                    <a:pt x="1019" y="31"/>
                  </a:lnTo>
                  <a:lnTo>
                    <a:pt x="1003" y="32"/>
                  </a:lnTo>
                  <a:lnTo>
                    <a:pt x="987" y="33"/>
                  </a:lnTo>
                  <a:lnTo>
                    <a:pt x="971" y="35"/>
                  </a:lnTo>
                  <a:lnTo>
                    <a:pt x="955" y="38"/>
                  </a:lnTo>
                  <a:lnTo>
                    <a:pt x="923" y="44"/>
                  </a:lnTo>
                  <a:lnTo>
                    <a:pt x="908" y="47"/>
                  </a:lnTo>
                  <a:lnTo>
                    <a:pt x="892" y="51"/>
                  </a:lnTo>
                  <a:lnTo>
                    <a:pt x="877" y="55"/>
                  </a:lnTo>
                  <a:lnTo>
                    <a:pt x="862" y="60"/>
                  </a:lnTo>
                  <a:lnTo>
                    <a:pt x="847" y="65"/>
                  </a:lnTo>
                  <a:lnTo>
                    <a:pt x="832" y="71"/>
                  </a:lnTo>
                  <a:lnTo>
                    <a:pt x="817" y="77"/>
                  </a:lnTo>
                  <a:lnTo>
                    <a:pt x="802" y="83"/>
                  </a:lnTo>
                  <a:lnTo>
                    <a:pt x="788" y="90"/>
                  </a:lnTo>
                  <a:lnTo>
                    <a:pt x="773" y="97"/>
                  </a:lnTo>
                  <a:lnTo>
                    <a:pt x="759" y="105"/>
                  </a:lnTo>
                  <a:lnTo>
                    <a:pt x="745" y="113"/>
                  </a:lnTo>
                  <a:lnTo>
                    <a:pt x="731" y="121"/>
                  </a:lnTo>
                  <a:lnTo>
                    <a:pt x="717" y="130"/>
                  </a:lnTo>
                  <a:lnTo>
                    <a:pt x="703" y="139"/>
                  </a:lnTo>
                  <a:lnTo>
                    <a:pt x="690" y="149"/>
                  </a:lnTo>
                  <a:lnTo>
                    <a:pt x="676" y="159"/>
                  </a:lnTo>
                  <a:lnTo>
                    <a:pt x="663" y="170"/>
                  </a:lnTo>
                  <a:lnTo>
                    <a:pt x="637" y="192"/>
                  </a:lnTo>
                  <a:lnTo>
                    <a:pt x="624" y="204"/>
                  </a:lnTo>
                  <a:lnTo>
                    <a:pt x="611" y="216"/>
                  </a:lnTo>
                  <a:lnTo>
                    <a:pt x="598" y="228"/>
                  </a:lnTo>
                  <a:lnTo>
                    <a:pt x="586" y="241"/>
                  </a:lnTo>
                  <a:lnTo>
                    <a:pt x="570" y="259"/>
                  </a:lnTo>
                  <a:lnTo>
                    <a:pt x="555" y="277"/>
                  </a:lnTo>
                  <a:lnTo>
                    <a:pt x="540" y="295"/>
                  </a:lnTo>
                  <a:lnTo>
                    <a:pt x="526" y="314"/>
                  </a:lnTo>
                  <a:lnTo>
                    <a:pt x="512" y="332"/>
                  </a:lnTo>
                  <a:lnTo>
                    <a:pt x="500" y="351"/>
                  </a:lnTo>
                  <a:lnTo>
                    <a:pt x="488" y="371"/>
                  </a:lnTo>
                  <a:lnTo>
                    <a:pt x="476" y="390"/>
                  </a:lnTo>
                  <a:lnTo>
                    <a:pt x="465" y="410"/>
                  </a:lnTo>
                  <a:lnTo>
                    <a:pt x="455" y="430"/>
                  </a:lnTo>
                  <a:lnTo>
                    <a:pt x="446" y="451"/>
                  </a:lnTo>
                  <a:lnTo>
                    <a:pt x="437" y="471"/>
                  </a:lnTo>
                  <a:lnTo>
                    <a:pt x="429" y="492"/>
                  </a:lnTo>
                  <a:lnTo>
                    <a:pt x="421" y="513"/>
                  </a:lnTo>
                  <a:lnTo>
                    <a:pt x="418" y="524"/>
                  </a:lnTo>
                  <a:lnTo>
                    <a:pt x="415" y="535"/>
                  </a:lnTo>
                  <a:lnTo>
                    <a:pt x="408" y="557"/>
                  </a:lnTo>
                  <a:lnTo>
                    <a:pt x="397" y="580"/>
                  </a:lnTo>
                  <a:lnTo>
                    <a:pt x="383" y="606"/>
                  </a:lnTo>
                  <a:lnTo>
                    <a:pt x="375" y="619"/>
                  </a:lnTo>
                  <a:lnTo>
                    <a:pt x="367" y="632"/>
                  </a:lnTo>
                  <a:lnTo>
                    <a:pt x="358" y="645"/>
                  </a:lnTo>
                  <a:lnTo>
                    <a:pt x="349" y="658"/>
                  </a:lnTo>
                  <a:lnTo>
                    <a:pt x="340" y="670"/>
                  </a:lnTo>
                  <a:lnTo>
                    <a:pt x="329" y="683"/>
                  </a:lnTo>
                  <a:lnTo>
                    <a:pt x="319" y="694"/>
                  </a:lnTo>
                  <a:lnTo>
                    <a:pt x="313" y="700"/>
                  </a:lnTo>
                  <a:lnTo>
                    <a:pt x="308" y="705"/>
                  </a:lnTo>
                  <a:lnTo>
                    <a:pt x="296" y="716"/>
                  </a:lnTo>
                  <a:lnTo>
                    <a:pt x="284" y="725"/>
                  </a:lnTo>
                  <a:lnTo>
                    <a:pt x="278" y="730"/>
                  </a:lnTo>
                  <a:lnTo>
                    <a:pt x="271" y="734"/>
                  </a:lnTo>
                  <a:lnTo>
                    <a:pt x="265" y="738"/>
                  </a:lnTo>
                  <a:lnTo>
                    <a:pt x="258" y="741"/>
                  </a:lnTo>
                  <a:lnTo>
                    <a:pt x="255" y="743"/>
                  </a:lnTo>
                  <a:lnTo>
                    <a:pt x="251" y="743"/>
                  </a:lnTo>
                  <a:lnTo>
                    <a:pt x="248" y="743"/>
                  </a:lnTo>
                  <a:lnTo>
                    <a:pt x="246" y="742"/>
                  </a:lnTo>
                  <a:lnTo>
                    <a:pt x="244" y="741"/>
                  </a:lnTo>
                  <a:lnTo>
                    <a:pt x="242" y="740"/>
                  </a:lnTo>
                  <a:lnTo>
                    <a:pt x="241" y="738"/>
                  </a:lnTo>
                  <a:lnTo>
                    <a:pt x="240" y="736"/>
                  </a:lnTo>
                  <a:lnTo>
                    <a:pt x="239" y="733"/>
                  </a:lnTo>
                  <a:lnTo>
                    <a:pt x="238" y="729"/>
                  </a:lnTo>
                  <a:lnTo>
                    <a:pt x="238" y="725"/>
                  </a:lnTo>
                  <a:lnTo>
                    <a:pt x="238" y="719"/>
                  </a:lnTo>
                  <a:lnTo>
                    <a:pt x="239" y="714"/>
                  </a:lnTo>
                  <a:lnTo>
                    <a:pt x="259" y="575"/>
                  </a:lnTo>
                  <a:lnTo>
                    <a:pt x="286" y="391"/>
                  </a:lnTo>
                  <a:lnTo>
                    <a:pt x="298" y="301"/>
                  </a:lnTo>
                  <a:lnTo>
                    <a:pt x="303" y="259"/>
                  </a:lnTo>
                  <a:lnTo>
                    <a:pt x="307" y="221"/>
                  </a:lnTo>
                  <a:lnTo>
                    <a:pt x="311" y="188"/>
                  </a:lnTo>
                  <a:lnTo>
                    <a:pt x="313" y="161"/>
                  </a:lnTo>
                  <a:lnTo>
                    <a:pt x="314" y="149"/>
                  </a:lnTo>
                  <a:lnTo>
                    <a:pt x="314" y="140"/>
                  </a:lnTo>
                  <a:lnTo>
                    <a:pt x="314" y="132"/>
                  </a:lnTo>
                  <a:lnTo>
                    <a:pt x="314" y="127"/>
                  </a:lnTo>
                  <a:lnTo>
                    <a:pt x="312" y="114"/>
                  </a:lnTo>
                  <a:lnTo>
                    <a:pt x="310" y="98"/>
                  </a:lnTo>
                  <a:lnTo>
                    <a:pt x="305" y="79"/>
                  </a:lnTo>
                  <a:lnTo>
                    <a:pt x="302" y="69"/>
                  </a:lnTo>
                  <a:lnTo>
                    <a:pt x="300" y="65"/>
                  </a:lnTo>
                  <a:lnTo>
                    <a:pt x="298" y="60"/>
                  </a:lnTo>
                  <a:lnTo>
                    <a:pt x="293" y="50"/>
                  </a:lnTo>
                  <a:lnTo>
                    <a:pt x="287" y="41"/>
                  </a:lnTo>
                  <a:lnTo>
                    <a:pt x="283" y="37"/>
                  </a:lnTo>
                  <a:lnTo>
                    <a:pt x="279" y="32"/>
                  </a:lnTo>
                  <a:lnTo>
                    <a:pt x="275" y="28"/>
                  </a:lnTo>
                  <a:lnTo>
                    <a:pt x="271" y="24"/>
                  </a:lnTo>
                  <a:lnTo>
                    <a:pt x="266" y="21"/>
                  </a:lnTo>
                  <a:lnTo>
                    <a:pt x="261" y="17"/>
                  </a:lnTo>
                  <a:lnTo>
                    <a:pt x="256" y="14"/>
                  </a:lnTo>
                  <a:lnTo>
                    <a:pt x="250" y="11"/>
                  </a:lnTo>
                  <a:lnTo>
                    <a:pt x="243" y="9"/>
                  </a:lnTo>
                  <a:lnTo>
                    <a:pt x="237" y="6"/>
                  </a:lnTo>
                  <a:lnTo>
                    <a:pt x="230" y="4"/>
                  </a:lnTo>
                  <a:lnTo>
                    <a:pt x="222" y="3"/>
                  </a:lnTo>
                  <a:lnTo>
                    <a:pt x="212" y="1"/>
                  </a:lnTo>
                  <a:lnTo>
                    <a:pt x="203" y="1"/>
                  </a:lnTo>
                  <a:lnTo>
                    <a:pt x="193" y="0"/>
                  </a:lnTo>
                  <a:lnTo>
                    <a:pt x="184" y="1"/>
                  </a:lnTo>
                  <a:lnTo>
                    <a:pt x="175" y="2"/>
                  </a:lnTo>
                  <a:lnTo>
                    <a:pt x="167" y="3"/>
                  </a:lnTo>
                  <a:lnTo>
                    <a:pt x="159" y="5"/>
                  </a:lnTo>
                  <a:lnTo>
                    <a:pt x="151" y="7"/>
                  </a:lnTo>
                  <a:lnTo>
                    <a:pt x="137" y="12"/>
                  </a:lnTo>
                  <a:lnTo>
                    <a:pt x="130" y="15"/>
                  </a:lnTo>
                  <a:lnTo>
                    <a:pt x="124" y="18"/>
                  </a:lnTo>
                  <a:lnTo>
                    <a:pt x="118" y="21"/>
                  </a:lnTo>
                  <a:lnTo>
                    <a:pt x="113" y="24"/>
                  </a:lnTo>
                  <a:lnTo>
                    <a:pt x="105" y="30"/>
                  </a:lnTo>
                  <a:lnTo>
                    <a:pt x="105" y="35"/>
                  </a:lnTo>
                  <a:lnTo>
                    <a:pt x="105" y="44"/>
                  </a:lnTo>
                  <a:lnTo>
                    <a:pt x="103" y="72"/>
                  </a:lnTo>
                  <a:lnTo>
                    <a:pt x="99" y="113"/>
                  </a:lnTo>
                  <a:lnTo>
                    <a:pt x="93" y="165"/>
                  </a:lnTo>
                  <a:lnTo>
                    <a:pt x="76" y="293"/>
                  </a:lnTo>
                  <a:lnTo>
                    <a:pt x="56" y="439"/>
                  </a:lnTo>
                  <a:lnTo>
                    <a:pt x="18" y="710"/>
                  </a:lnTo>
                  <a:lnTo>
                    <a:pt x="5" y="801"/>
                  </a:lnTo>
                  <a:lnTo>
                    <a:pt x="1" y="829"/>
                  </a:lnTo>
                  <a:lnTo>
                    <a:pt x="0" y="840"/>
                  </a:lnTo>
                  <a:lnTo>
                    <a:pt x="0" y="852"/>
                  </a:lnTo>
                  <a:lnTo>
                    <a:pt x="1" y="862"/>
                  </a:lnTo>
                  <a:lnTo>
                    <a:pt x="2" y="872"/>
                  </a:lnTo>
                  <a:lnTo>
                    <a:pt x="4" y="882"/>
                  </a:lnTo>
                  <a:lnTo>
                    <a:pt x="6" y="891"/>
                  </a:lnTo>
                  <a:lnTo>
                    <a:pt x="8" y="899"/>
                  </a:lnTo>
                  <a:lnTo>
                    <a:pt x="14" y="914"/>
                  </a:lnTo>
                  <a:lnTo>
                    <a:pt x="17" y="921"/>
                  </a:lnTo>
                  <a:lnTo>
                    <a:pt x="21" y="927"/>
                  </a:lnTo>
                  <a:lnTo>
                    <a:pt x="25" y="933"/>
                  </a:lnTo>
                  <a:lnTo>
                    <a:pt x="29" y="938"/>
                  </a:lnTo>
                  <a:lnTo>
                    <a:pt x="33" y="943"/>
                  </a:lnTo>
                  <a:lnTo>
                    <a:pt x="37" y="947"/>
                  </a:lnTo>
                  <a:lnTo>
                    <a:pt x="42" y="951"/>
                  </a:lnTo>
                  <a:lnTo>
                    <a:pt x="47" y="955"/>
                  </a:lnTo>
                  <a:lnTo>
                    <a:pt x="56" y="961"/>
                  </a:lnTo>
                  <a:lnTo>
                    <a:pt x="66" y="965"/>
                  </a:lnTo>
                  <a:lnTo>
                    <a:pt x="71" y="967"/>
                  </a:lnTo>
                  <a:lnTo>
                    <a:pt x="75" y="969"/>
                  </a:lnTo>
                  <a:lnTo>
                    <a:pt x="80" y="970"/>
                  </a:lnTo>
                  <a:lnTo>
                    <a:pt x="84" y="972"/>
                  </a:lnTo>
                  <a:lnTo>
                    <a:pt x="93" y="973"/>
                  </a:lnTo>
                  <a:lnTo>
                    <a:pt x="101" y="974"/>
                  </a:lnTo>
                  <a:lnTo>
                    <a:pt x="113" y="975"/>
                  </a:lnTo>
                  <a:lnTo>
                    <a:pt x="128" y="974"/>
                  </a:lnTo>
                  <a:lnTo>
                    <a:pt x="142" y="973"/>
                  </a:lnTo>
                  <a:lnTo>
                    <a:pt x="156" y="970"/>
                  </a:lnTo>
                  <a:lnTo>
                    <a:pt x="171" y="966"/>
                  </a:lnTo>
                  <a:lnTo>
                    <a:pt x="185" y="961"/>
                  </a:lnTo>
                  <a:lnTo>
                    <a:pt x="199" y="955"/>
                  </a:lnTo>
                  <a:lnTo>
                    <a:pt x="214" y="947"/>
                  </a:lnTo>
                  <a:lnTo>
                    <a:pt x="228" y="939"/>
                  </a:lnTo>
                  <a:lnTo>
                    <a:pt x="242" y="929"/>
                  </a:lnTo>
                  <a:lnTo>
                    <a:pt x="250" y="924"/>
                  </a:lnTo>
                  <a:lnTo>
                    <a:pt x="257" y="918"/>
                  </a:lnTo>
                  <a:lnTo>
                    <a:pt x="272" y="906"/>
                  </a:lnTo>
                  <a:lnTo>
                    <a:pt x="286" y="893"/>
                  </a:lnTo>
                  <a:lnTo>
                    <a:pt x="294" y="886"/>
                  </a:lnTo>
                  <a:lnTo>
                    <a:pt x="301" y="878"/>
                  </a:lnTo>
                  <a:lnTo>
                    <a:pt x="316" y="863"/>
                  </a:lnTo>
                  <a:lnTo>
                    <a:pt x="331" y="846"/>
                  </a:lnTo>
                  <a:lnTo>
                    <a:pt x="346" y="828"/>
                  </a:lnTo>
                  <a:lnTo>
                    <a:pt x="367" y="802"/>
                  </a:lnTo>
                  <a:lnTo>
                    <a:pt x="384" y="780"/>
                  </a:lnTo>
                  <a:lnTo>
                    <a:pt x="386" y="800"/>
                  </a:lnTo>
                  <a:lnTo>
                    <a:pt x="387" y="810"/>
                  </a:lnTo>
                  <a:lnTo>
                    <a:pt x="389" y="820"/>
                  </a:lnTo>
                  <a:lnTo>
                    <a:pt x="391" y="829"/>
                  </a:lnTo>
                  <a:lnTo>
                    <a:pt x="393" y="839"/>
                  </a:lnTo>
                  <a:lnTo>
                    <a:pt x="396" y="848"/>
                  </a:lnTo>
                  <a:lnTo>
                    <a:pt x="400" y="858"/>
                  </a:lnTo>
                  <a:lnTo>
                    <a:pt x="403" y="867"/>
                  </a:lnTo>
                  <a:lnTo>
                    <a:pt x="408" y="877"/>
                  </a:lnTo>
                  <a:lnTo>
                    <a:pt x="413" y="886"/>
                  </a:lnTo>
                  <a:lnTo>
                    <a:pt x="418" y="895"/>
                  </a:lnTo>
                  <a:lnTo>
                    <a:pt x="425" y="904"/>
                  </a:lnTo>
                  <a:lnTo>
                    <a:pt x="432" y="913"/>
                  </a:lnTo>
                  <a:lnTo>
                    <a:pt x="439" y="921"/>
                  </a:lnTo>
                  <a:lnTo>
                    <a:pt x="447" y="930"/>
                  </a:lnTo>
                  <a:lnTo>
                    <a:pt x="413" y="959"/>
                  </a:lnTo>
                  <a:lnTo>
                    <a:pt x="380" y="987"/>
                  </a:lnTo>
                  <a:lnTo>
                    <a:pt x="349" y="1015"/>
                  </a:lnTo>
                  <a:lnTo>
                    <a:pt x="320" y="1042"/>
                  </a:lnTo>
                  <a:lnTo>
                    <a:pt x="293" y="1070"/>
                  </a:lnTo>
                  <a:lnTo>
                    <a:pt x="267" y="1098"/>
                  </a:lnTo>
                  <a:lnTo>
                    <a:pt x="255" y="1112"/>
                  </a:lnTo>
                  <a:lnTo>
                    <a:pt x="244" y="1125"/>
                  </a:lnTo>
                  <a:lnTo>
                    <a:pt x="233" y="1139"/>
                  </a:lnTo>
                  <a:lnTo>
                    <a:pt x="223" y="1153"/>
                  </a:lnTo>
                  <a:lnTo>
                    <a:pt x="213" y="1167"/>
                  </a:lnTo>
                  <a:lnTo>
                    <a:pt x="203" y="1180"/>
                  </a:lnTo>
                  <a:lnTo>
                    <a:pt x="194" y="1194"/>
                  </a:lnTo>
                  <a:lnTo>
                    <a:pt x="186" y="1208"/>
                  </a:lnTo>
                  <a:lnTo>
                    <a:pt x="179" y="1222"/>
                  </a:lnTo>
                  <a:lnTo>
                    <a:pt x="171" y="1236"/>
                  </a:lnTo>
                  <a:lnTo>
                    <a:pt x="165" y="1250"/>
                  </a:lnTo>
                  <a:lnTo>
                    <a:pt x="159" y="1264"/>
                  </a:lnTo>
                  <a:lnTo>
                    <a:pt x="154" y="1278"/>
                  </a:lnTo>
                  <a:lnTo>
                    <a:pt x="149" y="1293"/>
                  </a:lnTo>
                  <a:lnTo>
                    <a:pt x="145" y="1307"/>
                  </a:lnTo>
                  <a:lnTo>
                    <a:pt x="142" y="1322"/>
                  </a:lnTo>
                  <a:lnTo>
                    <a:pt x="139" y="1336"/>
                  </a:lnTo>
                  <a:lnTo>
                    <a:pt x="137" y="1351"/>
                  </a:lnTo>
                  <a:lnTo>
                    <a:pt x="136" y="1366"/>
                  </a:lnTo>
                  <a:lnTo>
                    <a:pt x="135" y="1381"/>
                  </a:lnTo>
                  <a:lnTo>
                    <a:pt x="135" y="1398"/>
                  </a:lnTo>
                  <a:lnTo>
                    <a:pt x="136" y="1415"/>
                  </a:lnTo>
                  <a:lnTo>
                    <a:pt x="137" y="1431"/>
                  </a:lnTo>
                  <a:lnTo>
                    <a:pt x="140" y="1447"/>
                  </a:lnTo>
                  <a:lnTo>
                    <a:pt x="141" y="1454"/>
                  </a:lnTo>
                  <a:lnTo>
                    <a:pt x="143" y="1462"/>
                  </a:lnTo>
                  <a:lnTo>
                    <a:pt x="146" y="1477"/>
                  </a:lnTo>
                  <a:lnTo>
                    <a:pt x="151" y="1492"/>
                  </a:lnTo>
                  <a:lnTo>
                    <a:pt x="156" y="1507"/>
                  </a:lnTo>
                  <a:lnTo>
                    <a:pt x="161" y="1521"/>
                  </a:lnTo>
                  <a:lnTo>
                    <a:pt x="168" y="1534"/>
                  </a:lnTo>
                  <a:lnTo>
                    <a:pt x="175" y="1548"/>
                  </a:lnTo>
                  <a:lnTo>
                    <a:pt x="183" y="1561"/>
                  </a:lnTo>
                  <a:lnTo>
                    <a:pt x="192" y="1574"/>
                  </a:lnTo>
                  <a:lnTo>
                    <a:pt x="201" y="1586"/>
                  </a:lnTo>
                  <a:lnTo>
                    <a:pt x="211" y="1598"/>
                  </a:lnTo>
                  <a:lnTo>
                    <a:pt x="222" y="1610"/>
                  </a:lnTo>
                  <a:lnTo>
                    <a:pt x="234" y="1621"/>
                  </a:lnTo>
                  <a:lnTo>
                    <a:pt x="245" y="1631"/>
                  </a:lnTo>
                  <a:lnTo>
                    <a:pt x="251" y="1636"/>
                  </a:lnTo>
                  <a:lnTo>
                    <a:pt x="258" y="1641"/>
                  </a:lnTo>
                  <a:lnTo>
                    <a:pt x="270" y="1650"/>
                  </a:lnTo>
                  <a:lnTo>
                    <a:pt x="277" y="1654"/>
                  </a:lnTo>
                  <a:lnTo>
                    <a:pt x="283" y="1659"/>
                  </a:lnTo>
                  <a:lnTo>
                    <a:pt x="297" y="1666"/>
                  </a:lnTo>
                  <a:lnTo>
                    <a:pt x="310" y="1673"/>
                  </a:lnTo>
                  <a:lnTo>
                    <a:pt x="324" y="1679"/>
                  </a:lnTo>
                  <a:lnTo>
                    <a:pt x="339" y="1685"/>
                  </a:lnTo>
                  <a:lnTo>
                    <a:pt x="354" y="1690"/>
                  </a:lnTo>
                  <a:lnTo>
                    <a:pt x="369" y="1694"/>
                  </a:lnTo>
                  <a:lnTo>
                    <a:pt x="385" y="1697"/>
                  </a:lnTo>
                  <a:lnTo>
                    <a:pt x="401" y="1700"/>
                  </a:lnTo>
                  <a:lnTo>
                    <a:pt x="417" y="1702"/>
                  </a:lnTo>
                  <a:lnTo>
                    <a:pt x="434" y="1703"/>
                  </a:lnTo>
                  <a:lnTo>
                    <a:pt x="451" y="1703"/>
                  </a:lnTo>
                  <a:lnTo>
                    <a:pt x="483" y="1702"/>
                  </a:lnTo>
                  <a:lnTo>
                    <a:pt x="500" y="1701"/>
                  </a:lnTo>
                  <a:lnTo>
                    <a:pt x="516" y="1700"/>
                  </a:lnTo>
                  <a:lnTo>
                    <a:pt x="548" y="1695"/>
                  </a:lnTo>
                  <a:lnTo>
                    <a:pt x="565" y="1692"/>
                  </a:lnTo>
                  <a:lnTo>
                    <a:pt x="581" y="1689"/>
                  </a:lnTo>
                  <a:lnTo>
                    <a:pt x="597" y="1685"/>
                  </a:lnTo>
                  <a:lnTo>
                    <a:pt x="613" y="1681"/>
                  </a:lnTo>
                  <a:lnTo>
                    <a:pt x="629" y="1676"/>
                  </a:lnTo>
                  <a:lnTo>
                    <a:pt x="645" y="1671"/>
                  </a:lnTo>
                  <a:lnTo>
                    <a:pt x="676" y="1659"/>
                  </a:lnTo>
                  <a:lnTo>
                    <a:pt x="692" y="1652"/>
                  </a:lnTo>
                  <a:lnTo>
                    <a:pt x="708" y="1645"/>
                  </a:lnTo>
                  <a:lnTo>
                    <a:pt x="723" y="1637"/>
                  </a:lnTo>
                  <a:lnTo>
                    <a:pt x="739" y="1629"/>
                  </a:lnTo>
                  <a:lnTo>
                    <a:pt x="754" y="1621"/>
                  </a:lnTo>
                  <a:lnTo>
                    <a:pt x="770" y="1612"/>
                  </a:lnTo>
                  <a:lnTo>
                    <a:pt x="785" y="1602"/>
                  </a:lnTo>
                  <a:lnTo>
                    <a:pt x="800" y="1592"/>
                  </a:lnTo>
                  <a:lnTo>
                    <a:pt x="816" y="1582"/>
                  </a:lnTo>
                  <a:lnTo>
                    <a:pt x="831" y="1571"/>
                  </a:lnTo>
                  <a:lnTo>
                    <a:pt x="846" y="1560"/>
                  </a:lnTo>
                  <a:lnTo>
                    <a:pt x="861" y="1548"/>
                  </a:lnTo>
                  <a:lnTo>
                    <a:pt x="891" y="1523"/>
                  </a:lnTo>
                  <a:lnTo>
                    <a:pt x="906" y="1510"/>
                  </a:lnTo>
                  <a:lnTo>
                    <a:pt x="921" y="1497"/>
                  </a:lnTo>
                  <a:lnTo>
                    <a:pt x="935" y="1483"/>
                  </a:lnTo>
                  <a:lnTo>
                    <a:pt x="950" y="1468"/>
                  </a:lnTo>
                  <a:lnTo>
                    <a:pt x="963" y="1455"/>
                  </a:lnTo>
                  <a:lnTo>
                    <a:pt x="975" y="1442"/>
                  </a:lnTo>
                  <a:lnTo>
                    <a:pt x="986" y="1428"/>
                  </a:lnTo>
                  <a:lnTo>
                    <a:pt x="998" y="1414"/>
                  </a:lnTo>
                  <a:lnTo>
                    <a:pt x="1008" y="1400"/>
                  </a:lnTo>
                  <a:lnTo>
                    <a:pt x="1018" y="1385"/>
                  </a:lnTo>
                  <a:lnTo>
                    <a:pt x="1028" y="1371"/>
                  </a:lnTo>
                  <a:lnTo>
                    <a:pt x="1037" y="1356"/>
                  </a:lnTo>
                  <a:lnTo>
                    <a:pt x="1046" y="1341"/>
                  </a:lnTo>
                  <a:lnTo>
                    <a:pt x="1055" y="1325"/>
                  </a:lnTo>
                  <a:lnTo>
                    <a:pt x="1063" y="1310"/>
                  </a:lnTo>
                  <a:lnTo>
                    <a:pt x="1070" y="1294"/>
                  </a:lnTo>
                  <a:lnTo>
                    <a:pt x="1078" y="1278"/>
                  </a:lnTo>
                  <a:lnTo>
                    <a:pt x="1085" y="1262"/>
                  </a:lnTo>
                  <a:lnTo>
                    <a:pt x="1098" y="1230"/>
                  </a:lnTo>
                  <a:lnTo>
                    <a:pt x="1103" y="1213"/>
                  </a:lnTo>
                  <a:lnTo>
                    <a:pt x="1109" y="1195"/>
                  </a:lnTo>
                  <a:lnTo>
                    <a:pt x="1114" y="1176"/>
                  </a:lnTo>
                  <a:lnTo>
                    <a:pt x="1119" y="1156"/>
                  </a:lnTo>
                  <a:lnTo>
                    <a:pt x="1123" y="1135"/>
                  </a:lnTo>
                  <a:lnTo>
                    <a:pt x="1128" y="1112"/>
                  </a:lnTo>
                  <a:lnTo>
                    <a:pt x="1135" y="1064"/>
                  </a:lnTo>
                  <a:lnTo>
                    <a:pt x="1142" y="1014"/>
                  </a:lnTo>
                  <a:lnTo>
                    <a:pt x="1149" y="961"/>
                  </a:lnTo>
                  <a:lnTo>
                    <a:pt x="1155" y="905"/>
                  </a:lnTo>
                  <a:lnTo>
                    <a:pt x="1161" y="849"/>
                  </a:lnTo>
                  <a:lnTo>
                    <a:pt x="1168" y="768"/>
                  </a:lnTo>
                  <a:lnTo>
                    <a:pt x="1174" y="692"/>
                  </a:lnTo>
                  <a:lnTo>
                    <a:pt x="1186" y="561"/>
                  </a:lnTo>
                  <a:lnTo>
                    <a:pt x="1194" y="471"/>
                  </a:lnTo>
                  <a:lnTo>
                    <a:pt x="1198" y="438"/>
                  </a:lnTo>
                  <a:lnTo>
                    <a:pt x="1213" y="419"/>
                  </a:lnTo>
                  <a:lnTo>
                    <a:pt x="1222" y="409"/>
                  </a:lnTo>
                  <a:lnTo>
                    <a:pt x="1231" y="399"/>
                  </a:lnTo>
                  <a:lnTo>
                    <a:pt x="1253" y="377"/>
                  </a:lnTo>
                  <a:lnTo>
                    <a:pt x="1279" y="352"/>
                  </a:lnTo>
                  <a:lnTo>
                    <a:pt x="1294" y="339"/>
                  </a:lnTo>
                  <a:lnTo>
                    <a:pt x="1310" y="326"/>
                  </a:lnTo>
                  <a:lnTo>
                    <a:pt x="1343" y="298"/>
                  </a:lnTo>
                  <a:lnTo>
                    <a:pt x="1382" y="267"/>
                  </a:lnTo>
                  <a:lnTo>
                    <a:pt x="1403" y="251"/>
                  </a:lnTo>
                  <a:lnTo>
                    <a:pt x="1425" y="235"/>
                  </a:lnTo>
                  <a:lnTo>
                    <a:pt x="1426" y="235"/>
                  </a:lnTo>
                  <a:lnTo>
                    <a:pt x="1420" y="320"/>
                  </a:lnTo>
                  <a:lnTo>
                    <a:pt x="1414" y="367"/>
                  </a:lnTo>
                  <a:lnTo>
                    <a:pt x="1368" y="781"/>
                  </a:lnTo>
                  <a:lnTo>
                    <a:pt x="1364" y="825"/>
                  </a:lnTo>
                  <a:lnTo>
                    <a:pt x="1363" y="843"/>
                  </a:lnTo>
                  <a:lnTo>
                    <a:pt x="1363" y="856"/>
                  </a:lnTo>
                  <a:lnTo>
                    <a:pt x="1363" y="869"/>
                  </a:lnTo>
                  <a:lnTo>
                    <a:pt x="1364" y="877"/>
                  </a:lnTo>
                  <a:lnTo>
                    <a:pt x="1365" y="885"/>
                  </a:lnTo>
                  <a:lnTo>
                    <a:pt x="1367" y="894"/>
                  </a:lnTo>
                  <a:lnTo>
                    <a:pt x="1370" y="904"/>
                  </a:lnTo>
                  <a:lnTo>
                    <a:pt x="1371" y="909"/>
                  </a:lnTo>
                  <a:lnTo>
                    <a:pt x="1373" y="914"/>
                  </a:lnTo>
                  <a:lnTo>
                    <a:pt x="1378" y="923"/>
                  </a:lnTo>
                  <a:lnTo>
                    <a:pt x="1383" y="933"/>
                  </a:lnTo>
                  <a:lnTo>
                    <a:pt x="1389" y="942"/>
                  </a:lnTo>
                  <a:lnTo>
                    <a:pt x="1396" y="950"/>
                  </a:lnTo>
                  <a:lnTo>
                    <a:pt x="1401" y="955"/>
                  </a:lnTo>
                  <a:lnTo>
                    <a:pt x="1405" y="958"/>
                  </a:lnTo>
                  <a:lnTo>
                    <a:pt x="1410" y="962"/>
                  </a:lnTo>
                  <a:lnTo>
                    <a:pt x="1415" y="966"/>
                  </a:lnTo>
                  <a:lnTo>
                    <a:pt x="1421" y="969"/>
                  </a:lnTo>
                  <a:lnTo>
                    <a:pt x="1427" y="972"/>
                  </a:lnTo>
                  <a:lnTo>
                    <a:pt x="1433" y="974"/>
                  </a:lnTo>
                  <a:lnTo>
                    <a:pt x="1439" y="976"/>
                  </a:lnTo>
                  <a:lnTo>
                    <a:pt x="1447" y="978"/>
                  </a:lnTo>
                  <a:lnTo>
                    <a:pt x="1454" y="980"/>
                  </a:lnTo>
                  <a:lnTo>
                    <a:pt x="1464" y="981"/>
                  </a:lnTo>
                  <a:lnTo>
                    <a:pt x="1474" y="982"/>
                  </a:lnTo>
                  <a:lnTo>
                    <a:pt x="1484" y="982"/>
                  </a:lnTo>
                  <a:lnTo>
                    <a:pt x="1494" y="981"/>
                  </a:lnTo>
                  <a:lnTo>
                    <a:pt x="1503" y="980"/>
                  </a:lnTo>
                  <a:lnTo>
                    <a:pt x="1512" y="978"/>
                  </a:lnTo>
                  <a:lnTo>
                    <a:pt x="1520" y="976"/>
                  </a:lnTo>
                  <a:lnTo>
                    <a:pt x="1529" y="974"/>
                  </a:lnTo>
                  <a:lnTo>
                    <a:pt x="1536" y="971"/>
                  </a:lnTo>
                  <a:lnTo>
                    <a:pt x="1543" y="968"/>
                  </a:lnTo>
                  <a:lnTo>
                    <a:pt x="1556" y="963"/>
                  </a:lnTo>
                  <a:lnTo>
                    <a:pt x="1565" y="957"/>
                  </a:lnTo>
                  <a:lnTo>
                    <a:pt x="1572" y="952"/>
                  </a:lnTo>
                  <a:lnTo>
                    <a:pt x="1571" y="950"/>
                  </a:lnTo>
                  <a:lnTo>
                    <a:pt x="1571" y="947"/>
                  </a:lnTo>
                  <a:lnTo>
                    <a:pt x="1571" y="936"/>
                  </a:lnTo>
                  <a:lnTo>
                    <a:pt x="1571" y="922"/>
                  </a:lnTo>
                  <a:lnTo>
                    <a:pt x="1573" y="904"/>
                  </a:lnTo>
                  <a:lnTo>
                    <a:pt x="1575" y="883"/>
                  </a:lnTo>
                  <a:lnTo>
                    <a:pt x="1578" y="860"/>
                  </a:lnTo>
                  <a:lnTo>
                    <a:pt x="1584" y="810"/>
                  </a:lnTo>
                  <a:lnTo>
                    <a:pt x="1590" y="761"/>
                  </a:lnTo>
                  <a:lnTo>
                    <a:pt x="1596" y="719"/>
                  </a:lnTo>
                  <a:lnTo>
                    <a:pt x="1602" y="679"/>
                  </a:lnTo>
                  <a:lnTo>
                    <a:pt x="1604" y="661"/>
                  </a:lnTo>
                  <a:lnTo>
                    <a:pt x="1607" y="643"/>
                  </a:lnTo>
                  <a:lnTo>
                    <a:pt x="1611" y="625"/>
                  </a:lnTo>
                  <a:lnTo>
                    <a:pt x="1616" y="607"/>
                  </a:lnTo>
                  <a:lnTo>
                    <a:pt x="1621" y="589"/>
                  </a:lnTo>
                  <a:lnTo>
                    <a:pt x="1626" y="570"/>
                  </a:lnTo>
                  <a:lnTo>
                    <a:pt x="1633" y="552"/>
                  </a:lnTo>
                  <a:lnTo>
                    <a:pt x="1640" y="533"/>
                  </a:lnTo>
                  <a:lnTo>
                    <a:pt x="1648" y="514"/>
                  </a:lnTo>
                  <a:lnTo>
                    <a:pt x="1656" y="495"/>
                  </a:lnTo>
                  <a:lnTo>
                    <a:pt x="1665" y="476"/>
                  </a:lnTo>
                  <a:lnTo>
                    <a:pt x="1675" y="457"/>
                  </a:lnTo>
                  <a:lnTo>
                    <a:pt x="1686" y="438"/>
                  </a:lnTo>
                  <a:lnTo>
                    <a:pt x="1697" y="418"/>
                  </a:lnTo>
                  <a:lnTo>
                    <a:pt x="1709" y="398"/>
                  </a:lnTo>
                  <a:lnTo>
                    <a:pt x="1722" y="379"/>
                  </a:lnTo>
                  <a:lnTo>
                    <a:pt x="1737" y="355"/>
                  </a:lnTo>
                  <a:lnTo>
                    <a:pt x="1752" y="334"/>
                  </a:lnTo>
                  <a:lnTo>
                    <a:pt x="1766" y="315"/>
                  </a:lnTo>
                  <a:lnTo>
                    <a:pt x="1779" y="298"/>
                  </a:lnTo>
                  <a:lnTo>
                    <a:pt x="1792" y="283"/>
                  </a:lnTo>
                  <a:lnTo>
                    <a:pt x="1804" y="269"/>
                  </a:lnTo>
                  <a:lnTo>
                    <a:pt x="1814" y="258"/>
                  </a:lnTo>
                  <a:lnTo>
                    <a:pt x="1824" y="249"/>
                  </a:lnTo>
                  <a:lnTo>
                    <a:pt x="1833" y="241"/>
                  </a:lnTo>
                  <a:lnTo>
                    <a:pt x="1842" y="235"/>
                  </a:lnTo>
                  <a:lnTo>
                    <a:pt x="1846" y="233"/>
                  </a:lnTo>
                  <a:lnTo>
                    <a:pt x="1849" y="231"/>
                  </a:lnTo>
                  <a:lnTo>
                    <a:pt x="1856" y="228"/>
                  </a:lnTo>
                  <a:lnTo>
                    <a:pt x="1859" y="227"/>
                  </a:lnTo>
                  <a:lnTo>
                    <a:pt x="1861" y="227"/>
                  </a:lnTo>
                  <a:lnTo>
                    <a:pt x="1864" y="227"/>
                  </a:lnTo>
                  <a:lnTo>
                    <a:pt x="1866" y="227"/>
                  </a:lnTo>
                  <a:lnTo>
                    <a:pt x="1868" y="228"/>
                  </a:lnTo>
                  <a:lnTo>
                    <a:pt x="1870" y="229"/>
                  </a:lnTo>
                  <a:lnTo>
                    <a:pt x="1872" y="230"/>
                  </a:lnTo>
                  <a:lnTo>
                    <a:pt x="1873" y="232"/>
                  </a:lnTo>
                  <a:lnTo>
                    <a:pt x="1874" y="234"/>
                  </a:lnTo>
                  <a:lnTo>
                    <a:pt x="1875" y="237"/>
                  </a:lnTo>
                  <a:lnTo>
                    <a:pt x="1877" y="244"/>
                  </a:lnTo>
                  <a:lnTo>
                    <a:pt x="1877" y="248"/>
                  </a:lnTo>
                  <a:lnTo>
                    <a:pt x="1878" y="253"/>
                  </a:lnTo>
                  <a:lnTo>
                    <a:pt x="1878" y="263"/>
                  </a:lnTo>
                  <a:lnTo>
                    <a:pt x="1878" y="275"/>
                  </a:lnTo>
                  <a:lnTo>
                    <a:pt x="1878" y="287"/>
                  </a:lnTo>
                  <a:lnTo>
                    <a:pt x="1876" y="313"/>
                  </a:lnTo>
                  <a:lnTo>
                    <a:pt x="1874" y="338"/>
                  </a:lnTo>
                  <a:lnTo>
                    <a:pt x="1872" y="360"/>
                  </a:lnTo>
                  <a:lnTo>
                    <a:pt x="1870" y="380"/>
                  </a:lnTo>
                  <a:lnTo>
                    <a:pt x="1825" y="784"/>
                  </a:lnTo>
                  <a:lnTo>
                    <a:pt x="1823" y="811"/>
                  </a:lnTo>
                  <a:lnTo>
                    <a:pt x="1821" y="837"/>
                  </a:lnTo>
                  <a:lnTo>
                    <a:pt x="1820" y="856"/>
                  </a:lnTo>
                  <a:lnTo>
                    <a:pt x="1821" y="869"/>
                  </a:lnTo>
                  <a:lnTo>
                    <a:pt x="1821" y="877"/>
                  </a:lnTo>
                  <a:lnTo>
                    <a:pt x="1823" y="885"/>
                  </a:lnTo>
                  <a:lnTo>
                    <a:pt x="1825" y="894"/>
                  </a:lnTo>
                  <a:lnTo>
                    <a:pt x="1827" y="904"/>
                  </a:lnTo>
                  <a:lnTo>
                    <a:pt x="1829" y="909"/>
                  </a:lnTo>
                  <a:lnTo>
                    <a:pt x="1831" y="914"/>
                  </a:lnTo>
                  <a:lnTo>
                    <a:pt x="1835" y="923"/>
                  </a:lnTo>
                  <a:lnTo>
                    <a:pt x="1840" y="933"/>
                  </a:lnTo>
                  <a:lnTo>
                    <a:pt x="1846" y="942"/>
                  </a:lnTo>
                  <a:lnTo>
                    <a:pt x="1854" y="950"/>
                  </a:lnTo>
                  <a:lnTo>
                    <a:pt x="1858" y="955"/>
                  </a:lnTo>
                  <a:lnTo>
                    <a:pt x="1863" y="958"/>
                  </a:lnTo>
                  <a:lnTo>
                    <a:pt x="1867" y="962"/>
                  </a:lnTo>
                  <a:lnTo>
                    <a:pt x="1873" y="966"/>
                  </a:lnTo>
                  <a:lnTo>
                    <a:pt x="1878" y="969"/>
                  </a:lnTo>
                  <a:lnTo>
                    <a:pt x="1884" y="972"/>
                  </a:lnTo>
                  <a:lnTo>
                    <a:pt x="1890" y="974"/>
                  </a:lnTo>
                  <a:lnTo>
                    <a:pt x="1897" y="976"/>
                  </a:lnTo>
                  <a:lnTo>
                    <a:pt x="1904" y="978"/>
                  </a:lnTo>
                  <a:lnTo>
                    <a:pt x="1911" y="980"/>
                  </a:lnTo>
                  <a:lnTo>
                    <a:pt x="1922" y="981"/>
                  </a:lnTo>
                  <a:lnTo>
                    <a:pt x="1932" y="982"/>
                  </a:lnTo>
                  <a:lnTo>
                    <a:pt x="1943" y="982"/>
                  </a:lnTo>
                  <a:lnTo>
                    <a:pt x="1953" y="981"/>
                  </a:lnTo>
                  <a:lnTo>
                    <a:pt x="1963" y="979"/>
                  </a:lnTo>
                  <a:lnTo>
                    <a:pt x="1973" y="977"/>
                  </a:lnTo>
                  <a:lnTo>
                    <a:pt x="1982" y="975"/>
                  </a:lnTo>
                  <a:lnTo>
                    <a:pt x="1991" y="972"/>
                  </a:lnTo>
                  <a:lnTo>
                    <a:pt x="2007" y="966"/>
                  </a:lnTo>
                  <a:lnTo>
                    <a:pt x="2021" y="959"/>
                  </a:lnTo>
                  <a:lnTo>
                    <a:pt x="2032" y="953"/>
                  </a:lnTo>
                  <a:lnTo>
                    <a:pt x="2036" y="950"/>
                  </a:lnTo>
                  <a:lnTo>
                    <a:pt x="2040" y="947"/>
                  </a:lnTo>
                  <a:lnTo>
                    <a:pt x="2038" y="940"/>
                  </a:lnTo>
                  <a:lnTo>
                    <a:pt x="2038" y="928"/>
                  </a:lnTo>
                  <a:lnTo>
                    <a:pt x="2038" y="913"/>
                  </a:lnTo>
                  <a:lnTo>
                    <a:pt x="2039" y="895"/>
                  </a:lnTo>
                  <a:lnTo>
                    <a:pt x="2042" y="851"/>
                  </a:lnTo>
                  <a:lnTo>
                    <a:pt x="2047" y="804"/>
                  </a:lnTo>
                  <a:lnTo>
                    <a:pt x="2052" y="757"/>
                  </a:lnTo>
                  <a:lnTo>
                    <a:pt x="2056" y="717"/>
                  </a:lnTo>
                  <a:lnTo>
                    <a:pt x="2061" y="679"/>
                  </a:lnTo>
                  <a:lnTo>
                    <a:pt x="2063" y="661"/>
                  </a:lnTo>
                  <a:lnTo>
                    <a:pt x="2066" y="643"/>
                  </a:lnTo>
                  <a:lnTo>
                    <a:pt x="2070" y="625"/>
                  </a:lnTo>
                  <a:lnTo>
                    <a:pt x="2074" y="607"/>
                  </a:lnTo>
                  <a:lnTo>
                    <a:pt x="2080" y="589"/>
                  </a:lnTo>
                  <a:lnTo>
                    <a:pt x="2085" y="571"/>
                  </a:lnTo>
                  <a:lnTo>
                    <a:pt x="2092" y="552"/>
                  </a:lnTo>
                  <a:lnTo>
                    <a:pt x="2099" y="533"/>
                  </a:lnTo>
                  <a:lnTo>
                    <a:pt x="2107" y="515"/>
                  </a:lnTo>
                  <a:lnTo>
                    <a:pt x="2116" y="496"/>
                  </a:lnTo>
                  <a:lnTo>
                    <a:pt x="2125" y="476"/>
                  </a:lnTo>
                  <a:lnTo>
                    <a:pt x="2135" y="457"/>
                  </a:lnTo>
                  <a:lnTo>
                    <a:pt x="2146" y="438"/>
                  </a:lnTo>
                  <a:lnTo>
                    <a:pt x="2158" y="418"/>
                  </a:lnTo>
                  <a:lnTo>
                    <a:pt x="2170" y="399"/>
                  </a:lnTo>
                  <a:lnTo>
                    <a:pt x="2182" y="379"/>
                  </a:lnTo>
                  <a:lnTo>
                    <a:pt x="2198" y="356"/>
                  </a:lnTo>
                  <a:lnTo>
                    <a:pt x="2213" y="335"/>
                  </a:lnTo>
                  <a:lnTo>
                    <a:pt x="2228" y="316"/>
                  </a:lnTo>
                  <a:lnTo>
                    <a:pt x="2241" y="299"/>
                  </a:lnTo>
                  <a:lnTo>
                    <a:pt x="2254" y="284"/>
                  </a:lnTo>
                  <a:lnTo>
                    <a:pt x="2266" y="271"/>
                  </a:lnTo>
                  <a:lnTo>
                    <a:pt x="2276" y="260"/>
                  </a:lnTo>
                  <a:lnTo>
                    <a:pt x="2287" y="251"/>
                  </a:lnTo>
                  <a:lnTo>
                    <a:pt x="2296" y="244"/>
                  </a:lnTo>
                  <a:lnTo>
                    <a:pt x="2305" y="238"/>
                  </a:lnTo>
                  <a:lnTo>
                    <a:pt x="2308" y="235"/>
                  </a:lnTo>
                  <a:lnTo>
                    <a:pt x="2312" y="233"/>
                  </a:lnTo>
                  <a:lnTo>
                    <a:pt x="2319" y="231"/>
                  </a:lnTo>
                  <a:lnTo>
                    <a:pt x="2325" y="229"/>
                  </a:lnTo>
                  <a:lnTo>
                    <a:pt x="2330" y="229"/>
                  </a:lnTo>
                  <a:lnTo>
                    <a:pt x="2335" y="230"/>
                  </a:lnTo>
                  <a:lnTo>
                    <a:pt x="2337" y="231"/>
                  </a:lnTo>
                  <a:lnTo>
                    <a:pt x="2338" y="232"/>
                  </a:lnTo>
                  <a:lnTo>
                    <a:pt x="2340" y="234"/>
                  </a:lnTo>
                  <a:lnTo>
                    <a:pt x="2341" y="236"/>
                  </a:lnTo>
                  <a:lnTo>
                    <a:pt x="2342" y="240"/>
                  </a:lnTo>
                  <a:lnTo>
                    <a:pt x="2342" y="244"/>
                  </a:lnTo>
                  <a:lnTo>
                    <a:pt x="2343" y="254"/>
                  </a:lnTo>
                  <a:lnTo>
                    <a:pt x="2343" y="267"/>
                  </a:lnTo>
                  <a:lnTo>
                    <a:pt x="2342" y="281"/>
                  </a:lnTo>
                  <a:lnTo>
                    <a:pt x="2341" y="297"/>
                  </a:lnTo>
                  <a:lnTo>
                    <a:pt x="2338" y="330"/>
                  </a:lnTo>
                  <a:lnTo>
                    <a:pt x="2334" y="363"/>
                  </a:lnTo>
                  <a:lnTo>
                    <a:pt x="2330" y="391"/>
                  </a:lnTo>
                  <a:lnTo>
                    <a:pt x="2326" y="418"/>
                  </a:lnTo>
                  <a:lnTo>
                    <a:pt x="2293" y="634"/>
                  </a:lnTo>
                  <a:lnTo>
                    <a:pt x="2289" y="668"/>
                  </a:lnTo>
                  <a:lnTo>
                    <a:pt x="2284" y="700"/>
                  </a:lnTo>
                  <a:lnTo>
                    <a:pt x="2281" y="729"/>
                  </a:lnTo>
                  <a:lnTo>
                    <a:pt x="2278" y="756"/>
                  </a:lnTo>
                  <a:lnTo>
                    <a:pt x="2276" y="780"/>
                  </a:lnTo>
                  <a:lnTo>
                    <a:pt x="2274" y="803"/>
                  </a:lnTo>
                  <a:lnTo>
                    <a:pt x="2273" y="823"/>
                  </a:lnTo>
                  <a:lnTo>
                    <a:pt x="2273" y="841"/>
                  </a:lnTo>
                  <a:lnTo>
                    <a:pt x="2273" y="854"/>
                  </a:lnTo>
                  <a:lnTo>
                    <a:pt x="2274" y="866"/>
                  </a:lnTo>
                  <a:lnTo>
                    <a:pt x="2275" y="877"/>
                  </a:lnTo>
                  <a:lnTo>
                    <a:pt x="2277" y="888"/>
                  </a:lnTo>
                  <a:lnTo>
                    <a:pt x="2279" y="898"/>
                  </a:lnTo>
                  <a:lnTo>
                    <a:pt x="2282" y="907"/>
                  </a:lnTo>
                  <a:lnTo>
                    <a:pt x="2288" y="923"/>
                  </a:lnTo>
                  <a:lnTo>
                    <a:pt x="2292" y="931"/>
                  </a:lnTo>
                  <a:lnTo>
                    <a:pt x="2296" y="938"/>
                  </a:lnTo>
                  <a:lnTo>
                    <a:pt x="2300" y="944"/>
                  </a:lnTo>
                  <a:lnTo>
                    <a:pt x="2305" y="950"/>
                  </a:lnTo>
                  <a:lnTo>
                    <a:pt x="2307" y="953"/>
                  </a:lnTo>
                  <a:lnTo>
                    <a:pt x="2309" y="955"/>
                  </a:lnTo>
                  <a:lnTo>
                    <a:pt x="2314" y="960"/>
                  </a:lnTo>
                  <a:lnTo>
                    <a:pt x="2324" y="969"/>
                  </a:lnTo>
                  <a:lnTo>
                    <a:pt x="2335" y="975"/>
                  </a:lnTo>
                  <a:lnTo>
                    <a:pt x="2345" y="981"/>
                  </a:lnTo>
                  <a:lnTo>
                    <a:pt x="2356" y="985"/>
                  </a:lnTo>
                  <a:lnTo>
                    <a:pt x="2366" y="988"/>
                  </a:lnTo>
                  <a:lnTo>
                    <a:pt x="2375" y="989"/>
                  </a:lnTo>
                  <a:lnTo>
                    <a:pt x="2384" y="991"/>
                  </a:lnTo>
                  <a:lnTo>
                    <a:pt x="2398" y="991"/>
                  </a:lnTo>
                  <a:lnTo>
                    <a:pt x="2408" y="991"/>
                  </a:lnTo>
                  <a:lnTo>
                    <a:pt x="2418" y="990"/>
                  </a:lnTo>
                  <a:lnTo>
                    <a:pt x="2429" y="988"/>
                  </a:lnTo>
                  <a:lnTo>
                    <a:pt x="2439" y="985"/>
                  </a:lnTo>
                  <a:lnTo>
                    <a:pt x="2450" y="981"/>
                  </a:lnTo>
                  <a:lnTo>
                    <a:pt x="2462" y="977"/>
                  </a:lnTo>
                  <a:lnTo>
                    <a:pt x="2473" y="971"/>
                  </a:lnTo>
                  <a:lnTo>
                    <a:pt x="2485" y="965"/>
                  </a:lnTo>
                  <a:lnTo>
                    <a:pt x="2497" y="958"/>
                  </a:lnTo>
                  <a:lnTo>
                    <a:pt x="2509" y="950"/>
                  </a:lnTo>
                  <a:lnTo>
                    <a:pt x="2522" y="941"/>
                  </a:lnTo>
                  <a:lnTo>
                    <a:pt x="2535" y="931"/>
                  </a:lnTo>
                  <a:lnTo>
                    <a:pt x="2548" y="921"/>
                  </a:lnTo>
                  <a:lnTo>
                    <a:pt x="2562" y="909"/>
                  </a:lnTo>
                  <a:lnTo>
                    <a:pt x="2576" y="897"/>
                  </a:lnTo>
                  <a:lnTo>
                    <a:pt x="2590" y="883"/>
                  </a:lnTo>
                  <a:lnTo>
                    <a:pt x="2606" y="868"/>
                  </a:lnTo>
                  <a:lnTo>
                    <a:pt x="2620" y="854"/>
                  </a:lnTo>
                  <a:lnTo>
                    <a:pt x="2622" y="865"/>
                  </a:lnTo>
                  <a:lnTo>
                    <a:pt x="2626" y="875"/>
                  </a:lnTo>
                  <a:lnTo>
                    <a:pt x="2629" y="884"/>
                  </a:lnTo>
                  <a:lnTo>
                    <a:pt x="2633" y="893"/>
                  </a:lnTo>
                  <a:lnTo>
                    <a:pt x="2637" y="902"/>
                  </a:lnTo>
                  <a:lnTo>
                    <a:pt x="2641" y="910"/>
                  </a:lnTo>
                  <a:lnTo>
                    <a:pt x="2645" y="918"/>
                  </a:lnTo>
                  <a:lnTo>
                    <a:pt x="2650" y="925"/>
                  </a:lnTo>
                  <a:lnTo>
                    <a:pt x="2654" y="931"/>
                  </a:lnTo>
                  <a:lnTo>
                    <a:pt x="2659" y="938"/>
                  </a:lnTo>
                  <a:lnTo>
                    <a:pt x="2664" y="943"/>
                  </a:lnTo>
                  <a:lnTo>
                    <a:pt x="2669" y="949"/>
                  </a:lnTo>
                  <a:lnTo>
                    <a:pt x="2675" y="954"/>
                  </a:lnTo>
                  <a:lnTo>
                    <a:pt x="2680" y="958"/>
                  </a:lnTo>
                  <a:lnTo>
                    <a:pt x="2686" y="963"/>
                  </a:lnTo>
                  <a:lnTo>
                    <a:pt x="2691" y="966"/>
                  </a:lnTo>
                  <a:lnTo>
                    <a:pt x="2702" y="973"/>
                  </a:lnTo>
                  <a:lnTo>
                    <a:pt x="2714" y="979"/>
                  </a:lnTo>
                  <a:lnTo>
                    <a:pt x="2719" y="981"/>
                  </a:lnTo>
                  <a:lnTo>
                    <a:pt x="2725" y="983"/>
                  </a:lnTo>
                  <a:lnTo>
                    <a:pt x="2737" y="986"/>
                  </a:lnTo>
                  <a:lnTo>
                    <a:pt x="2748" y="989"/>
                  </a:lnTo>
                  <a:lnTo>
                    <a:pt x="2759" y="990"/>
                  </a:lnTo>
                  <a:lnTo>
                    <a:pt x="2770" y="991"/>
                  </a:lnTo>
                  <a:lnTo>
                    <a:pt x="2779" y="991"/>
                  </a:lnTo>
                  <a:lnTo>
                    <a:pt x="2793" y="991"/>
                  </a:lnTo>
                  <a:lnTo>
                    <a:pt x="2807" y="990"/>
                  </a:lnTo>
                  <a:lnTo>
                    <a:pt x="2821" y="987"/>
                  </a:lnTo>
                  <a:lnTo>
                    <a:pt x="2835" y="984"/>
                  </a:lnTo>
                  <a:lnTo>
                    <a:pt x="2850" y="980"/>
                  </a:lnTo>
                  <a:lnTo>
                    <a:pt x="2864" y="975"/>
                  </a:lnTo>
                  <a:lnTo>
                    <a:pt x="2879" y="969"/>
                  </a:lnTo>
                  <a:lnTo>
                    <a:pt x="2894" y="962"/>
                  </a:lnTo>
                  <a:lnTo>
                    <a:pt x="2909" y="954"/>
                  </a:lnTo>
                  <a:lnTo>
                    <a:pt x="2925" y="946"/>
                  </a:lnTo>
                  <a:lnTo>
                    <a:pt x="2940" y="936"/>
                  </a:lnTo>
                  <a:lnTo>
                    <a:pt x="2956" y="925"/>
                  </a:lnTo>
                  <a:lnTo>
                    <a:pt x="2973" y="914"/>
                  </a:lnTo>
                  <a:lnTo>
                    <a:pt x="2989" y="901"/>
                  </a:lnTo>
                  <a:lnTo>
                    <a:pt x="3006" y="888"/>
                  </a:lnTo>
                  <a:lnTo>
                    <a:pt x="3023" y="873"/>
                  </a:lnTo>
                  <a:lnTo>
                    <a:pt x="3038" y="860"/>
                  </a:lnTo>
                  <a:lnTo>
                    <a:pt x="3053" y="846"/>
                  </a:lnTo>
                  <a:lnTo>
                    <a:pt x="3067" y="832"/>
                  </a:lnTo>
                  <a:lnTo>
                    <a:pt x="3082" y="817"/>
                  </a:lnTo>
                  <a:lnTo>
                    <a:pt x="3096" y="801"/>
                  </a:lnTo>
                  <a:lnTo>
                    <a:pt x="3111" y="786"/>
                  </a:lnTo>
                  <a:lnTo>
                    <a:pt x="3125" y="769"/>
                  </a:lnTo>
                  <a:lnTo>
                    <a:pt x="3139" y="753"/>
                  </a:lnTo>
                  <a:lnTo>
                    <a:pt x="3136" y="775"/>
                  </a:lnTo>
                  <a:lnTo>
                    <a:pt x="3130" y="856"/>
                  </a:lnTo>
                  <a:lnTo>
                    <a:pt x="3130" y="867"/>
                  </a:lnTo>
                  <a:lnTo>
                    <a:pt x="3131" y="878"/>
                  </a:lnTo>
                  <a:lnTo>
                    <a:pt x="3132" y="888"/>
                  </a:lnTo>
                  <a:lnTo>
                    <a:pt x="3133" y="898"/>
                  </a:lnTo>
                  <a:lnTo>
                    <a:pt x="3135" y="907"/>
                  </a:lnTo>
                  <a:lnTo>
                    <a:pt x="3138" y="915"/>
                  </a:lnTo>
                  <a:lnTo>
                    <a:pt x="3140" y="923"/>
                  </a:lnTo>
                  <a:lnTo>
                    <a:pt x="3144" y="930"/>
                  </a:lnTo>
                  <a:lnTo>
                    <a:pt x="3147" y="937"/>
                  </a:lnTo>
                  <a:lnTo>
                    <a:pt x="3150" y="943"/>
                  </a:lnTo>
                  <a:lnTo>
                    <a:pt x="3154" y="949"/>
                  </a:lnTo>
                  <a:lnTo>
                    <a:pt x="3158" y="954"/>
                  </a:lnTo>
                  <a:lnTo>
                    <a:pt x="3163" y="959"/>
                  </a:lnTo>
                  <a:lnTo>
                    <a:pt x="3167" y="963"/>
                  </a:lnTo>
                  <a:lnTo>
                    <a:pt x="3172" y="967"/>
                  </a:lnTo>
                  <a:lnTo>
                    <a:pt x="3176" y="971"/>
                  </a:lnTo>
                  <a:lnTo>
                    <a:pt x="3186" y="977"/>
                  </a:lnTo>
                  <a:lnTo>
                    <a:pt x="3195" y="982"/>
                  </a:lnTo>
                  <a:lnTo>
                    <a:pt x="3200" y="984"/>
                  </a:lnTo>
                  <a:lnTo>
                    <a:pt x="3205" y="985"/>
                  </a:lnTo>
                  <a:lnTo>
                    <a:pt x="3209" y="987"/>
                  </a:lnTo>
                  <a:lnTo>
                    <a:pt x="3214" y="988"/>
                  </a:lnTo>
                  <a:lnTo>
                    <a:pt x="3223" y="990"/>
                  </a:lnTo>
                  <a:lnTo>
                    <a:pt x="3230" y="991"/>
                  </a:lnTo>
                  <a:lnTo>
                    <a:pt x="3243" y="991"/>
                  </a:lnTo>
                  <a:lnTo>
                    <a:pt x="3257" y="991"/>
                  </a:lnTo>
                  <a:lnTo>
                    <a:pt x="3272" y="989"/>
                  </a:lnTo>
                  <a:lnTo>
                    <a:pt x="3279" y="987"/>
                  </a:lnTo>
                  <a:lnTo>
                    <a:pt x="3286" y="985"/>
                  </a:lnTo>
                  <a:lnTo>
                    <a:pt x="3293" y="983"/>
                  </a:lnTo>
                  <a:lnTo>
                    <a:pt x="3300" y="980"/>
                  </a:lnTo>
                  <a:lnTo>
                    <a:pt x="3314" y="974"/>
                  </a:lnTo>
                  <a:lnTo>
                    <a:pt x="3321" y="971"/>
                  </a:lnTo>
                  <a:lnTo>
                    <a:pt x="3328" y="967"/>
                  </a:lnTo>
                  <a:lnTo>
                    <a:pt x="3335" y="963"/>
                  </a:lnTo>
                  <a:lnTo>
                    <a:pt x="3342" y="959"/>
                  </a:lnTo>
                  <a:lnTo>
                    <a:pt x="3357" y="949"/>
                  </a:lnTo>
                  <a:lnTo>
                    <a:pt x="3356" y="948"/>
                  </a:lnTo>
                  <a:lnTo>
                    <a:pt x="3354" y="946"/>
                  </a:lnTo>
                  <a:lnTo>
                    <a:pt x="3353" y="944"/>
                  </a:lnTo>
                  <a:lnTo>
                    <a:pt x="3352" y="940"/>
                  </a:lnTo>
                  <a:lnTo>
                    <a:pt x="3351" y="936"/>
                  </a:lnTo>
                  <a:lnTo>
                    <a:pt x="3350" y="924"/>
                  </a:lnTo>
                  <a:lnTo>
                    <a:pt x="3350" y="908"/>
                  </a:lnTo>
                  <a:lnTo>
                    <a:pt x="3351" y="889"/>
                  </a:lnTo>
                  <a:lnTo>
                    <a:pt x="3352" y="866"/>
                  </a:lnTo>
                  <a:lnTo>
                    <a:pt x="3357" y="813"/>
                  </a:lnTo>
                  <a:lnTo>
                    <a:pt x="3361" y="783"/>
                  </a:lnTo>
                  <a:lnTo>
                    <a:pt x="3365" y="751"/>
                  </a:lnTo>
                  <a:lnTo>
                    <a:pt x="3374" y="682"/>
                  </a:lnTo>
                  <a:lnTo>
                    <a:pt x="3384" y="608"/>
                  </a:lnTo>
                  <a:lnTo>
                    <a:pt x="3395" y="532"/>
                  </a:lnTo>
                  <a:lnTo>
                    <a:pt x="3419" y="383"/>
                  </a:lnTo>
                  <a:lnTo>
                    <a:pt x="3440" y="254"/>
                  </a:lnTo>
                  <a:lnTo>
                    <a:pt x="3461" y="128"/>
                  </a:lnTo>
                  <a:lnTo>
                    <a:pt x="3462" y="127"/>
                  </a:lnTo>
                  <a:lnTo>
                    <a:pt x="3462" y="122"/>
                  </a:lnTo>
                  <a:lnTo>
                    <a:pt x="3463" y="118"/>
                  </a:lnTo>
                  <a:lnTo>
                    <a:pt x="3463" y="110"/>
                  </a:lnTo>
                  <a:lnTo>
                    <a:pt x="3462" y="106"/>
                  </a:lnTo>
                  <a:lnTo>
                    <a:pt x="3461" y="102"/>
                  </a:lnTo>
                  <a:lnTo>
                    <a:pt x="3461" y="98"/>
                  </a:lnTo>
                  <a:lnTo>
                    <a:pt x="3459" y="95"/>
                  </a:lnTo>
                  <a:lnTo>
                    <a:pt x="3456" y="88"/>
                  </a:lnTo>
                  <a:lnTo>
                    <a:pt x="3452" y="82"/>
                  </a:lnTo>
                  <a:lnTo>
                    <a:pt x="3447" y="76"/>
                  </a:lnTo>
                  <a:lnTo>
                    <a:pt x="3441" y="70"/>
                  </a:lnTo>
                  <a:lnTo>
                    <a:pt x="3435" y="65"/>
                  </a:lnTo>
                  <a:lnTo>
                    <a:pt x="3432" y="63"/>
                  </a:lnTo>
                  <a:lnTo>
                    <a:pt x="3428" y="61"/>
                  </a:lnTo>
                  <a:lnTo>
                    <a:pt x="3420" y="57"/>
                  </a:lnTo>
                  <a:lnTo>
                    <a:pt x="3412" y="53"/>
                  </a:lnTo>
                  <a:lnTo>
                    <a:pt x="3404" y="49"/>
                  </a:lnTo>
                  <a:lnTo>
                    <a:pt x="3395" y="46"/>
                  </a:lnTo>
                  <a:lnTo>
                    <a:pt x="3376" y="41"/>
                  </a:lnTo>
                  <a:lnTo>
                    <a:pt x="3357" y="36"/>
                  </a:lnTo>
                  <a:lnTo>
                    <a:pt x="3337" y="33"/>
                  </a:lnTo>
                  <a:lnTo>
                    <a:pt x="3317" y="30"/>
                  </a:lnTo>
                  <a:lnTo>
                    <a:pt x="3299" y="29"/>
                  </a:lnTo>
                  <a:lnTo>
                    <a:pt x="3282" y="28"/>
                  </a:lnTo>
                  <a:lnTo>
                    <a:pt x="3267" y="27"/>
                  </a:lnTo>
                  <a:lnTo>
                    <a:pt x="3244" y="27"/>
                  </a:lnTo>
                  <a:close/>
                  <a:moveTo>
                    <a:pt x="929" y="821"/>
                  </a:moveTo>
                  <a:lnTo>
                    <a:pt x="923" y="888"/>
                  </a:lnTo>
                  <a:lnTo>
                    <a:pt x="917" y="950"/>
                  </a:lnTo>
                  <a:lnTo>
                    <a:pt x="910" y="1009"/>
                  </a:lnTo>
                  <a:lnTo>
                    <a:pt x="904" y="1063"/>
                  </a:lnTo>
                  <a:lnTo>
                    <a:pt x="897" y="1114"/>
                  </a:lnTo>
                  <a:lnTo>
                    <a:pt x="890" y="1160"/>
                  </a:lnTo>
                  <a:lnTo>
                    <a:pt x="882" y="1202"/>
                  </a:lnTo>
                  <a:lnTo>
                    <a:pt x="875" y="1240"/>
                  </a:lnTo>
                  <a:lnTo>
                    <a:pt x="868" y="1275"/>
                  </a:lnTo>
                  <a:lnTo>
                    <a:pt x="861" y="1306"/>
                  </a:lnTo>
                  <a:lnTo>
                    <a:pt x="854" y="1333"/>
                  </a:lnTo>
                  <a:lnTo>
                    <a:pt x="847" y="1357"/>
                  </a:lnTo>
                  <a:lnTo>
                    <a:pt x="843" y="1368"/>
                  </a:lnTo>
                  <a:lnTo>
                    <a:pt x="840" y="1378"/>
                  </a:lnTo>
                  <a:lnTo>
                    <a:pt x="833" y="1395"/>
                  </a:lnTo>
                  <a:lnTo>
                    <a:pt x="830" y="1403"/>
                  </a:lnTo>
                  <a:lnTo>
                    <a:pt x="826" y="1410"/>
                  </a:lnTo>
                  <a:lnTo>
                    <a:pt x="823" y="1415"/>
                  </a:lnTo>
                  <a:lnTo>
                    <a:pt x="820" y="1421"/>
                  </a:lnTo>
                  <a:lnTo>
                    <a:pt x="809" y="1437"/>
                  </a:lnTo>
                  <a:lnTo>
                    <a:pt x="798" y="1452"/>
                  </a:lnTo>
                  <a:lnTo>
                    <a:pt x="791" y="1460"/>
                  </a:lnTo>
                  <a:lnTo>
                    <a:pt x="785" y="1467"/>
                  </a:lnTo>
                  <a:lnTo>
                    <a:pt x="779" y="1473"/>
                  </a:lnTo>
                  <a:lnTo>
                    <a:pt x="773" y="1480"/>
                  </a:lnTo>
                  <a:lnTo>
                    <a:pt x="766" y="1486"/>
                  </a:lnTo>
                  <a:lnTo>
                    <a:pt x="760" y="1492"/>
                  </a:lnTo>
                  <a:lnTo>
                    <a:pt x="746" y="1503"/>
                  </a:lnTo>
                  <a:lnTo>
                    <a:pt x="732" y="1513"/>
                  </a:lnTo>
                  <a:lnTo>
                    <a:pt x="724" y="1517"/>
                  </a:lnTo>
                  <a:lnTo>
                    <a:pt x="717" y="1522"/>
                  </a:lnTo>
                  <a:lnTo>
                    <a:pt x="701" y="1529"/>
                  </a:lnTo>
                  <a:lnTo>
                    <a:pt x="694" y="1533"/>
                  </a:lnTo>
                  <a:lnTo>
                    <a:pt x="686" y="1536"/>
                  </a:lnTo>
                  <a:lnTo>
                    <a:pt x="669" y="1542"/>
                  </a:lnTo>
                  <a:lnTo>
                    <a:pt x="661" y="1544"/>
                  </a:lnTo>
                  <a:lnTo>
                    <a:pt x="652" y="1546"/>
                  </a:lnTo>
                  <a:lnTo>
                    <a:pt x="635" y="1550"/>
                  </a:lnTo>
                  <a:lnTo>
                    <a:pt x="616" y="1552"/>
                  </a:lnTo>
                  <a:lnTo>
                    <a:pt x="598" y="1554"/>
                  </a:lnTo>
                  <a:lnTo>
                    <a:pt x="578" y="1554"/>
                  </a:lnTo>
                  <a:lnTo>
                    <a:pt x="565" y="1554"/>
                  </a:lnTo>
                  <a:lnTo>
                    <a:pt x="549" y="1552"/>
                  </a:lnTo>
                  <a:lnTo>
                    <a:pt x="541" y="1550"/>
                  </a:lnTo>
                  <a:lnTo>
                    <a:pt x="533" y="1548"/>
                  </a:lnTo>
                  <a:lnTo>
                    <a:pt x="515" y="1543"/>
                  </a:lnTo>
                  <a:lnTo>
                    <a:pt x="506" y="1540"/>
                  </a:lnTo>
                  <a:lnTo>
                    <a:pt x="496" y="1536"/>
                  </a:lnTo>
                  <a:lnTo>
                    <a:pt x="478" y="1527"/>
                  </a:lnTo>
                  <a:lnTo>
                    <a:pt x="468" y="1522"/>
                  </a:lnTo>
                  <a:lnTo>
                    <a:pt x="459" y="1516"/>
                  </a:lnTo>
                  <a:lnTo>
                    <a:pt x="450" y="1509"/>
                  </a:lnTo>
                  <a:lnTo>
                    <a:pt x="441" y="1503"/>
                  </a:lnTo>
                  <a:lnTo>
                    <a:pt x="432" y="1495"/>
                  </a:lnTo>
                  <a:lnTo>
                    <a:pt x="423" y="1487"/>
                  </a:lnTo>
                  <a:lnTo>
                    <a:pt x="415" y="1478"/>
                  </a:lnTo>
                  <a:lnTo>
                    <a:pt x="407" y="1469"/>
                  </a:lnTo>
                  <a:lnTo>
                    <a:pt x="399" y="1459"/>
                  </a:lnTo>
                  <a:lnTo>
                    <a:pt x="392" y="1448"/>
                  </a:lnTo>
                  <a:lnTo>
                    <a:pt x="385" y="1436"/>
                  </a:lnTo>
                  <a:lnTo>
                    <a:pt x="379" y="1424"/>
                  </a:lnTo>
                  <a:lnTo>
                    <a:pt x="373" y="1411"/>
                  </a:lnTo>
                  <a:lnTo>
                    <a:pt x="368" y="1398"/>
                  </a:lnTo>
                  <a:lnTo>
                    <a:pt x="364" y="1383"/>
                  </a:lnTo>
                  <a:lnTo>
                    <a:pt x="360" y="1368"/>
                  </a:lnTo>
                  <a:lnTo>
                    <a:pt x="357" y="1352"/>
                  </a:lnTo>
                  <a:lnTo>
                    <a:pt x="355" y="1335"/>
                  </a:lnTo>
                  <a:lnTo>
                    <a:pt x="353" y="1317"/>
                  </a:lnTo>
                  <a:lnTo>
                    <a:pt x="353" y="1299"/>
                  </a:lnTo>
                  <a:lnTo>
                    <a:pt x="354" y="1281"/>
                  </a:lnTo>
                  <a:lnTo>
                    <a:pt x="356" y="1264"/>
                  </a:lnTo>
                  <a:lnTo>
                    <a:pt x="360" y="1246"/>
                  </a:lnTo>
                  <a:lnTo>
                    <a:pt x="365" y="1227"/>
                  </a:lnTo>
                  <a:lnTo>
                    <a:pt x="372" y="1209"/>
                  </a:lnTo>
                  <a:lnTo>
                    <a:pt x="380" y="1189"/>
                  </a:lnTo>
                  <a:lnTo>
                    <a:pt x="390" y="1170"/>
                  </a:lnTo>
                  <a:lnTo>
                    <a:pt x="401" y="1150"/>
                  </a:lnTo>
                  <a:lnTo>
                    <a:pt x="414" y="1130"/>
                  </a:lnTo>
                  <a:lnTo>
                    <a:pt x="428" y="1109"/>
                  </a:lnTo>
                  <a:lnTo>
                    <a:pt x="444" y="1088"/>
                  </a:lnTo>
                  <a:lnTo>
                    <a:pt x="452" y="1077"/>
                  </a:lnTo>
                  <a:lnTo>
                    <a:pt x="461" y="1066"/>
                  </a:lnTo>
                  <a:lnTo>
                    <a:pt x="470" y="1055"/>
                  </a:lnTo>
                  <a:lnTo>
                    <a:pt x="479" y="1044"/>
                  </a:lnTo>
                  <a:lnTo>
                    <a:pt x="499" y="1022"/>
                  </a:lnTo>
                  <a:lnTo>
                    <a:pt x="520" y="1000"/>
                  </a:lnTo>
                  <a:lnTo>
                    <a:pt x="542" y="977"/>
                  </a:lnTo>
                  <a:lnTo>
                    <a:pt x="551" y="978"/>
                  </a:lnTo>
                  <a:lnTo>
                    <a:pt x="573" y="977"/>
                  </a:lnTo>
                  <a:lnTo>
                    <a:pt x="585" y="976"/>
                  </a:lnTo>
                  <a:lnTo>
                    <a:pt x="596" y="974"/>
                  </a:lnTo>
                  <a:lnTo>
                    <a:pt x="608" y="972"/>
                  </a:lnTo>
                  <a:lnTo>
                    <a:pt x="619" y="970"/>
                  </a:lnTo>
                  <a:lnTo>
                    <a:pt x="643" y="963"/>
                  </a:lnTo>
                  <a:lnTo>
                    <a:pt x="654" y="959"/>
                  </a:lnTo>
                  <a:lnTo>
                    <a:pt x="666" y="954"/>
                  </a:lnTo>
                  <a:lnTo>
                    <a:pt x="678" y="949"/>
                  </a:lnTo>
                  <a:lnTo>
                    <a:pt x="690" y="944"/>
                  </a:lnTo>
                  <a:lnTo>
                    <a:pt x="702" y="937"/>
                  </a:lnTo>
                  <a:lnTo>
                    <a:pt x="714" y="931"/>
                  </a:lnTo>
                  <a:lnTo>
                    <a:pt x="726" y="924"/>
                  </a:lnTo>
                  <a:lnTo>
                    <a:pt x="738" y="916"/>
                  </a:lnTo>
                  <a:lnTo>
                    <a:pt x="762" y="900"/>
                  </a:lnTo>
                  <a:lnTo>
                    <a:pt x="786" y="881"/>
                  </a:lnTo>
                  <a:lnTo>
                    <a:pt x="799" y="871"/>
                  </a:lnTo>
                  <a:lnTo>
                    <a:pt x="811" y="861"/>
                  </a:lnTo>
                  <a:lnTo>
                    <a:pt x="836" y="839"/>
                  </a:lnTo>
                  <a:lnTo>
                    <a:pt x="861" y="814"/>
                  </a:lnTo>
                  <a:lnTo>
                    <a:pt x="886" y="788"/>
                  </a:lnTo>
                  <a:lnTo>
                    <a:pt x="899" y="774"/>
                  </a:lnTo>
                  <a:lnTo>
                    <a:pt x="912" y="760"/>
                  </a:lnTo>
                  <a:lnTo>
                    <a:pt x="925" y="745"/>
                  </a:lnTo>
                  <a:lnTo>
                    <a:pt x="938" y="729"/>
                  </a:lnTo>
                  <a:lnTo>
                    <a:pt x="929" y="821"/>
                  </a:lnTo>
                  <a:close/>
                  <a:moveTo>
                    <a:pt x="987" y="304"/>
                  </a:moveTo>
                  <a:lnTo>
                    <a:pt x="986" y="316"/>
                  </a:lnTo>
                  <a:lnTo>
                    <a:pt x="984" y="328"/>
                  </a:lnTo>
                  <a:lnTo>
                    <a:pt x="979" y="352"/>
                  </a:lnTo>
                  <a:lnTo>
                    <a:pt x="973" y="376"/>
                  </a:lnTo>
                  <a:lnTo>
                    <a:pt x="967" y="399"/>
                  </a:lnTo>
                  <a:lnTo>
                    <a:pt x="959" y="423"/>
                  </a:lnTo>
                  <a:lnTo>
                    <a:pt x="950" y="445"/>
                  </a:lnTo>
                  <a:lnTo>
                    <a:pt x="941" y="468"/>
                  </a:lnTo>
                  <a:lnTo>
                    <a:pt x="930" y="490"/>
                  </a:lnTo>
                  <a:lnTo>
                    <a:pt x="924" y="501"/>
                  </a:lnTo>
                  <a:lnTo>
                    <a:pt x="918" y="512"/>
                  </a:lnTo>
                  <a:lnTo>
                    <a:pt x="906" y="534"/>
                  </a:lnTo>
                  <a:lnTo>
                    <a:pt x="899" y="544"/>
                  </a:lnTo>
                  <a:lnTo>
                    <a:pt x="892" y="555"/>
                  </a:lnTo>
                  <a:lnTo>
                    <a:pt x="877" y="576"/>
                  </a:lnTo>
                  <a:lnTo>
                    <a:pt x="862" y="596"/>
                  </a:lnTo>
                  <a:lnTo>
                    <a:pt x="845" y="616"/>
                  </a:lnTo>
                  <a:lnTo>
                    <a:pt x="828" y="636"/>
                  </a:lnTo>
                  <a:lnTo>
                    <a:pt x="810" y="656"/>
                  </a:lnTo>
                  <a:lnTo>
                    <a:pt x="793" y="672"/>
                  </a:lnTo>
                  <a:lnTo>
                    <a:pt x="778" y="687"/>
                  </a:lnTo>
                  <a:lnTo>
                    <a:pt x="763" y="699"/>
                  </a:lnTo>
                  <a:lnTo>
                    <a:pt x="750" y="711"/>
                  </a:lnTo>
                  <a:lnTo>
                    <a:pt x="737" y="721"/>
                  </a:lnTo>
                  <a:lnTo>
                    <a:pt x="725" y="729"/>
                  </a:lnTo>
                  <a:lnTo>
                    <a:pt x="714" y="736"/>
                  </a:lnTo>
                  <a:lnTo>
                    <a:pt x="703" y="743"/>
                  </a:lnTo>
                  <a:lnTo>
                    <a:pt x="694" y="748"/>
                  </a:lnTo>
                  <a:lnTo>
                    <a:pt x="685" y="752"/>
                  </a:lnTo>
                  <a:lnTo>
                    <a:pt x="677" y="755"/>
                  </a:lnTo>
                  <a:lnTo>
                    <a:pt x="670" y="757"/>
                  </a:lnTo>
                  <a:lnTo>
                    <a:pt x="663" y="759"/>
                  </a:lnTo>
                  <a:lnTo>
                    <a:pt x="657" y="760"/>
                  </a:lnTo>
                  <a:lnTo>
                    <a:pt x="648" y="761"/>
                  </a:lnTo>
                  <a:lnTo>
                    <a:pt x="644" y="760"/>
                  </a:lnTo>
                  <a:lnTo>
                    <a:pt x="641" y="759"/>
                  </a:lnTo>
                  <a:lnTo>
                    <a:pt x="639" y="756"/>
                  </a:lnTo>
                  <a:lnTo>
                    <a:pt x="636" y="753"/>
                  </a:lnTo>
                  <a:lnTo>
                    <a:pt x="634" y="749"/>
                  </a:lnTo>
                  <a:lnTo>
                    <a:pt x="633" y="744"/>
                  </a:lnTo>
                  <a:lnTo>
                    <a:pt x="630" y="734"/>
                  </a:lnTo>
                  <a:lnTo>
                    <a:pt x="629" y="729"/>
                  </a:lnTo>
                  <a:lnTo>
                    <a:pt x="629" y="723"/>
                  </a:lnTo>
                  <a:lnTo>
                    <a:pt x="628" y="712"/>
                  </a:lnTo>
                  <a:lnTo>
                    <a:pt x="628" y="692"/>
                  </a:lnTo>
                  <a:lnTo>
                    <a:pt x="629" y="667"/>
                  </a:lnTo>
                  <a:lnTo>
                    <a:pt x="630" y="641"/>
                  </a:lnTo>
                  <a:lnTo>
                    <a:pt x="632" y="616"/>
                  </a:lnTo>
                  <a:lnTo>
                    <a:pt x="635" y="592"/>
                  </a:lnTo>
                  <a:lnTo>
                    <a:pt x="638" y="568"/>
                  </a:lnTo>
                  <a:lnTo>
                    <a:pt x="642" y="545"/>
                  </a:lnTo>
                  <a:lnTo>
                    <a:pt x="647" y="522"/>
                  </a:lnTo>
                  <a:lnTo>
                    <a:pt x="649" y="510"/>
                  </a:lnTo>
                  <a:lnTo>
                    <a:pt x="652" y="499"/>
                  </a:lnTo>
                  <a:lnTo>
                    <a:pt x="657" y="478"/>
                  </a:lnTo>
                  <a:lnTo>
                    <a:pt x="664" y="456"/>
                  </a:lnTo>
                  <a:lnTo>
                    <a:pt x="671" y="436"/>
                  </a:lnTo>
                  <a:lnTo>
                    <a:pt x="678" y="415"/>
                  </a:lnTo>
                  <a:lnTo>
                    <a:pt x="682" y="406"/>
                  </a:lnTo>
                  <a:lnTo>
                    <a:pt x="687" y="396"/>
                  </a:lnTo>
                  <a:lnTo>
                    <a:pt x="695" y="377"/>
                  </a:lnTo>
                  <a:lnTo>
                    <a:pt x="705" y="358"/>
                  </a:lnTo>
                  <a:lnTo>
                    <a:pt x="715" y="341"/>
                  </a:lnTo>
                  <a:lnTo>
                    <a:pt x="724" y="325"/>
                  </a:lnTo>
                  <a:lnTo>
                    <a:pt x="734" y="311"/>
                  </a:lnTo>
                  <a:lnTo>
                    <a:pt x="744" y="297"/>
                  </a:lnTo>
                  <a:lnTo>
                    <a:pt x="748" y="291"/>
                  </a:lnTo>
                  <a:lnTo>
                    <a:pt x="753" y="285"/>
                  </a:lnTo>
                  <a:lnTo>
                    <a:pt x="763" y="274"/>
                  </a:lnTo>
                  <a:lnTo>
                    <a:pt x="774" y="263"/>
                  </a:lnTo>
                  <a:lnTo>
                    <a:pt x="784" y="254"/>
                  </a:lnTo>
                  <a:lnTo>
                    <a:pt x="795" y="246"/>
                  </a:lnTo>
                  <a:lnTo>
                    <a:pt x="805" y="238"/>
                  </a:lnTo>
                  <a:lnTo>
                    <a:pt x="816" y="232"/>
                  </a:lnTo>
                  <a:lnTo>
                    <a:pt x="827" y="227"/>
                  </a:lnTo>
                  <a:lnTo>
                    <a:pt x="838" y="222"/>
                  </a:lnTo>
                  <a:lnTo>
                    <a:pt x="850" y="219"/>
                  </a:lnTo>
                  <a:lnTo>
                    <a:pt x="861" y="216"/>
                  </a:lnTo>
                  <a:lnTo>
                    <a:pt x="873" y="214"/>
                  </a:lnTo>
                  <a:lnTo>
                    <a:pt x="885" y="213"/>
                  </a:lnTo>
                  <a:lnTo>
                    <a:pt x="901" y="213"/>
                  </a:lnTo>
                  <a:lnTo>
                    <a:pt x="917" y="214"/>
                  </a:lnTo>
                  <a:lnTo>
                    <a:pt x="933" y="215"/>
                  </a:lnTo>
                  <a:lnTo>
                    <a:pt x="948" y="217"/>
                  </a:lnTo>
                  <a:lnTo>
                    <a:pt x="962" y="220"/>
                  </a:lnTo>
                  <a:lnTo>
                    <a:pt x="975" y="223"/>
                  </a:lnTo>
                  <a:lnTo>
                    <a:pt x="998" y="229"/>
                  </a:lnTo>
                  <a:lnTo>
                    <a:pt x="991" y="277"/>
                  </a:lnTo>
                  <a:lnTo>
                    <a:pt x="987" y="304"/>
                  </a:lnTo>
                  <a:close/>
                  <a:moveTo>
                    <a:pt x="3204" y="299"/>
                  </a:moveTo>
                  <a:lnTo>
                    <a:pt x="3200" y="325"/>
                  </a:lnTo>
                  <a:lnTo>
                    <a:pt x="3195" y="350"/>
                  </a:lnTo>
                  <a:lnTo>
                    <a:pt x="3192" y="362"/>
                  </a:lnTo>
                  <a:lnTo>
                    <a:pt x="3189" y="374"/>
                  </a:lnTo>
                  <a:lnTo>
                    <a:pt x="3182" y="399"/>
                  </a:lnTo>
                  <a:lnTo>
                    <a:pt x="3174" y="422"/>
                  </a:lnTo>
                  <a:lnTo>
                    <a:pt x="3165" y="446"/>
                  </a:lnTo>
                  <a:lnTo>
                    <a:pt x="3156" y="469"/>
                  </a:lnTo>
                  <a:lnTo>
                    <a:pt x="3145" y="491"/>
                  </a:lnTo>
                  <a:lnTo>
                    <a:pt x="3134" y="513"/>
                  </a:lnTo>
                  <a:lnTo>
                    <a:pt x="3122" y="535"/>
                  </a:lnTo>
                  <a:lnTo>
                    <a:pt x="3109" y="557"/>
                  </a:lnTo>
                  <a:lnTo>
                    <a:pt x="3095" y="577"/>
                  </a:lnTo>
                  <a:lnTo>
                    <a:pt x="3080" y="598"/>
                  </a:lnTo>
                  <a:lnTo>
                    <a:pt x="3072" y="608"/>
                  </a:lnTo>
                  <a:lnTo>
                    <a:pt x="3064" y="618"/>
                  </a:lnTo>
                  <a:lnTo>
                    <a:pt x="3056" y="628"/>
                  </a:lnTo>
                  <a:lnTo>
                    <a:pt x="3048" y="638"/>
                  </a:lnTo>
                  <a:lnTo>
                    <a:pt x="3031" y="657"/>
                  </a:lnTo>
                  <a:lnTo>
                    <a:pt x="3015" y="673"/>
                  </a:lnTo>
                  <a:lnTo>
                    <a:pt x="3000" y="688"/>
                  </a:lnTo>
                  <a:lnTo>
                    <a:pt x="2986" y="701"/>
                  </a:lnTo>
                  <a:lnTo>
                    <a:pt x="2972" y="712"/>
                  </a:lnTo>
                  <a:lnTo>
                    <a:pt x="2960" y="722"/>
                  </a:lnTo>
                  <a:lnTo>
                    <a:pt x="2948" y="731"/>
                  </a:lnTo>
                  <a:lnTo>
                    <a:pt x="2937" y="738"/>
                  </a:lnTo>
                  <a:lnTo>
                    <a:pt x="2927" y="744"/>
                  </a:lnTo>
                  <a:lnTo>
                    <a:pt x="2917" y="749"/>
                  </a:lnTo>
                  <a:lnTo>
                    <a:pt x="2909" y="754"/>
                  </a:lnTo>
                  <a:lnTo>
                    <a:pt x="2901" y="757"/>
                  </a:lnTo>
                  <a:lnTo>
                    <a:pt x="2893" y="759"/>
                  </a:lnTo>
                  <a:lnTo>
                    <a:pt x="2887" y="761"/>
                  </a:lnTo>
                  <a:lnTo>
                    <a:pt x="2881" y="762"/>
                  </a:lnTo>
                  <a:lnTo>
                    <a:pt x="2871" y="763"/>
                  </a:lnTo>
                  <a:lnTo>
                    <a:pt x="2868" y="762"/>
                  </a:lnTo>
                  <a:lnTo>
                    <a:pt x="2865" y="761"/>
                  </a:lnTo>
                  <a:lnTo>
                    <a:pt x="2862" y="759"/>
                  </a:lnTo>
                  <a:lnTo>
                    <a:pt x="2860" y="756"/>
                  </a:lnTo>
                  <a:lnTo>
                    <a:pt x="2858" y="752"/>
                  </a:lnTo>
                  <a:lnTo>
                    <a:pt x="2856" y="748"/>
                  </a:lnTo>
                  <a:lnTo>
                    <a:pt x="2853" y="738"/>
                  </a:lnTo>
                  <a:lnTo>
                    <a:pt x="2852" y="733"/>
                  </a:lnTo>
                  <a:lnTo>
                    <a:pt x="2852" y="727"/>
                  </a:lnTo>
                  <a:lnTo>
                    <a:pt x="2850" y="716"/>
                  </a:lnTo>
                  <a:lnTo>
                    <a:pt x="2850" y="695"/>
                  </a:lnTo>
                  <a:lnTo>
                    <a:pt x="2850" y="669"/>
                  </a:lnTo>
                  <a:lnTo>
                    <a:pt x="2851" y="643"/>
                  </a:lnTo>
                  <a:lnTo>
                    <a:pt x="2853" y="618"/>
                  </a:lnTo>
                  <a:lnTo>
                    <a:pt x="2855" y="593"/>
                  </a:lnTo>
                  <a:lnTo>
                    <a:pt x="2858" y="569"/>
                  </a:lnTo>
                  <a:lnTo>
                    <a:pt x="2862" y="546"/>
                  </a:lnTo>
                  <a:lnTo>
                    <a:pt x="2866" y="523"/>
                  </a:lnTo>
                  <a:lnTo>
                    <a:pt x="2871" y="501"/>
                  </a:lnTo>
                  <a:lnTo>
                    <a:pt x="2876" y="479"/>
                  </a:lnTo>
                  <a:lnTo>
                    <a:pt x="2882" y="457"/>
                  </a:lnTo>
                  <a:lnTo>
                    <a:pt x="2889" y="437"/>
                  </a:lnTo>
                  <a:lnTo>
                    <a:pt x="2896" y="416"/>
                  </a:lnTo>
                  <a:lnTo>
                    <a:pt x="2903" y="397"/>
                  </a:lnTo>
                  <a:lnTo>
                    <a:pt x="2911" y="378"/>
                  </a:lnTo>
                  <a:lnTo>
                    <a:pt x="2920" y="359"/>
                  </a:lnTo>
                  <a:lnTo>
                    <a:pt x="2929" y="341"/>
                  </a:lnTo>
                  <a:lnTo>
                    <a:pt x="2938" y="325"/>
                  </a:lnTo>
                  <a:lnTo>
                    <a:pt x="2942" y="318"/>
                  </a:lnTo>
                  <a:lnTo>
                    <a:pt x="2947" y="311"/>
                  </a:lnTo>
                  <a:lnTo>
                    <a:pt x="2955" y="298"/>
                  </a:lnTo>
                  <a:lnTo>
                    <a:pt x="2965" y="286"/>
                  </a:lnTo>
                  <a:lnTo>
                    <a:pt x="2974" y="276"/>
                  </a:lnTo>
                  <a:lnTo>
                    <a:pt x="2983" y="266"/>
                  </a:lnTo>
                  <a:lnTo>
                    <a:pt x="2993" y="257"/>
                  </a:lnTo>
                  <a:lnTo>
                    <a:pt x="3002" y="249"/>
                  </a:lnTo>
                  <a:lnTo>
                    <a:pt x="3012" y="241"/>
                  </a:lnTo>
                  <a:lnTo>
                    <a:pt x="3022" y="235"/>
                  </a:lnTo>
                  <a:lnTo>
                    <a:pt x="3032" y="230"/>
                  </a:lnTo>
                  <a:lnTo>
                    <a:pt x="3042" y="225"/>
                  </a:lnTo>
                  <a:lnTo>
                    <a:pt x="3052" y="221"/>
                  </a:lnTo>
                  <a:lnTo>
                    <a:pt x="3062" y="217"/>
                  </a:lnTo>
                  <a:lnTo>
                    <a:pt x="3071" y="214"/>
                  </a:lnTo>
                  <a:lnTo>
                    <a:pt x="3081" y="212"/>
                  </a:lnTo>
                  <a:lnTo>
                    <a:pt x="3101" y="209"/>
                  </a:lnTo>
                  <a:lnTo>
                    <a:pt x="3110" y="208"/>
                  </a:lnTo>
                  <a:lnTo>
                    <a:pt x="3120" y="208"/>
                  </a:lnTo>
                  <a:lnTo>
                    <a:pt x="3129" y="208"/>
                  </a:lnTo>
                  <a:lnTo>
                    <a:pt x="3139" y="208"/>
                  </a:lnTo>
                  <a:lnTo>
                    <a:pt x="3156" y="209"/>
                  </a:lnTo>
                  <a:lnTo>
                    <a:pt x="3165" y="210"/>
                  </a:lnTo>
                  <a:lnTo>
                    <a:pt x="3174" y="212"/>
                  </a:lnTo>
                  <a:lnTo>
                    <a:pt x="3190" y="214"/>
                  </a:lnTo>
                  <a:lnTo>
                    <a:pt x="3219" y="219"/>
                  </a:lnTo>
                  <a:lnTo>
                    <a:pt x="3217" y="230"/>
                  </a:lnTo>
                  <a:lnTo>
                    <a:pt x="3215" y="242"/>
                  </a:lnTo>
                  <a:lnTo>
                    <a:pt x="3211" y="268"/>
                  </a:lnTo>
                  <a:lnTo>
                    <a:pt x="3204" y="29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5F7549CB-A6B3-40A3-89A6-C337E48448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463" y="2379977"/>
              <a:ext cx="173166" cy="244721"/>
            </a:xfrm>
            <a:custGeom>
              <a:avLst/>
              <a:gdLst>
                <a:gd name="T0" fmla="*/ 698 w 901"/>
                <a:gd name="T1" fmla="*/ 227 h 1274"/>
                <a:gd name="T2" fmla="*/ 760 w 901"/>
                <a:gd name="T3" fmla="*/ 277 h 1274"/>
                <a:gd name="T4" fmla="*/ 813 w 901"/>
                <a:gd name="T5" fmla="*/ 288 h 1274"/>
                <a:gd name="T6" fmla="*/ 855 w 901"/>
                <a:gd name="T7" fmla="*/ 274 h 1274"/>
                <a:gd name="T8" fmla="*/ 887 w 901"/>
                <a:gd name="T9" fmla="*/ 234 h 1274"/>
                <a:gd name="T10" fmla="*/ 900 w 901"/>
                <a:gd name="T11" fmla="*/ 154 h 1274"/>
                <a:gd name="T12" fmla="*/ 882 w 901"/>
                <a:gd name="T13" fmla="*/ 97 h 1274"/>
                <a:gd name="T14" fmla="*/ 837 w 901"/>
                <a:gd name="T15" fmla="*/ 54 h 1274"/>
                <a:gd name="T16" fmla="*/ 730 w 901"/>
                <a:gd name="T17" fmla="*/ 14 h 1274"/>
                <a:gd name="T18" fmla="*/ 601 w 901"/>
                <a:gd name="T19" fmla="*/ 0 h 1274"/>
                <a:gd name="T20" fmla="*/ 475 w 901"/>
                <a:gd name="T21" fmla="*/ 15 h 1274"/>
                <a:gd name="T22" fmla="*/ 367 w 901"/>
                <a:gd name="T23" fmla="*/ 57 h 1274"/>
                <a:gd name="T24" fmla="*/ 296 w 901"/>
                <a:gd name="T25" fmla="*/ 107 h 1274"/>
                <a:gd name="T26" fmla="*/ 238 w 901"/>
                <a:gd name="T27" fmla="*/ 171 h 1274"/>
                <a:gd name="T28" fmla="*/ 196 w 901"/>
                <a:gd name="T29" fmla="*/ 251 h 1274"/>
                <a:gd name="T30" fmla="*/ 179 w 901"/>
                <a:gd name="T31" fmla="*/ 341 h 1274"/>
                <a:gd name="T32" fmla="*/ 188 w 901"/>
                <a:gd name="T33" fmla="*/ 433 h 1274"/>
                <a:gd name="T34" fmla="*/ 216 w 901"/>
                <a:gd name="T35" fmla="*/ 499 h 1274"/>
                <a:gd name="T36" fmla="*/ 272 w 901"/>
                <a:gd name="T37" fmla="*/ 569 h 1274"/>
                <a:gd name="T38" fmla="*/ 398 w 901"/>
                <a:gd name="T39" fmla="*/ 682 h 1274"/>
                <a:gd name="T40" fmla="*/ 573 w 901"/>
                <a:gd name="T41" fmla="*/ 835 h 1274"/>
                <a:gd name="T42" fmla="*/ 616 w 901"/>
                <a:gd name="T43" fmla="*/ 905 h 1274"/>
                <a:gd name="T44" fmla="*/ 628 w 901"/>
                <a:gd name="T45" fmla="*/ 985 h 1274"/>
                <a:gd name="T46" fmla="*/ 616 w 901"/>
                <a:gd name="T47" fmla="*/ 1029 h 1274"/>
                <a:gd name="T48" fmla="*/ 578 w 901"/>
                <a:gd name="T49" fmla="*/ 1078 h 1274"/>
                <a:gd name="T50" fmla="*/ 517 w 901"/>
                <a:gd name="T51" fmla="*/ 1113 h 1274"/>
                <a:gd name="T52" fmla="*/ 449 w 901"/>
                <a:gd name="T53" fmla="*/ 1124 h 1274"/>
                <a:gd name="T54" fmla="*/ 371 w 901"/>
                <a:gd name="T55" fmla="*/ 1112 h 1274"/>
                <a:gd name="T56" fmla="*/ 314 w 901"/>
                <a:gd name="T57" fmla="*/ 1079 h 1274"/>
                <a:gd name="T58" fmla="*/ 259 w 901"/>
                <a:gd name="T59" fmla="*/ 1007 h 1274"/>
                <a:gd name="T60" fmla="*/ 219 w 901"/>
                <a:gd name="T61" fmla="*/ 929 h 1274"/>
                <a:gd name="T62" fmla="*/ 184 w 901"/>
                <a:gd name="T63" fmla="*/ 901 h 1274"/>
                <a:gd name="T64" fmla="*/ 131 w 901"/>
                <a:gd name="T65" fmla="*/ 888 h 1274"/>
                <a:gd name="T66" fmla="*/ 83 w 901"/>
                <a:gd name="T67" fmla="*/ 898 h 1274"/>
                <a:gd name="T68" fmla="*/ 37 w 901"/>
                <a:gd name="T69" fmla="*/ 929 h 1274"/>
                <a:gd name="T70" fmla="*/ 6 w 901"/>
                <a:gd name="T71" fmla="*/ 978 h 1274"/>
                <a:gd name="T72" fmla="*/ 3 w 901"/>
                <a:gd name="T73" fmla="*/ 1044 h 1274"/>
                <a:gd name="T74" fmla="*/ 35 w 901"/>
                <a:gd name="T75" fmla="*/ 1119 h 1274"/>
                <a:gd name="T76" fmla="*/ 90 w 901"/>
                <a:gd name="T77" fmla="*/ 1184 h 1274"/>
                <a:gd name="T78" fmla="*/ 176 w 901"/>
                <a:gd name="T79" fmla="*/ 1240 h 1274"/>
                <a:gd name="T80" fmla="*/ 271 w 901"/>
                <a:gd name="T81" fmla="*/ 1268 h 1274"/>
                <a:gd name="T82" fmla="*/ 400 w 901"/>
                <a:gd name="T83" fmla="*/ 1273 h 1274"/>
                <a:gd name="T84" fmla="*/ 539 w 901"/>
                <a:gd name="T85" fmla="*/ 1247 h 1274"/>
                <a:gd name="T86" fmla="*/ 678 w 901"/>
                <a:gd name="T87" fmla="*/ 1178 h 1274"/>
                <a:gd name="T88" fmla="*/ 772 w 901"/>
                <a:gd name="T89" fmla="*/ 1087 h 1274"/>
                <a:gd name="T90" fmla="*/ 817 w 901"/>
                <a:gd name="T91" fmla="*/ 1008 h 1274"/>
                <a:gd name="T92" fmla="*/ 839 w 901"/>
                <a:gd name="T93" fmla="*/ 920 h 1274"/>
                <a:gd name="T94" fmla="*/ 835 w 901"/>
                <a:gd name="T95" fmla="*/ 819 h 1274"/>
                <a:gd name="T96" fmla="*/ 808 w 901"/>
                <a:gd name="T97" fmla="*/ 743 h 1274"/>
                <a:gd name="T98" fmla="*/ 760 w 901"/>
                <a:gd name="T99" fmla="*/ 670 h 1274"/>
                <a:gd name="T100" fmla="*/ 670 w 901"/>
                <a:gd name="T101" fmla="*/ 582 h 1274"/>
                <a:gd name="T102" fmla="*/ 425 w 901"/>
                <a:gd name="T103" fmla="*/ 369 h 1274"/>
                <a:gd name="T104" fmla="*/ 389 w 901"/>
                <a:gd name="T105" fmla="*/ 314 h 1274"/>
                <a:gd name="T106" fmla="*/ 382 w 901"/>
                <a:gd name="T107" fmla="*/ 249 h 1274"/>
                <a:gd name="T108" fmla="*/ 407 w 901"/>
                <a:gd name="T109" fmla="*/ 198 h 1274"/>
                <a:gd name="T110" fmla="*/ 456 w 901"/>
                <a:gd name="T111" fmla="*/ 157 h 1274"/>
                <a:gd name="T112" fmla="*/ 520 w 901"/>
                <a:gd name="T113" fmla="*/ 139 h 1274"/>
                <a:gd name="T114" fmla="*/ 597 w 901"/>
                <a:gd name="T115" fmla="*/ 152 h 127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901" h="1274">
                  <a:moveTo>
                    <a:pt x="654" y="183"/>
                  </a:moveTo>
                  <a:lnTo>
                    <a:pt x="660" y="188"/>
                  </a:lnTo>
                  <a:lnTo>
                    <a:pt x="665" y="192"/>
                  </a:lnTo>
                  <a:lnTo>
                    <a:pt x="671" y="198"/>
                  </a:lnTo>
                  <a:lnTo>
                    <a:pt x="676" y="203"/>
                  </a:lnTo>
                  <a:lnTo>
                    <a:pt x="687" y="215"/>
                  </a:lnTo>
                  <a:lnTo>
                    <a:pt x="698" y="227"/>
                  </a:lnTo>
                  <a:lnTo>
                    <a:pt x="709" y="239"/>
                  </a:lnTo>
                  <a:lnTo>
                    <a:pt x="720" y="251"/>
                  </a:lnTo>
                  <a:lnTo>
                    <a:pt x="728" y="256"/>
                  </a:lnTo>
                  <a:lnTo>
                    <a:pt x="734" y="261"/>
                  </a:lnTo>
                  <a:lnTo>
                    <a:pt x="741" y="266"/>
                  </a:lnTo>
                  <a:lnTo>
                    <a:pt x="748" y="271"/>
                  </a:lnTo>
                  <a:lnTo>
                    <a:pt x="760" y="277"/>
                  </a:lnTo>
                  <a:lnTo>
                    <a:pt x="771" y="282"/>
                  </a:lnTo>
                  <a:lnTo>
                    <a:pt x="777" y="284"/>
                  </a:lnTo>
                  <a:lnTo>
                    <a:pt x="782" y="285"/>
                  </a:lnTo>
                  <a:lnTo>
                    <a:pt x="787" y="286"/>
                  </a:lnTo>
                  <a:lnTo>
                    <a:pt x="793" y="287"/>
                  </a:lnTo>
                  <a:lnTo>
                    <a:pt x="803" y="288"/>
                  </a:lnTo>
                  <a:lnTo>
                    <a:pt x="813" y="288"/>
                  </a:lnTo>
                  <a:lnTo>
                    <a:pt x="822" y="287"/>
                  </a:lnTo>
                  <a:lnTo>
                    <a:pt x="831" y="285"/>
                  </a:lnTo>
                  <a:lnTo>
                    <a:pt x="835" y="284"/>
                  </a:lnTo>
                  <a:lnTo>
                    <a:pt x="840" y="282"/>
                  </a:lnTo>
                  <a:lnTo>
                    <a:pt x="844" y="280"/>
                  </a:lnTo>
                  <a:lnTo>
                    <a:pt x="848" y="278"/>
                  </a:lnTo>
                  <a:lnTo>
                    <a:pt x="855" y="274"/>
                  </a:lnTo>
                  <a:lnTo>
                    <a:pt x="858" y="272"/>
                  </a:lnTo>
                  <a:lnTo>
                    <a:pt x="862" y="269"/>
                  </a:lnTo>
                  <a:lnTo>
                    <a:pt x="868" y="263"/>
                  </a:lnTo>
                  <a:lnTo>
                    <a:pt x="874" y="257"/>
                  </a:lnTo>
                  <a:lnTo>
                    <a:pt x="879" y="251"/>
                  </a:lnTo>
                  <a:lnTo>
                    <a:pt x="883" y="244"/>
                  </a:lnTo>
                  <a:lnTo>
                    <a:pt x="887" y="234"/>
                  </a:lnTo>
                  <a:lnTo>
                    <a:pt x="892" y="224"/>
                  </a:lnTo>
                  <a:lnTo>
                    <a:pt x="895" y="213"/>
                  </a:lnTo>
                  <a:lnTo>
                    <a:pt x="898" y="202"/>
                  </a:lnTo>
                  <a:lnTo>
                    <a:pt x="900" y="190"/>
                  </a:lnTo>
                  <a:lnTo>
                    <a:pt x="901" y="179"/>
                  </a:lnTo>
                  <a:lnTo>
                    <a:pt x="901" y="167"/>
                  </a:lnTo>
                  <a:lnTo>
                    <a:pt x="900" y="154"/>
                  </a:lnTo>
                  <a:lnTo>
                    <a:pt x="899" y="142"/>
                  </a:lnTo>
                  <a:lnTo>
                    <a:pt x="896" y="130"/>
                  </a:lnTo>
                  <a:lnTo>
                    <a:pt x="892" y="119"/>
                  </a:lnTo>
                  <a:lnTo>
                    <a:pt x="890" y="113"/>
                  </a:lnTo>
                  <a:lnTo>
                    <a:pt x="888" y="108"/>
                  </a:lnTo>
                  <a:lnTo>
                    <a:pt x="885" y="103"/>
                  </a:lnTo>
                  <a:lnTo>
                    <a:pt x="882" y="97"/>
                  </a:lnTo>
                  <a:lnTo>
                    <a:pt x="879" y="92"/>
                  </a:lnTo>
                  <a:lnTo>
                    <a:pt x="876" y="87"/>
                  </a:lnTo>
                  <a:lnTo>
                    <a:pt x="868" y="78"/>
                  </a:lnTo>
                  <a:lnTo>
                    <a:pt x="863" y="73"/>
                  </a:lnTo>
                  <a:lnTo>
                    <a:pt x="859" y="69"/>
                  </a:lnTo>
                  <a:lnTo>
                    <a:pt x="848" y="61"/>
                  </a:lnTo>
                  <a:lnTo>
                    <a:pt x="837" y="54"/>
                  </a:lnTo>
                  <a:lnTo>
                    <a:pt x="824" y="47"/>
                  </a:lnTo>
                  <a:lnTo>
                    <a:pt x="811" y="40"/>
                  </a:lnTo>
                  <a:lnTo>
                    <a:pt x="796" y="34"/>
                  </a:lnTo>
                  <a:lnTo>
                    <a:pt x="780" y="29"/>
                  </a:lnTo>
                  <a:lnTo>
                    <a:pt x="764" y="23"/>
                  </a:lnTo>
                  <a:lnTo>
                    <a:pt x="747" y="19"/>
                  </a:lnTo>
                  <a:lnTo>
                    <a:pt x="730" y="14"/>
                  </a:lnTo>
                  <a:lnTo>
                    <a:pt x="711" y="11"/>
                  </a:lnTo>
                  <a:lnTo>
                    <a:pt x="693" y="7"/>
                  </a:lnTo>
                  <a:lnTo>
                    <a:pt x="674" y="5"/>
                  </a:lnTo>
                  <a:lnTo>
                    <a:pt x="656" y="3"/>
                  </a:lnTo>
                  <a:lnTo>
                    <a:pt x="638" y="1"/>
                  </a:lnTo>
                  <a:lnTo>
                    <a:pt x="619" y="0"/>
                  </a:lnTo>
                  <a:lnTo>
                    <a:pt x="601" y="0"/>
                  </a:lnTo>
                  <a:lnTo>
                    <a:pt x="579" y="0"/>
                  </a:lnTo>
                  <a:lnTo>
                    <a:pt x="557" y="2"/>
                  </a:lnTo>
                  <a:lnTo>
                    <a:pt x="536" y="4"/>
                  </a:lnTo>
                  <a:lnTo>
                    <a:pt x="515" y="6"/>
                  </a:lnTo>
                  <a:lnTo>
                    <a:pt x="495" y="10"/>
                  </a:lnTo>
                  <a:lnTo>
                    <a:pt x="485" y="12"/>
                  </a:lnTo>
                  <a:lnTo>
                    <a:pt x="475" y="15"/>
                  </a:lnTo>
                  <a:lnTo>
                    <a:pt x="466" y="17"/>
                  </a:lnTo>
                  <a:lnTo>
                    <a:pt x="456" y="20"/>
                  </a:lnTo>
                  <a:lnTo>
                    <a:pt x="437" y="26"/>
                  </a:lnTo>
                  <a:lnTo>
                    <a:pt x="419" y="33"/>
                  </a:lnTo>
                  <a:lnTo>
                    <a:pt x="401" y="40"/>
                  </a:lnTo>
                  <a:lnTo>
                    <a:pt x="384" y="48"/>
                  </a:lnTo>
                  <a:lnTo>
                    <a:pt x="367" y="57"/>
                  </a:lnTo>
                  <a:lnTo>
                    <a:pt x="350" y="67"/>
                  </a:lnTo>
                  <a:lnTo>
                    <a:pt x="342" y="72"/>
                  </a:lnTo>
                  <a:lnTo>
                    <a:pt x="334" y="78"/>
                  </a:lnTo>
                  <a:lnTo>
                    <a:pt x="319" y="89"/>
                  </a:lnTo>
                  <a:lnTo>
                    <a:pt x="311" y="95"/>
                  </a:lnTo>
                  <a:lnTo>
                    <a:pt x="303" y="101"/>
                  </a:lnTo>
                  <a:lnTo>
                    <a:pt x="296" y="107"/>
                  </a:lnTo>
                  <a:lnTo>
                    <a:pt x="288" y="114"/>
                  </a:lnTo>
                  <a:lnTo>
                    <a:pt x="281" y="120"/>
                  </a:lnTo>
                  <a:lnTo>
                    <a:pt x="274" y="127"/>
                  </a:lnTo>
                  <a:lnTo>
                    <a:pt x="261" y="141"/>
                  </a:lnTo>
                  <a:lnTo>
                    <a:pt x="249" y="155"/>
                  </a:lnTo>
                  <a:lnTo>
                    <a:pt x="243" y="163"/>
                  </a:lnTo>
                  <a:lnTo>
                    <a:pt x="238" y="171"/>
                  </a:lnTo>
                  <a:lnTo>
                    <a:pt x="227" y="186"/>
                  </a:lnTo>
                  <a:lnTo>
                    <a:pt x="218" y="202"/>
                  </a:lnTo>
                  <a:lnTo>
                    <a:pt x="214" y="210"/>
                  </a:lnTo>
                  <a:lnTo>
                    <a:pt x="210" y="218"/>
                  </a:lnTo>
                  <a:lnTo>
                    <a:pt x="203" y="234"/>
                  </a:lnTo>
                  <a:lnTo>
                    <a:pt x="199" y="242"/>
                  </a:lnTo>
                  <a:lnTo>
                    <a:pt x="196" y="251"/>
                  </a:lnTo>
                  <a:lnTo>
                    <a:pt x="191" y="268"/>
                  </a:lnTo>
                  <a:lnTo>
                    <a:pt x="188" y="277"/>
                  </a:lnTo>
                  <a:lnTo>
                    <a:pt x="186" y="286"/>
                  </a:lnTo>
                  <a:lnTo>
                    <a:pt x="183" y="304"/>
                  </a:lnTo>
                  <a:lnTo>
                    <a:pt x="180" y="323"/>
                  </a:lnTo>
                  <a:lnTo>
                    <a:pt x="180" y="332"/>
                  </a:lnTo>
                  <a:lnTo>
                    <a:pt x="179" y="341"/>
                  </a:lnTo>
                  <a:lnTo>
                    <a:pt x="178" y="361"/>
                  </a:lnTo>
                  <a:lnTo>
                    <a:pt x="179" y="371"/>
                  </a:lnTo>
                  <a:lnTo>
                    <a:pt x="179" y="382"/>
                  </a:lnTo>
                  <a:lnTo>
                    <a:pt x="180" y="392"/>
                  </a:lnTo>
                  <a:lnTo>
                    <a:pt x="182" y="403"/>
                  </a:lnTo>
                  <a:lnTo>
                    <a:pt x="185" y="423"/>
                  </a:lnTo>
                  <a:lnTo>
                    <a:pt x="188" y="433"/>
                  </a:lnTo>
                  <a:lnTo>
                    <a:pt x="191" y="443"/>
                  </a:lnTo>
                  <a:lnTo>
                    <a:pt x="194" y="452"/>
                  </a:lnTo>
                  <a:lnTo>
                    <a:pt x="198" y="462"/>
                  </a:lnTo>
                  <a:lnTo>
                    <a:pt x="202" y="471"/>
                  </a:lnTo>
                  <a:lnTo>
                    <a:pt x="206" y="481"/>
                  </a:lnTo>
                  <a:lnTo>
                    <a:pt x="211" y="490"/>
                  </a:lnTo>
                  <a:lnTo>
                    <a:pt x="216" y="499"/>
                  </a:lnTo>
                  <a:lnTo>
                    <a:pt x="222" y="507"/>
                  </a:lnTo>
                  <a:lnTo>
                    <a:pt x="227" y="516"/>
                  </a:lnTo>
                  <a:lnTo>
                    <a:pt x="233" y="524"/>
                  </a:lnTo>
                  <a:lnTo>
                    <a:pt x="240" y="532"/>
                  </a:lnTo>
                  <a:lnTo>
                    <a:pt x="247" y="541"/>
                  </a:lnTo>
                  <a:lnTo>
                    <a:pt x="255" y="550"/>
                  </a:lnTo>
                  <a:lnTo>
                    <a:pt x="272" y="569"/>
                  </a:lnTo>
                  <a:lnTo>
                    <a:pt x="282" y="579"/>
                  </a:lnTo>
                  <a:lnTo>
                    <a:pt x="292" y="589"/>
                  </a:lnTo>
                  <a:lnTo>
                    <a:pt x="303" y="599"/>
                  </a:lnTo>
                  <a:lnTo>
                    <a:pt x="315" y="610"/>
                  </a:lnTo>
                  <a:lnTo>
                    <a:pt x="340" y="633"/>
                  </a:lnTo>
                  <a:lnTo>
                    <a:pt x="368" y="657"/>
                  </a:lnTo>
                  <a:lnTo>
                    <a:pt x="398" y="682"/>
                  </a:lnTo>
                  <a:lnTo>
                    <a:pt x="499" y="763"/>
                  </a:lnTo>
                  <a:lnTo>
                    <a:pt x="515" y="777"/>
                  </a:lnTo>
                  <a:lnTo>
                    <a:pt x="529" y="790"/>
                  </a:lnTo>
                  <a:lnTo>
                    <a:pt x="543" y="803"/>
                  </a:lnTo>
                  <a:lnTo>
                    <a:pt x="556" y="816"/>
                  </a:lnTo>
                  <a:lnTo>
                    <a:pt x="567" y="829"/>
                  </a:lnTo>
                  <a:lnTo>
                    <a:pt x="573" y="835"/>
                  </a:lnTo>
                  <a:lnTo>
                    <a:pt x="578" y="841"/>
                  </a:lnTo>
                  <a:lnTo>
                    <a:pt x="588" y="854"/>
                  </a:lnTo>
                  <a:lnTo>
                    <a:pt x="596" y="867"/>
                  </a:lnTo>
                  <a:lnTo>
                    <a:pt x="604" y="880"/>
                  </a:lnTo>
                  <a:lnTo>
                    <a:pt x="610" y="893"/>
                  </a:lnTo>
                  <a:lnTo>
                    <a:pt x="613" y="899"/>
                  </a:lnTo>
                  <a:lnTo>
                    <a:pt x="616" y="905"/>
                  </a:lnTo>
                  <a:lnTo>
                    <a:pt x="621" y="918"/>
                  </a:lnTo>
                  <a:lnTo>
                    <a:pt x="624" y="931"/>
                  </a:lnTo>
                  <a:lnTo>
                    <a:pt x="627" y="943"/>
                  </a:lnTo>
                  <a:lnTo>
                    <a:pt x="628" y="956"/>
                  </a:lnTo>
                  <a:lnTo>
                    <a:pt x="629" y="968"/>
                  </a:lnTo>
                  <a:lnTo>
                    <a:pt x="628" y="976"/>
                  </a:lnTo>
                  <a:lnTo>
                    <a:pt x="628" y="985"/>
                  </a:lnTo>
                  <a:lnTo>
                    <a:pt x="627" y="993"/>
                  </a:lnTo>
                  <a:lnTo>
                    <a:pt x="626" y="1000"/>
                  </a:lnTo>
                  <a:lnTo>
                    <a:pt x="624" y="1008"/>
                  </a:lnTo>
                  <a:lnTo>
                    <a:pt x="623" y="1012"/>
                  </a:lnTo>
                  <a:lnTo>
                    <a:pt x="622" y="1015"/>
                  </a:lnTo>
                  <a:lnTo>
                    <a:pt x="619" y="1022"/>
                  </a:lnTo>
                  <a:lnTo>
                    <a:pt x="616" y="1029"/>
                  </a:lnTo>
                  <a:lnTo>
                    <a:pt x="613" y="1036"/>
                  </a:lnTo>
                  <a:lnTo>
                    <a:pt x="609" y="1043"/>
                  </a:lnTo>
                  <a:lnTo>
                    <a:pt x="605" y="1049"/>
                  </a:lnTo>
                  <a:lnTo>
                    <a:pt x="601" y="1055"/>
                  </a:lnTo>
                  <a:lnTo>
                    <a:pt x="596" y="1061"/>
                  </a:lnTo>
                  <a:lnTo>
                    <a:pt x="590" y="1067"/>
                  </a:lnTo>
                  <a:lnTo>
                    <a:pt x="578" y="1078"/>
                  </a:lnTo>
                  <a:lnTo>
                    <a:pt x="572" y="1084"/>
                  </a:lnTo>
                  <a:lnTo>
                    <a:pt x="565" y="1089"/>
                  </a:lnTo>
                  <a:lnTo>
                    <a:pt x="550" y="1098"/>
                  </a:lnTo>
                  <a:lnTo>
                    <a:pt x="542" y="1103"/>
                  </a:lnTo>
                  <a:lnTo>
                    <a:pt x="534" y="1106"/>
                  </a:lnTo>
                  <a:lnTo>
                    <a:pt x="525" y="1110"/>
                  </a:lnTo>
                  <a:lnTo>
                    <a:pt x="517" y="1113"/>
                  </a:lnTo>
                  <a:lnTo>
                    <a:pt x="508" y="1115"/>
                  </a:lnTo>
                  <a:lnTo>
                    <a:pt x="499" y="1118"/>
                  </a:lnTo>
                  <a:lnTo>
                    <a:pt x="489" y="1120"/>
                  </a:lnTo>
                  <a:lnTo>
                    <a:pt x="480" y="1121"/>
                  </a:lnTo>
                  <a:lnTo>
                    <a:pt x="470" y="1122"/>
                  </a:lnTo>
                  <a:lnTo>
                    <a:pt x="459" y="1123"/>
                  </a:lnTo>
                  <a:lnTo>
                    <a:pt x="449" y="1124"/>
                  </a:lnTo>
                  <a:lnTo>
                    <a:pt x="438" y="1124"/>
                  </a:lnTo>
                  <a:lnTo>
                    <a:pt x="426" y="1123"/>
                  </a:lnTo>
                  <a:lnTo>
                    <a:pt x="414" y="1122"/>
                  </a:lnTo>
                  <a:lnTo>
                    <a:pt x="402" y="1120"/>
                  </a:lnTo>
                  <a:lnTo>
                    <a:pt x="391" y="1118"/>
                  </a:lnTo>
                  <a:lnTo>
                    <a:pt x="381" y="1115"/>
                  </a:lnTo>
                  <a:lnTo>
                    <a:pt x="371" y="1112"/>
                  </a:lnTo>
                  <a:lnTo>
                    <a:pt x="361" y="1109"/>
                  </a:lnTo>
                  <a:lnTo>
                    <a:pt x="352" y="1104"/>
                  </a:lnTo>
                  <a:lnTo>
                    <a:pt x="344" y="1100"/>
                  </a:lnTo>
                  <a:lnTo>
                    <a:pt x="336" y="1095"/>
                  </a:lnTo>
                  <a:lnTo>
                    <a:pt x="328" y="1090"/>
                  </a:lnTo>
                  <a:lnTo>
                    <a:pt x="321" y="1085"/>
                  </a:lnTo>
                  <a:lnTo>
                    <a:pt x="314" y="1079"/>
                  </a:lnTo>
                  <a:lnTo>
                    <a:pt x="308" y="1073"/>
                  </a:lnTo>
                  <a:lnTo>
                    <a:pt x="301" y="1067"/>
                  </a:lnTo>
                  <a:lnTo>
                    <a:pt x="296" y="1061"/>
                  </a:lnTo>
                  <a:lnTo>
                    <a:pt x="285" y="1048"/>
                  </a:lnTo>
                  <a:lnTo>
                    <a:pt x="275" y="1034"/>
                  </a:lnTo>
                  <a:lnTo>
                    <a:pt x="267" y="1021"/>
                  </a:lnTo>
                  <a:lnTo>
                    <a:pt x="259" y="1007"/>
                  </a:lnTo>
                  <a:lnTo>
                    <a:pt x="253" y="994"/>
                  </a:lnTo>
                  <a:lnTo>
                    <a:pt x="247" y="981"/>
                  </a:lnTo>
                  <a:lnTo>
                    <a:pt x="236" y="958"/>
                  </a:lnTo>
                  <a:lnTo>
                    <a:pt x="232" y="950"/>
                  </a:lnTo>
                  <a:lnTo>
                    <a:pt x="228" y="943"/>
                  </a:lnTo>
                  <a:lnTo>
                    <a:pt x="223" y="936"/>
                  </a:lnTo>
                  <a:lnTo>
                    <a:pt x="219" y="929"/>
                  </a:lnTo>
                  <a:lnTo>
                    <a:pt x="213" y="923"/>
                  </a:lnTo>
                  <a:lnTo>
                    <a:pt x="211" y="921"/>
                  </a:lnTo>
                  <a:lnTo>
                    <a:pt x="208" y="918"/>
                  </a:lnTo>
                  <a:lnTo>
                    <a:pt x="202" y="913"/>
                  </a:lnTo>
                  <a:lnTo>
                    <a:pt x="197" y="909"/>
                  </a:lnTo>
                  <a:lnTo>
                    <a:pt x="190" y="905"/>
                  </a:lnTo>
                  <a:lnTo>
                    <a:pt x="184" y="901"/>
                  </a:lnTo>
                  <a:lnTo>
                    <a:pt x="178" y="898"/>
                  </a:lnTo>
                  <a:lnTo>
                    <a:pt x="171" y="896"/>
                  </a:lnTo>
                  <a:lnTo>
                    <a:pt x="164" y="893"/>
                  </a:lnTo>
                  <a:lnTo>
                    <a:pt x="158" y="891"/>
                  </a:lnTo>
                  <a:lnTo>
                    <a:pt x="151" y="890"/>
                  </a:lnTo>
                  <a:lnTo>
                    <a:pt x="143" y="889"/>
                  </a:lnTo>
                  <a:lnTo>
                    <a:pt x="131" y="888"/>
                  </a:lnTo>
                  <a:lnTo>
                    <a:pt x="124" y="888"/>
                  </a:lnTo>
                  <a:lnTo>
                    <a:pt x="118" y="889"/>
                  </a:lnTo>
                  <a:lnTo>
                    <a:pt x="111" y="890"/>
                  </a:lnTo>
                  <a:lnTo>
                    <a:pt x="104" y="891"/>
                  </a:lnTo>
                  <a:lnTo>
                    <a:pt x="97" y="893"/>
                  </a:lnTo>
                  <a:lnTo>
                    <a:pt x="90" y="896"/>
                  </a:lnTo>
                  <a:lnTo>
                    <a:pt x="83" y="898"/>
                  </a:lnTo>
                  <a:lnTo>
                    <a:pt x="76" y="902"/>
                  </a:lnTo>
                  <a:lnTo>
                    <a:pt x="69" y="905"/>
                  </a:lnTo>
                  <a:lnTo>
                    <a:pt x="62" y="909"/>
                  </a:lnTo>
                  <a:lnTo>
                    <a:pt x="55" y="914"/>
                  </a:lnTo>
                  <a:lnTo>
                    <a:pt x="49" y="918"/>
                  </a:lnTo>
                  <a:lnTo>
                    <a:pt x="42" y="924"/>
                  </a:lnTo>
                  <a:lnTo>
                    <a:pt x="37" y="929"/>
                  </a:lnTo>
                  <a:lnTo>
                    <a:pt x="31" y="935"/>
                  </a:lnTo>
                  <a:lnTo>
                    <a:pt x="26" y="941"/>
                  </a:lnTo>
                  <a:lnTo>
                    <a:pt x="21" y="948"/>
                  </a:lnTo>
                  <a:lnTo>
                    <a:pt x="16" y="955"/>
                  </a:lnTo>
                  <a:lnTo>
                    <a:pt x="12" y="962"/>
                  </a:lnTo>
                  <a:lnTo>
                    <a:pt x="9" y="970"/>
                  </a:lnTo>
                  <a:lnTo>
                    <a:pt x="6" y="978"/>
                  </a:lnTo>
                  <a:lnTo>
                    <a:pt x="3" y="987"/>
                  </a:lnTo>
                  <a:lnTo>
                    <a:pt x="2" y="995"/>
                  </a:lnTo>
                  <a:lnTo>
                    <a:pt x="1" y="1004"/>
                  </a:lnTo>
                  <a:lnTo>
                    <a:pt x="0" y="1014"/>
                  </a:lnTo>
                  <a:lnTo>
                    <a:pt x="0" y="1024"/>
                  </a:lnTo>
                  <a:lnTo>
                    <a:pt x="1" y="1034"/>
                  </a:lnTo>
                  <a:lnTo>
                    <a:pt x="3" y="1044"/>
                  </a:lnTo>
                  <a:lnTo>
                    <a:pt x="6" y="1055"/>
                  </a:lnTo>
                  <a:lnTo>
                    <a:pt x="10" y="1066"/>
                  </a:lnTo>
                  <a:lnTo>
                    <a:pt x="14" y="1077"/>
                  </a:lnTo>
                  <a:lnTo>
                    <a:pt x="19" y="1088"/>
                  </a:lnTo>
                  <a:lnTo>
                    <a:pt x="24" y="1098"/>
                  </a:lnTo>
                  <a:lnTo>
                    <a:pt x="29" y="1109"/>
                  </a:lnTo>
                  <a:lnTo>
                    <a:pt x="35" y="1119"/>
                  </a:lnTo>
                  <a:lnTo>
                    <a:pt x="42" y="1129"/>
                  </a:lnTo>
                  <a:lnTo>
                    <a:pt x="49" y="1139"/>
                  </a:lnTo>
                  <a:lnTo>
                    <a:pt x="56" y="1148"/>
                  </a:lnTo>
                  <a:lnTo>
                    <a:pt x="64" y="1158"/>
                  </a:lnTo>
                  <a:lnTo>
                    <a:pt x="72" y="1167"/>
                  </a:lnTo>
                  <a:lnTo>
                    <a:pt x="81" y="1175"/>
                  </a:lnTo>
                  <a:lnTo>
                    <a:pt x="90" y="1184"/>
                  </a:lnTo>
                  <a:lnTo>
                    <a:pt x="99" y="1192"/>
                  </a:lnTo>
                  <a:lnTo>
                    <a:pt x="109" y="1200"/>
                  </a:lnTo>
                  <a:lnTo>
                    <a:pt x="130" y="1215"/>
                  </a:lnTo>
                  <a:lnTo>
                    <a:pt x="141" y="1221"/>
                  </a:lnTo>
                  <a:lnTo>
                    <a:pt x="152" y="1228"/>
                  </a:lnTo>
                  <a:lnTo>
                    <a:pt x="164" y="1234"/>
                  </a:lnTo>
                  <a:lnTo>
                    <a:pt x="176" y="1240"/>
                  </a:lnTo>
                  <a:lnTo>
                    <a:pt x="189" y="1245"/>
                  </a:lnTo>
                  <a:lnTo>
                    <a:pt x="202" y="1250"/>
                  </a:lnTo>
                  <a:lnTo>
                    <a:pt x="215" y="1254"/>
                  </a:lnTo>
                  <a:lnTo>
                    <a:pt x="229" y="1258"/>
                  </a:lnTo>
                  <a:lnTo>
                    <a:pt x="243" y="1262"/>
                  </a:lnTo>
                  <a:lnTo>
                    <a:pt x="257" y="1265"/>
                  </a:lnTo>
                  <a:lnTo>
                    <a:pt x="271" y="1268"/>
                  </a:lnTo>
                  <a:lnTo>
                    <a:pt x="286" y="1270"/>
                  </a:lnTo>
                  <a:lnTo>
                    <a:pt x="302" y="1272"/>
                  </a:lnTo>
                  <a:lnTo>
                    <a:pt x="317" y="1273"/>
                  </a:lnTo>
                  <a:lnTo>
                    <a:pt x="333" y="1274"/>
                  </a:lnTo>
                  <a:lnTo>
                    <a:pt x="350" y="1274"/>
                  </a:lnTo>
                  <a:lnTo>
                    <a:pt x="375" y="1274"/>
                  </a:lnTo>
                  <a:lnTo>
                    <a:pt x="400" y="1273"/>
                  </a:lnTo>
                  <a:lnTo>
                    <a:pt x="412" y="1272"/>
                  </a:lnTo>
                  <a:lnTo>
                    <a:pt x="424" y="1270"/>
                  </a:lnTo>
                  <a:lnTo>
                    <a:pt x="448" y="1267"/>
                  </a:lnTo>
                  <a:lnTo>
                    <a:pt x="472" y="1264"/>
                  </a:lnTo>
                  <a:lnTo>
                    <a:pt x="495" y="1259"/>
                  </a:lnTo>
                  <a:lnTo>
                    <a:pt x="517" y="1253"/>
                  </a:lnTo>
                  <a:lnTo>
                    <a:pt x="539" y="1247"/>
                  </a:lnTo>
                  <a:lnTo>
                    <a:pt x="561" y="1239"/>
                  </a:lnTo>
                  <a:lnTo>
                    <a:pt x="581" y="1231"/>
                  </a:lnTo>
                  <a:lnTo>
                    <a:pt x="602" y="1222"/>
                  </a:lnTo>
                  <a:lnTo>
                    <a:pt x="622" y="1212"/>
                  </a:lnTo>
                  <a:lnTo>
                    <a:pt x="641" y="1202"/>
                  </a:lnTo>
                  <a:lnTo>
                    <a:pt x="660" y="1190"/>
                  </a:lnTo>
                  <a:lnTo>
                    <a:pt x="678" y="1178"/>
                  </a:lnTo>
                  <a:lnTo>
                    <a:pt x="695" y="1164"/>
                  </a:lnTo>
                  <a:lnTo>
                    <a:pt x="713" y="1150"/>
                  </a:lnTo>
                  <a:lnTo>
                    <a:pt x="721" y="1143"/>
                  </a:lnTo>
                  <a:lnTo>
                    <a:pt x="730" y="1135"/>
                  </a:lnTo>
                  <a:lnTo>
                    <a:pt x="745" y="1120"/>
                  </a:lnTo>
                  <a:lnTo>
                    <a:pt x="759" y="1104"/>
                  </a:lnTo>
                  <a:lnTo>
                    <a:pt x="772" y="1087"/>
                  </a:lnTo>
                  <a:lnTo>
                    <a:pt x="778" y="1079"/>
                  </a:lnTo>
                  <a:lnTo>
                    <a:pt x="784" y="1071"/>
                  </a:lnTo>
                  <a:lnTo>
                    <a:pt x="795" y="1053"/>
                  </a:lnTo>
                  <a:lnTo>
                    <a:pt x="800" y="1045"/>
                  </a:lnTo>
                  <a:lnTo>
                    <a:pt x="805" y="1036"/>
                  </a:lnTo>
                  <a:lnTo>
                    <a:pt x="813" y="1017"/>
                  </a:lnTo>
                  <a:lnTo>
                    <a:pt x="817" y="1008"/>
                  </a:lnTo>
                  <a:lnTo>
                    <a:pt x="820" y="999"/>
                  </a:lnTo>
                  <a:lnTo>
                    <a:pt x="827" y="980"/>
                  </a:lnTo>
                  <a:lnTo>
                    <a:pt x="829" y="970"/>
                  </a:lnTo>
                  <a:lnTo>
                    <a:pt x="832" y="960"/>
                  </a:lnTo>
                  <a:lnTo>
                    <a:pt x="836" y="940"/>
                  </a:lnTo>
                  <a:lnTo>
                    <a:pt x="837" y="930"/>
                  </a:lnTo>
                  <a:lnTo>
                    <a:pt x="839" y="920"/>
                  </a:lnTo>
                  <a:lnTo>
                    <a:pt x="840" y="899"/>
                  </a:lnTo>
                  <a:lnTo>
                    <a:pt x="841" y="888"/>
                  </a:lnTo>
                  <a:lnTo>
                    <a:pt x="841" y="878"/>
                  </a:lnTo>
                  <a:lnTo>
                    <a:pt x="840" y="858"/>
                  </a:lnTo>
                  <a:lnTo>
                    <a:pt x="839" y="848"/>
                  </a:lnTo>
                  <a:lnTo>
                    <a:pt x="838" y="839"/>
                  </a:lnTo>
                  <a:lnTo>
                    <a:pt x="835" y="819"/>
                  </a:lnTo>
                  <a:lnTo>
                    <a:pt x="833" y="810"/>
                  </a:lnTo>
                  <a:lnTo>
                    <a:pt x="830" y="800"/>
                  </a:lnTo>
                  <a:lnTo>
                    <a:pt x="827" y="790"/>
                  </a:lnTo>
                  <a:lnTo>
                    <a:pt x="824" y="781"/>
                  </a:lnTo>
                  <a:lnTo>
                    <a:pt x="817" y="762"/>
                  </a:lnTo>
                  <a:lnTo>
                    <a:pt x="813" y="753"/>
                  </a:lnTo>
                  <a:lnTo>
                    <a:pt x="808" y="743"/>
                  </a:lnTo>
                  <a:lnTo>
                    <a:pt x="803" y="734"/>
                  </a:lnTo>
                  <a:lnTo>
                    <a:pt x="798" y="725"/>
                  </a:lnTo>
                  <a:lnTo>
                    <a:pt x="787" y="706"/>
                  </a:lnTo>
                  <a:lnTo>
                    <a:pt x="781" y="697"/>
                  </a:lnTo>
                  <a:lnTo>
                    <a:pt x="774" y="688"/>
                  </a:lnTo>
                  <a:lnTo>
                    <a:pt x="767" y="679"/>
                  </a:lnTo>
                  <a:lnTo>
                    <a:pt x="760" y="670"/>
                  </a:lnTo>
                  <a:lnTo>
                    <a:pt x="745" y="652"/>
                  </a:lnTo>
                  <a:lnTo>
                    <a:pt x="737" y="643"/>
                  </a:lnTo>
                  <a:lnTo>
                    <a:pt x="728" y="634"/>
                  </a:lnTo>
                  <a:lnTo>
                    <a:pt x="709" y="616"/>
                  </a:lnTo>
                  <a:lnTo>
                    <a:pt x="700" y="608"/>
                  </a:lnTo>
                  <a:lnTo>
                    <a:pt x="690" y="599"/>
                  </a:lnTo>
                  <a:lnTo>
                    <a:pt x="670" y="582"/>
                  </a:lnTo>
                  <a:lnTo>
                    <a:pt x="589" y="515"/>
                  </a:lnTo>
                  <a:lnTo>
                    <a:pt x="528" y="464"/>
                  </a:lnTo>
                  <a:lnTo>
                    <a:pt x="501" y="442"/>
                  </a:lnTo>
                  <a:lnTo>
                    <a:pt x="478" y="421"/>
                  </a:lnTo>
                  <a:lnTo>
                    <a:pt x="458" y="402"/>
                  </a:lnTo>
                  <a:lnTo>
                    <a:pt x="440" y="384"/>
                  </a:lnTo>
                  <a:lnTo>
                    <a:pt x="425" y="369"/>
                  </a:lnTo>
                  <a:lnTo>
                    <a:pt x="419" y="362"/>
                  </a:lnTo>
                  <a:lnTo>
                    <a:pt x="414" y="356"/>
                  </a:lnTo>
                  <a:lnTo>
                    <a:pt x="406" y="345"/>
                  </a:lnTo>
                  <a:lnTo>
                    <a:pt x="399" y="335"/>
                  </a:lnTo>
                  <a:lnTo>
                    <a:pt x="396" y="330"/>
                  </a:lnTo>
                  <a:lnTo>
                    <a:pt x="394" y="324"/>
                  </a:lnTo>
                  <a:lnTo>
                    <a:pt x="389" y="314"/>
                  </a:lnTo>
                  <a:lnTo>
                    <a:pt x="386" y="303"/>
                  </a:lnTo>
                  <a:lnTo>
                    <a:pt x="383" y="293"/>
                  </a:lnTo>
                  <a:lnTo>
                    <a:pt x="381" y="282"/>
                  </a:lnTo>
                  <a:lnTo>
                    <a:pt x="380" y="272"/>
                  </a:lnTo>
                  <a:lnTo>
                    <a:pt x="380" y="264"/>
                  </a:lnTo>
                  <a:lnTo>
                    <a:pt x="380" y="257"/>
                  </a:lnTo>
                  <a:lnTo>
                    <a:pt x="382" y="249"/>
                  </a:lnTo>
                  <a:lnTo>
                    <a:pt x="384" y="241"/>
                  </a:lnTo>
                  <a:lnTo>
                    <a:pt x="386" y="233"/>
                  </a:lnTo>
                  <a:lnTo>
                    <a:pt x="390" y="225"/>
                  </a:lnTo>
                  <a:lnTo>
                    <a:pt x="394" y="217"/>
                  </a:lnTo>
                  <a:lnTo>
                    <a:pt x="398" y="210"/>
                  </a:lnTo>
                  <a:lnTo>
                    <a:pt x="404" y="202"/>
                  </a:lnTo>
                  <a:lnTo>
                    <a:pt x="407" y="198"/>
                  </a:lnTo>
                  <a:lnTo>
                    <a:pt x="410" y="195"/>
                  </a:lnTo>
                  <a:lnTo>
                    <a:pt x="416" y="188"/>
                  </a:lnTo>
                  <a:lnTo>
                    <a:pt x="423" y="181"/>
                  </a:lnTo>
                  <a:lnTo>
                    <a:pt x="431" y="174"/>
                  </a:lnTo>
                  <a:lnTo>
                    <a:pt x="439" y="168"/>
                  </a:lnTo>
                  <a:lnTo>
                    <a:pt x="447" y="163"/>
                  </a:lnTo>
                  <a:lnTo>
                    <a:pt x="456" y="157"/>
                  </a:lnTo>
                  <a:lnTo>
                    <a:pt x="466" y="152"/>
                  </a:lnTo>
                  <a:lnTo>
                    <a:pt x="476" y="148"/>
                  </a:lnTo>
                  <a:lnTo>
                    <a:pt x="486" y="145"/>
                  </a:lnTo>
                  <a:lnTo>
                    <a:pt x="497" y="142"/>
                  </a:lnTo>
                  <a:lnTo>
                    <a:pt x="509" y="140"/>
                  </a:lnTo>
                  <a:lnTo>
                    <a:pt x="514" y="139"/>
                  </a:lnTo>
                  <a:lnTo>
                    <a:pt x="520" y="139"/>
                  </a:lnTo>
                  <a:lnTo>
                    <a:pt x="532" y="139"/>
                  </a:lnTo>
                  <a:lnTo>
                    <a:pt x="545" y="139"/>
                  </a:lnTo>
                  <a:lnTo>
                    <a:pt x="557" y="141"/>
                  </a:lnTo>
                  <a:lnTo>
                    <a:pt x="570" y="143"/>
                  </a:lnTo>
                  <a:lnTo>
                    <a:pt x="584" y="147"/>
                  </a:lnTo>
                  <a:lnTo>
                    <a:pt x="590" y="149"/>
                  </a:lnTo>
                  <a:lnTo>
                    <a:pt x="597" y="152"/>
                  </a:lnTo>
                  <a:lnTo>
                    <a:pt x="611" y="157"/>
                  </a:lnTo>
                  <a:lnTo>
                    <a:pt x="625" y="165"/>
                  </a:lnTo>
                  <a:lnTo>
                    <a:pt x="639" y="174"/>
                  </a:lnTo>
                  <a:lnTo>
                    <a:pt x="654" y="18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022ED931-8658-46DF-BDD2-20996386B6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2887" y="2291616"/>
              <a:ext cx="522380" cy="117366"/>
            </a:xfrm>
            <a:custGeom>
              <a:avLst/>
              <a:gdLst>
                <a:gd name="T0" fmla="*/ 355 w 2718"/>
                <a:gd name="T1" fmla="*/ 506 h 611"/>
                <a:gd name="T2" fmla="*/ 571 w 2718"/>
                <a:gd name="T3" fmla="*/ 436 h 611"/>
                <a:gd name="T4" fmla="*/ 776 w 2718"/>
                <a:gd name="T5" fmla="*/ 379 h 611"/>
                <a:gd name="T6" fmla="*/ 972 w 2718"/>
                <a:gd name="T7" fmla="*/ 334 h 611"/>
                <a:gd name="T8" fmla="*/ 1141 w 2718"/>
                <a:gd name="T9" fmla="*/ 303 h 611"/>
                <a:gd name="T10" fmla="*/ 1335 w 2718"/>
                <a:gd name="T11" fmla="*/ 278 h 611"/>
                <a:gd name="T12" fmla="*/ 1516 w 2718"/>
                <a:gd name="T13" fmla="*/ 265 h 611"/>
                <a:gd name="T14" fmla="*/ 1718 w 2718"/>
                <a:gd name="T15" fmla="*/ 262 h 611"/>
                <a:gd name="T16" fmla="*/ 1875 w 2718"/>
                <a:gd name="T17" fmla="*/ 270 h 611"/>
                <a:gd name="T18" fmla="*/ 2020 w 2718"/>
                <a:gd name="T19" fmla="*/ 286 h 611"/>
                <a:gd name="T20" fmla="*/ 2153 w 2718"/>
                <a:gd name="T21" fmla="*/ 309 h 611"/>
                <a:gd name="T22" fmla="*/ 2298 w 2718"/>
                <a:gd name="T23" fmla="*/ 345 h 611"/>
                <a:gd name="T24" fmla="*/ 2427 w 2718"/>
                <a:gd name="T25" fmla="*/ 387 h 611"/>
                <a:gd name="T26" fmla="*/ 2540 w 2718"/>
                <a:gd name="T27" fmla="*/ 433 h 611"/>
                <a:gd name="T28" fmla="*/ 2666 w 2718"/>
                <a:gd name="T29" fmla="*/ 500 h 611"/>
                <a:gd name="T30" fmla="*/ 2718 w 2718"/>
                <a:gd name="T31" fmla="*/ 526 h 611"/>
                <a:gd name="T32" fmla="*/ 2713 w 2718"/>
                <a:gd name="T33" fmla="*/ 509 h 611"/>
                <a:gd name="T34" fmla="*/ 2693 w 2718"/>
                <a:gd name="T35" fmla="*/ 478 h 611"/>
                <a:gd name="T36" fmla="*/ 2658 w 2718"/>
                <a:gd name="T37" fmla="*/ 440 h 611"/>
                <a:gd name="T38" fmla="*/ 2589 w 2718"/>
                <a:gd name="T39" fmla="*/ 383 h 611"/>
                <a:gd name="T40" fmla="*/ 2496 w 2718"/>
                <a:gd name="T41" fmla="*/ 323 h 611"/>
                <a:gd name="T42" fmla="*/ 2380 w 2718"/>
                <a:gd name="T43" fmla="*/ 262 h 611"/>
                <a:gd name="T44" fmla="*/ 2242 w 2718"/>
                <a:gd name="T45" fmla="*/ 204 h 611"/>
                <a:gd name="T46" fmla="*/ 2083 w 2718"/>
                <a:gd name="T47" fmla="*/ 153 h 611"/>
                <a:gd name="T48" fmla="*/ 1917 w 2718"/>
                <a:gd name="T49" fmla="*/ 115 h 611"/>
                <a:gd name="T50" fmla="*/ 1784 w 2718"/>
                <a:gd name="T51" fmla="*/ 97 h 611"/>
                <a:gd name="T52" fmla="*/ 1648 w 2718"/>
                <a:gd name="T53" fmla="*/ 87 h 611"/>
                <a:gd name="T54" fmla="*/ 1478 w 2718"/>
                <a:gd name="T55" fmla="*/ 87 h 611"/>
                <a:gd name="T56" fmla="*/ 1343 w 2718"/>
                <a:gd name="T57" fmla="*/ 96 h 611"/>
                <a:gd name="T58" fmla="*/ 1177 w 2718"/>
                <a:gd name="T59" fmla="*/ 114 h 611"/>
                <a:gd name="T60" fmla="*/ 1047 w 2718"/>
                <a:gd name="T61" fmla="*/ 135 h 611"/>
                <a:gd name="T62" fmla="*/ 893 w 2718"/>
                <a:gd name="T63" fmla="*/ 165 h 611"/>
                <a:gd name="T64" fmla="*/ 667 w 2718"/>
                <a:gd name="T65" fmla="*/ 220 h 611"/>
                <a:gd name="T66" fmla="*/ 477 w 2718"/>
                <a:gd name="T67" fmla="*/ 277 h 611"/>
                <a:gd name="T68" fmla="*/ 278 w 2718"/>
                <a:gd name="T69" fmla="*/ 345 h 611"/>
                <a:gd name="T70" fmla="*/ 252 w 2718"/>
                <a:gd name="T71" fmla="*/ 269 h 611"/>
                <a:gd name="T72" fmla="*/ 265 w 2718"/>
                <a:gd name="T73" fmla="*/ 153 h 611"/>
                <a:gd name="T74" fmla="*/ 263 w 2718"/>
                <a:gd name="T75" fmla="*/ 99 h 611"/>
                <a:gd name="T76" fmla="*/ 254 w 2718"/>
                <a:gd name="T77" fmla="*/ 62 h 611"/>
                <a:gd name="T78" fmla="*/ 237 w 2718"/>
                <a:gd name="T79" fmla="*/ 30 h 611"/>
                <a:gd name="T80" fmla="*/ 217 w 2718"/>
                <a:gd name="T81" fmla="*/ 12 h 611"/>
                <a:gd name="T82" fmla="*/ 192 w 2718"/>
                <a:gd name="T83" fmla="*/ 3 h 611"/>
                <a:gd name="T84" fmla="*/ 163 w 2718"/>
                <a:gd name="T85" fmla="*/ 1 h 611"/>
                <a:gd name="T86" fmla="*/ 132 w 2718"/>
                <a:gd name="T87" fmla="*/ 6 h 611"/>
                <a:gd name="T88" fmla="*/ 103 w 2718"/>
                <a:gd name="T89" fmla="*/ 20 h 611"/>
                <a:gd name="T90" fmla="*/ 76 w 2718"/>
                <a:gd name="T91" fmla="*/ 44 h 611"/>
                <a:gd name="T92" fmla="*/ 56 w 2718"/>
                <a:gd name="T93" fmla="*/ 79 h 611"/>
                <a:gd name="T94" fmla="*/ 43 w 2718"/>
                <a:gd name="T95" fmla="*/ 126 h 611"/>
                <a:gd name="T96" fmla="*/ 26 w 2718"/>
                <a:gd name="T97" fmla="*/ 308 h 611"/>
                <a:gd name="T98" fmla="*/ 0 w 2718"/>
                <a:gd name="T99" fmla="*/ 527 h 611"/>
                <a:gd name="T100" fmla="*/ 3 w 2718"/>
                <a:gd name="T101" fmla="*/ 570 h 611"/>
                <a:gd name="T102" fmla="*/ 14 w 2718"/>
                <a:gd name="T103" fmla="*/ 596 h 611"/>
                <a:gd name="T104" fmla="*/ 34 w 2718"/>
                <a:gd name="T105" fmla="*/ 609 h 611"/>
                <a:gd name="T106" fmla="*/ 61 w 2718"/>
                <a:gd name="T107" fmla="*/ 610 h 611"/>
                <a:gd name="T108" fmla="*/ 110 w 2718"/>
                <a:gd name="T109" fmla="*/ 598 h 611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718" h="611">
                  <a:moveTo>
                    <a:pt x="187" y="568"/>
                  </a:moveTo>
                  <a:lnTo>
                    <a:pt x="244" y="546"/>
                  </a:lnTo>
                  <a:lnTo>
                    <a:pt x="300" y="526"/>
                  </a:lnTo>
                  <a:lnTo>
                    <a:pt x="355" y="506"/>
                  </a:lnTo>
                  <a:lnTo>
                    <a:pt x="410" y="487"/>
                  </a:lnTo>
                  <a:lnTo>
                    <a:pt x="464" y="469"/>
                  </a:lnTo>
                  <a:lnTo>
                    <a:pt x="518" y="452"/>
                  </a:lnTo>
                  <a:lnTo>
                    <a:pt x="571" y="436"/>
                  </a:lnTo>
                  <a:lnTo>
                    <a:pt x="623" y="420"/>
                  </a:lnTo>
                  <a:lnTo>
                    <a:pt x="675" y="406"/>
                  </a:lnTo>
                  <a:lnTo>
                    <a:pt x="726" y="392"/>
                  </a:lnTo>
                  <a:lnTo>
                    <a:pt x="776" y="379"/>
                  </a:lnTo>
                  <a:lnTo>
                    <a:pt x="826" y="366"/>
                  </a:lnTo>
                  <a:lnTo>
                    <a:pt x="876" y="355"/>
                  </a:lnTo>
                  <a:lnTo>
                    <a:pt x="924" y="344"/>
                  </a:lnTo>
                  <a:lnTo>
                    <a:pt x="972" y="334"/>
                  </a:lnTo>
                  <a:lnTo>
                    <a:pt x="1020" y="325"/>
                  </a:lnTo>
                  <a:lnTo>
                    <a:pt x="1061" y="317"/>
                  </a:lnTo>
                  <a:lnTo>
                    <a:pt x="1101" y="310"/>
                  </a:lnTo>
                  <a:lnTo>
                    <a:pt x="1141" y="303"/>
                  </a:lnTo>
                  <a:lnTo>
                    <a:pt x="1181" y="297"/>
                  </a:lnTo>
                  <a:lnTo>
                    <a:pt x="1259" y="287"/>
                  </a:lnTo>
                  <a:lnTo>
                    <a:pt x="1297" y="282"/>
                  </a:lnTo>
                  <a:lnTo>
                    <a:pt x="1335" y="278"/>
                  </a:lnTo>
                  <a:lnTo>
                    <a:pt x="1409" y="271"/>
                  </a:lnTo>
                  <a:lnTo>
                    <a:pt x="1445" y="269"/>
                  </a:lnTo>
                  <a:lnTo>
                    <a:pt x="1481" y="266"/>
                  </a:lnTo>
                  <a:lnTo>
                    <a:pt x="1516" y="265"/>
                  </a:lnTo>
                  <a:lnTo>
                    <a:pt x="1551" y="263"/>
                  </a:lnTo>
                  <a:lnTo>
                    <a:pt x="1619" y="262"/>
                  </a:lnTo>
                  <a:lnTo>
                    <a:pt x="1686" y="261"/>
                  </a:lnTo>
                  <a:lnTo>
                    <a:pt x="1718" y="262"/>
                  </a:lnTo>
                  <a:lnTo>
                    <a:pt x="1751" y="263"/>
                  </a:lnTo>
                  <a:lnTo>
                    <a:pt x="1814" y="266"/>
                  </a:lnTo>
                  <a:lnTo>
                    <a:pt x="1844" y="268"/>
                  </a:lnTo>
                  <a:lnTo>
                    <a:pt x="1875" y="270"/>
                  </a:lnTo>
                  <a:lnTo>
                    <a:pt x="1934" y="276"/>
                  </a:lnTo>
                  <a:lnTo>
                    <a:pt x="1963" y="279"/>
                  </a:lnTo>
                  <a:lnTo>
                    <a:pt x="1992" y="282"/>
                  </a:lnTo>
                  <a:lnTo>
                    <a:pt x="2020" y="286"/>
                  </a:lnTo>
                  <a:lnTo>
                    <a:pt x="2047" y="290"/>
                  </a:lnTo>
                  <a:lnTo>
                    <a:pt x="2074" y="295"/>
                  </a:lnTo>
                  <a:lnTo>
                    <a:pt x="2101" y="299"/>
                  </a:lnTo>
                  <a:lnTo>
                    <a:pt x="2153" y="309"/>
                  </a:lnTo>
                  <a:lnTo>
                    <a:pt x="2203" y="320"/>
                  </a:lnTo>
                  <a:lnTo>
                    <a:pt x="2252" y="332"/>
                  </a:lnTo>
                  <a:lnTo>
                    <a:pt x="2275" y="338"/>
                  </a:lnTo>
                  <a:lnTo>
                    <a:pt x="2298" y="345"/>
                  </a:lnTo>
                  <a:lnTo>
                    <a:pt x="2343" y="358"/>
                  </a:lnTo>
                  <a:lnTo>
                    <a:pt x="2365" y="365"/>
                  </a:lnTo>
                  <a:lnTo>
                    <a:pt x="2386" y="372"/>
                  </a:lnTo>
                  <a:lnTo>
                    <a:pt x="2427" y="387"/>
                  </a:lnTo>
                  <a:lnTo>
                    <a:pt x="2467" y="402"/>
                  </a:lnTo>
                  <a:lnTo>
                    <a:pt x="2504" y="417"/>
                  </a:lnTo>
                  <a:lnTo>
                    <a:pt x="2522" y="425"/>
                  </a:lnTo>
                  <a:lnTo>
                    <a:pt x="2540" y="433"/>
                  </a:lnTo>
                  <a:lnTo>
                    <a:pt x="2574" y="450"/>
                  </a:lnTo>
                  <a:lnTo>
                    <a:pt x="2606" y="466"/>
                  </a:lnTo>
                  <a:lnTo>
                    <a:pt x="2638" y="483"/>
                  </a:lnTo>
                  <a:lnTo>
                    <a:pt x="2666" y="500"/>
                  </a:lnTo>
                  <a:lnTo>
                    <a:pt x="2680" y="508"/>
                  </a:lnTo>
                  <a:lnTo>
                    <a:pt x="2693" y="517"/>
                  </a:lnTo>
                  <a:lnTo>
                    <a:pt x="2718" y="534"/>
                  </a:lnTo>
                  <a:lnTo>
                    <a:pt x="2718" y="526"/>
                  </a:lnTo>
                  <a:lnTo>
                    <a:pt x="2717" y="523"/>
                  </a:lnTo>
                  <a:lnTo>
                    <a:pt x="2716" y="518"/>
                  </a:lnTo>
                  <a:lnTo>
                    <a:pt x="2715" y="514"/>
                  </a:lnTo>
                  <a:lnTo>
                    <a:pt x="2713" y="509"/>
                  </a:lnTo>
                  <a:lnTo>
                    <a:pt x="2710" y="505"/>
                  </a:lnTo>
                  <a:lnTo>
                    <a:pt x="2708" y="499"/>
                  </a:lnTo>
                  <a:lnTo>
                    <a:pt x="2701" y="489"/>
                  </a:lnTo>
                  <a:lnTo>
                    <a:pt x="2693" y="478"/>
                  </a:lnTo>
                  <a:lnTo>
                    <a:pt x="2683" y="466"/>
                  </a:lnTo>
                  <a:lnTo>
                    <a:pt x="2671" y="453"/>
                  </a:lnTo>
                  <a:lnTo>
                    <a:pt x="2665" y="447"/>
                  </a:lnTo>
                  <a:lnTo>
                    <a:pt x="2658" y="440"/>
                  </a:lnTo>
                  <a:lnTo>
                    <a:pt x="2643" y="426"/>
                  </a:lnTo>
                  <a:lnTo>
                    <a:pt x="2627" y="412"/>
                  </a:lnTo>
                  <a:lnTo>
                    <a:pt x="2608" y="398"/>
                  </a:lnTo>
                  <a:lnTo>
                    <a:pt x="2589" y="383"/>
                  </a:lnTo>
                  <a:lnTo>
                    <a:pt x="2568" y="368"/>
                  </a:lnTo>
                  <a:lnTo>
                    <a:pt x="2545" y="353"/>
                  </a:lnTo>
                  <a:lnTo>
                    <a:pt x="2521" y="338"/>
                  </a:lnTo>
                  <a:lnTo>
                    <a:pt x="2496" y="323"/>
                  </a:lnTo>
                  <a:lnTo>
                    <a:pt x="2469" y="307"/>
                  </a:lnTo>
                  <a:lnTo>
                    <a:pt x="2441" y="292"/>
                  </a:lnTo>
                  <a:lnTo>
                    <a:pt x="2411" y="277"/>
                  </a:lnTo>
                  <a:lnTo>
                    <a:pt x="2380" y="262"/>
                  </a:lnTo>
                  <a:lnTo>
                    <a:pt x="2348" y="247"/>
                  </a:lnTo>
                  <a:lnTo>
                    <a:pt x="2314" y="232"/>
                  </a:lnTo>
                  <a:lnTo>
                    <a:pt x="2279" y="218"/>
                  </a:lnTo>
                  <a:lnTo>
                    <a:pt x="2242" y="204"/>
                  </a:lnTo>
                  <a:lnTo>
                    <a:pt x="2204" y="190"/>
                  </a:lnTo>
                  <a:lnTo>
                    <a:pt x="2165" y="177"/>
                  </a:lnTo>
                  <a:lnTo>
                    <a:pt x="2125" y="165"/>
                  </a:lnTo>
                  <a:lnTo>
                    <a:pt x="2083" y="153"/>
                  </a:lnTo>
                  <a:lnTo>
                    <a:pt x="2040" y="142"/>
                  </a:lnTo>
                  <a:lnTo>
                    <a:pt x="1996" y="131"/>
                  </a:lnTo>
                  <a:lnTo>
                    <a:pt x="1950" y="122"/>
                  </a:lnTo>
                  <a:lnTo>
                    <a:pt x="1917" y="115"/>
                  </a:lnTo>
                  <a:lnTo>
                    <a:pt x="1884" y="110"/>
                  </a:lnTo>
                  <a:lnTo>
                    <a:pt x="1851" y="105"/>
                  </a:lnTo>
                  <a:lnTo>
                    <a:pt x="1817" y="100"/>
                  </a:lnTo>
                  <a:lnTo>
                    <a:pt x="1784" y="97"/>
                  </a:lnTo>
                  <a:lnTo>
                    <a:pt x="1750" y="93"/>
                  </a:lnTo>
                  <a:lnTo>
                    <a:pt x="1716" y="91"/>
                  </a:lnTo>
                  <a:lnTo>
                    <a:pt x="1682" y="89"/>
                  </a:lnTo>
                  <a:lnTo>
                    <a:pt x="1648" y="87"/>
                  </a:lnTo>
                  <a:lnTo>
                    <a:pt x="1614" y="86"/>
                  </a:lnTo>
                  <a:lnTo>
                    <a:pt x="1580" y="86"/>
                  </a:lnTo>
                  <a:lnTo>
                    <a:pt x="1546" y="86"/>
                  </a:lnTo>
                  <a:lnTo>
                    <a:pt x="1478" y="87"/>
                  </a:lnTo>
                  <a:lnTo>
                    <a:pt x="1444" y="89"/>
                  </a:lnTo>
                  <a:lnTo>
                    <a:pt x="1410" y="91"/>
                  </a:lnTo>
                  <a:lnTo>
                    <a:pt x="1377" y="93"/>
                  </a:lnTo>
                  <a:lnTo>
                    <a:pt x="1343" y="96"/>
                  </a:lnTo>
                  <a:lnTo>
                    <a:pt x="1309" y="99"/>
                  </a:lnTo>
                  <a:lnTo>
                    <a:pt x="1276" y="102"/>
                  </a:lnTo>
                  <a:lnTo>
                    <a:pt x="1210" y="110"/>
                  </a:lnTo>
                  <a:lnTo>
                    <a:pt x="1177" y="114"/>
                  </a:lnTo>
                  <a:lnTo>
                    <a:pt x="1143" y="119"/>
                  </a:lnTo>
                  <a:lnTo>
                    <a:pt x="1111" y="124"/>
                  </a:lnTo>
                  <a:lnTo>
                    <a:pt x="1079" y="129"/>
                  </a:lnTo>
                  <a:lnTo>
                    <a:pt x="1047" y="135"/>
                  </a:lnTo>
                  <a:lnTo>
                    <a:pt x="1015" y="140"/>
                  </a:lnTo>
                  <a:lnTo>
                    <a:pt x="984" y="146"/>
                  </a:lnTo>
                  <a:lnTo>
                    <a:pt x="953" y="152"/>
                  </a:lnTo>
                  <a:lnTo>
                    <a:pt x="893" y="165"/>
                  </a:lnTo>
                  <a:lnTo>
                    <a:pt x="833" y="178"/>
                  </a:lnTo>
                  <a:lnTo>
                    <a:pt x="776" y="192"/>
                  </a:lnTo>
                  <a:lnTo>
                    <a:pt x="721" y="206"/>
                  </a:lnTo>
                  <a:lnTo>
                    <a:pt x="667" y="220"/>
                  </a:lnTo>
                  <a:lnTo>
                    <a:pt x="616" y="235"/>
                  </a:lnTo>
                  <a:lnTo>
                    <a:pt x="567" y="249"/>
                  </a:lnTo>
                  <a:lnTo>
                    <a:pt x="520" y="263"/>
                  </a:lnTo>
                  <a:lnTo>
                    <a:pt x="477" y="277"/>
                  </a:lnTo>
                  <a:lnTo>
                    <a:pt x="436" y="290"/>
                  </a:lnTo>
                  <a:lnTo>
                    <a:pt x="397" y="303"/>
                  </a:lnTo>
                  <a:lnTo>
                    <a:pt x="331" y="326"/>
                  </a:lnTo>
                  <a:lnTo>
                    <a:pt x="278" y="345"/>
                  </a:lnTo>
                  <a:lnTo>
                    <a:pt x="239" y="360"/>
                  </a:lnTo>
                  <a:lnTo>
                    <a:pt x="242" y="338"/>
                  </a:lnTo>
                  <a:lnTo>
                    <a:pt x="245" y="316"/>
                  </a:lnTo>
                  <a:lnTo>
                    <a:pt x="252" y="269"/>
                  </a:lnTo>
                  <a:lnTo>
                    <a:pt x="259" y="222"/>
                  </a:lnTo>
                  <a:lnTo>
                    <a:pt x="262" y="199"/>
                  </a:lnTo>
                  <a:lnTo>
                    <a:pt x="264" y="175"/>
                  </a:lnTo>
                  <a:lnTo>
                    <a:pt x="265" y="153"/>
                  </a:lnTo>
                  <a:lnTo>
                    <a:pt x="266" y="131"/>
                  </a:lnTo>
                  <a:lnTo>
                    <a:pt x="265" y="120"/>
                  </a:lnTo>
                  <a:lnTo>
                    <a:pt x="264" y="110"/>
                  </a:lnTo>
                  <a:lnTo>
                    <a:pt x="263" y="99"/>
                  </a:lnTo>
                  <a:lnTo>
                    <a:pt x="262" y="89"/>
                  </a:lnTo>
                  <a:lnTo>
                    <a:pt x="260" y="80"/>
                  </a:lnTo>
                  <a:lnTo>
                    <a:pt x="257" y="71"/>
                  </a:lnTo>
                  <a:lnTo>
                    <a:pt x="254" y="62"/>
                  </a:lnTo>
                  <a:lnTo>
                    <a:pt x="251" y="53"/>
                  </a:lnTo>
                  <a:lnTo>
                    <a:pt x="247" y="45"/>
                  </a:lnTo>
                  <a:lnTo>
                    <a:pt x="242" y="37"/>
                  </a:lnTo>
                  <a:lnTo>
                    <a:pt x="237" y="30"/>
                  </a:lnTo>
                  <a:lnTo>
                    <a:pt x="231" y="23"/>
                  </a:lnTo>
                  <a:lnTo>
                    <a:pt x="227" y="19"/>
                  </a:lnTo>
                  <a:lnTo>
                    <a:pt x="222" y="16"/>
                  </a:lnTo>
                  <a:lnTo>
                    <a:pt x="217" y="12"/>
                  </a:lnTo>
                  <a:lnTo>
                    <a:pt x="211" y="9"/>
                  </a:lnTo>
                  <a:lnTo>
                    <a:pt x="205" y="7"/>
                  </a:lnTo>
                  <a:lnTo>
                    <a:pt x="199" y="5"/>
                  </a:lnTo>
                  <a:lnTo>
                    <a:pt x="192" y="3"/>
                  </a:lnTo>
                  <a:lnTo>
                    <a:pt x="185" y="2"/>
                  </a:lnTo>
                  <a:lnTo>
                    <a:pt x="178" y="1"/>
                  </a:lnTo>
                  <a:lnTo>
                    <a:pt x="171" y="0"/>
                  </a:lnTo>
                  <a:lnTo>
                    <a:pt x="163" y="1"/>
                  </a:lnTo>
                  <a:lnTo>
                    <a:pt x="155" y="1"/>
                  </a:lnTo>
                  <a:lnTo>
                    <a:pt x="148" y="2"/>
                  </a:lnTo>
                  <a:lnTo>
                    <a:pt x="140" y="4"/>
                  </a:lnTo>
                  <a:lnTo>
                    <a:pt x="132" y="6"/>
                  </a:lnTo>
                  <a:lnTo>
                    <a:pt x="125" y="9"/>
                  </a:lnTo>
                  <a:lnTo>
                    <a:pt x="117" y="12"/>
                  </a:lnTo>
                  <a:lnTo>
                    <a:pt x="110" y="16"/>
                  </a:lnTo>
                  <a:lnTo>
                    <a:pt x="103" y="20"/>
                  </a:lnTo>
                  <a:lnTo>
                    <a:pt x="96" y="25"/>
                  </a:lnTo>
                  <a:lnTo>
                    <a:pt x="89" y="31"/>
                  </a:lnTo>
                  <a:lnTo>
                    <a:pt x="82" y="37"/>
                  </a:lnTo>
                  <a:lnTo>
                    <a:pt x="76" y="44"/>
                  </a:lnTo>
                  <a:lnTo>
                    <a:pt x="70" y="52"/>
                  </a:lnTo>
                  <a:lnTo>
                    <a:pt x="65" y="60"/>
                  </a:lnTo>
                  <a:lnTo>
                    <a:pt x="60" y="69"/>
                  </a:lnTo>
                  <a:lnTo>
                    <a:pt x="56" y="79"/>
                  </a:lnTo>
                  <a:lnTo>
                    <a:pt x="52" y="89"/>
                  </a:lnTo>
                  <a:lnTo>
                    <a:pt x="48" y="101"/>
                  </a:lnTo>
                  <a:lnTo>
                    <a:pt x="46" y="113"/>
                  </a:lnTo>
                  <a:lnTo>
                    <a:pt x="43" y="126"/>
                  </a:lnTo>
                  <a:lnTo>
                    <a:pt x="42" y="139"/>
                  </a:lnTo>
                  <a:lnTo>
                    <a:pt x="39" y="180"/>
                  </a:lnTo>
                  <a:lnTo>
                    <a:pt x="35" y="221"/>
                  </a:lnTo>
                  <a:lnTo>
                    <a:pt x="26" y="308"/>
                  </a:lnTo>
                  <a:lnTo>
                    <a:pt x="15" y="401"/>
                  </a:lnTo>
                  <a:lnTo>
                    <a:pt x="3" y="498"/>
                  </a:lnTo>
                  <a:lnTo>
                    <a:pt x="1" y="513"/>
                  </a:lnTo>
                  <a:lnTo>
                    <a:pt x="0" y="527"/>
                  </a:lnTo>
                  <a:lnTo>
                    <a:pt x="0" y="539"/>
                  </a:lnTo>
                  <a:lnTo>
                    <a:pt x="0" y="551"/>
                  </a:lnTo>
                  <a:lnTo>
                    <a:pt x="1" y="561"/>
                  </a:lnTo>
                  <a:lnTo>
                    <a:pt x="3" y="570"/>
                  </a:lnTo>
                  <a:lnTo>
                    <a:pt x="5" y="578"/>
                  </a:lnTo>
                  <a:lnTo>
                    <a:pt x="7" y="585"/>
                  </a:lnTo>
                  <a:lnTo>
                    <a:pt x="11" y="591"/>
                  </a:lnTo>
                  <a:lnTo>
                    <a:pt x="14" y="596"/>
                  </a:lnTo>
                  <a:lnTo>
                    <a:pt x="19" y="601"/>
                  </a:lnTo>
                  <a:lnTo>
                    <a:pt x="23" y="604"/>
                  </a:lnTo>
                  <a:lnTo>
                    <a:pt x="29" y="607"/>
                  </a:lnTo>
                  <a:lnTo>
                    <a:pt x="34" y="609"/>
                  </a:lnTo>
                  <a:lnTo>
                    <a:pt x="40" y="610"/>
                  </a:lnTo>
                  <a:lnTo>
                    <a:pt x="47" y="611"/>
                  </a:lnTo>
                  <a:lnTo>
                    <a:pt x="54" y="611"/>
                  </a:lnTo>
                  <a:lnTo>
                    <a:pt x="61" y="610"/>
                  </a:lnTo>
                  <a:lnTo>
                    <a:pt x="68" y="609"/>
                  </a:lnTo>
                  <a:lnTo>
                    <a:pt x="76" y="608"/>
                  </a:lnTo>
                  <a:lnTo>
                    <a:pt x="93" y="603"/>
                  </a:lnTo>
                  <a:lnTo>
                    <a:pt x="110" y="598"/>
                  </a:lnTo>
                  <a:lnTo>
                    <a:pt x="129" y="591"/>
                  </a:lnTo>
                  <a:lnTo>
                    <a:pt x="148" y="583"/>
                  </a:lnTo>
                  <a:lnTo>
                    <a:pt x="187" y="568"/>
                  </a:lnTo>
                  <a:close/>
                </a:path>
              </a:pathLst>
            </a:custGeom>
            <a:solidFill>
              <a:srgbClr val="FF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2E6809DE-5E78-470F-ADE7-7FC29AF09F3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2599" y="6057875"/>
            <a:ext cx="6986693" cy="5461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9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8019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8_SIGMA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FC285AB-1332-41E3-AC4C-087E6DC1551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s-MX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9E09B1B-332D-4625-85BD-1926A069F7CE}"/>
              </a:ext>
            </a:extLst>
          </p:cNvPr>
          <p:cNvSpPr/>
          <p:nvPr/>
        </p:nvSpPr>
        <p:spPr>
          <a:xfrm>
            <a:off x="6604001" y="0"/>
            <a:ext cx="5588000" cy="6858000"/>
          </a:xfrm>
          <a:prstGeom prst="rect">
            <a:avLst/>
          </a:prstGeom>
          <a:solidFill>
            <a:schemeClr val="bg1">
              <a:lumMod val="95000"/>
              <a:alpha val="66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6000" rIns="96000" rtlCol="0" anchor="ctr"/>
          <a:lstStyle/>
          <a:p>
            <a:pPr lvl="0" algn="ctr" defTabSz="1219170"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8A660DA-1C2B-42EF-97AB-1753B066A194}"/>
              </a:ext>
            </a:extLst>
          </p:cNvPr>
          <p:cNvSpPr/>
          <p:nvPr/>
        </p:nvSpPr>
        <p:spPr>
          <a:xfrm>
            <a:off x="0" y="6057875"/>
            <a:ext cx="12192000" cy="547340"/>
          </a:xfrm>
          <a:prstGeom prst="rect">
            <a:avLst/>
          </a:prstGeom>
          <a:solidFill>
            <a:srgbClr val="F0523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6000" rIns="96000" rtlCol="0" anchor="ctr"/>
          <a:lstStyle/>
          <a:p>
            <a:pPr lvl="0" algn="ctr" defTabSz="1219170"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44635FF0-89A9-476D-9BD4-BE80E1AFFD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03792" y="3171326"/>
            <a:ext cx="4691968" cy="2203511"/>
          </a:xfrm>
          <a:prstGeom prst="rect">
            <a:avLst/>
          </a:prstGeom>
        </p:spPr>
        <p:txBody>
          <a:bodyPr anchor="t"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ES_tradnl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D358C194-8FA1-41A6-9D27-962677DF0F50}"/>
              </a:ext>
            </a:extLst>
          </p:cNvPr>
          <p:cNvGrpSpPr>
            <a:grpSpLocks noChangeAspect="1"/>
          </p:cNvGrpSpPr>
          <p:nvPr/>
        </p:nvGrpSpPr>
        <p:grpSpPr>
          <a:xfrm>
            <a:off x="8168144" y="1328013"/>
            <a:ext cx="2563264" cy="1457520"/>
            <a:chOff x="1541463" y="2291616"/>
            <a:chExt cx="833732" cy="47407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F109F735-93C2-4A8F-9988-36DE816BD3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632" y="2438564"/>
              <a:ext cx="665563" cy="327126"/>
            </a:xfrm>
            <a:custGeom>
              <a:avLst/>
              <a:gdLst>
                <a:gd name="T0" fmla="*/ 2937 w 3463"/>
                <a:gd name="T1" fmla="*/ 123 h 1703"/>
                <a:gd name="T2" fmla="*/ 2655 w 3463"/>
                <a:gd name="T3" fmla="*/ 476 h 1703"/>
                <a:gd name="T4" fmla="*/ 2529 w 3463"/>
                <a:gd name="T5" fmla="*/ 752 h 1703"/>
                <a:gd name="T6" fmla="*/ 2571 w 3463"/>
                <a:gd name="T7" fmla="*/ 266 h 1703"/>
                <a:gd name="T8" fmla="*/ 2529 w 3463"/>
                <a:gd name="T9" fmla="*/ 44 h 1703"/>
                <a:gd name="T10" fmla="*/ 2296 w 3463"/>
                <a:gd name="T11" fmla="*/ 64 h 1703"/>
                <a:gd name="T12" fmla="*/ 2102 w 3463"/>
                <a:gd name="T13" fmla="*/ 101 h 1703"/>
                <a:gd name="T14" fmla="*/ 1962 w 3463"/>
                <a:gd name="T15" fmla="*/ 15 h 1703"/>
                <a:gd name="T16" fmla="*/ 1673 w 3463"/>
                <a:gd name="T17" fmla="*/ 210 h 1703"/>
                <a:gd name="T18" fmla="*/ 1605 w 3463"/>
                <a:gd name="T19" fmla="*/ 37 h 1703"/>
                <a:gd name="T20" fmla="*/ 1447 w 3463"/>
                <a:gd name="T21" fmla="*/ 60 h 1703"/>
                <a:gd name="T22" fmla="*/ 1235 w 3463"/>
                <a:gd name="T23" fmla="*/ 79 h 1703"/>
                <a:gd name="T24" fmla="*/ 1019 w 3463"/>
                <a:gd name="T25" fmla="*/ 31 h 1703"/>
                <a:gd name="T26" fmla="*/ 703 w 3463"/>
                <a:gd name="T27" fmla="*/ 139 h 1703"/>
                <a:gd name="T28" fmla="*/ 437 w 3463"/>
                <a:gd name="T29" fmla="*/ 471 h 1703"/>
                <a:gd name="T30" fmla="*/ 271 w 3463"/>
                <a:gd name="T31" fmla="*/ 734 h 1703"/>
                <a:gd name="T32" fmla="*/ 307 w 3463"/>
                <a:gd name="T33" fmla="*/ 221 h 1703"/>
                <a:gd name="T34" fmla="*/ 261 w 3463"/>
                <a:gd name="T35" fmla="*/ 17 h 1703"/>
                <a:gd name="T36" fmla="*/ 105 w 3463"/>
                <a:gd name="T37" fmla="*/ 30 h 1703"/>
                <a:gd name="T38" fmla="*/ 21 w 3463"/>
                <a:gd name="T39" fmla="*/ 927 h 1703"/>
                <a:gd name="T40" fmla="*/ 185 w 3463"/>
                <a:gd name="T41" fmla="*/ 961 h 1703"/>
                <a:gd name="T42" fmla="*/ 393 w 3463"/>
                <a:gd name="T43" fmla="*/ 839 h 1703"/>
                <a:gd name="T44" fmla="*/ 223 w 3463"/>
                <a:gd name="T45" fmla="*/ 1153 h 1703"/>
                <a:gd name="T46" fmla="*/ 140 w 3463"/>
                <a:gd name="T47" fmla="*/ 1447 h 1703"/>
                <a:gd name="T48" fmla="*/ 283 w 3463"/>
                <a:gd name="T49" fmla="*/ 1659 h 1703"/>
                <a:gd name="T50" fmla="*/ 629 w 3463"/>
                <a:gd name="T51" fmla="*/ 1676 h 1703"/>
                <a:gd name="T52" fmla="*/ 963 w 3463"/>
                <a:gd name="T53" fmla="*/ 1455 h 1703"/>
                <a:gd name="T54" fmla="*/ 1128 w 3463"/>
                <a:gd name="T55" fmla="*/ 1112 h 1703"/>
                <a:gd name="T56" fmla="*/ 1403 w 3463"/>
                <a:gd name="T57" fmla="*/ 251 h 1703"/>
                <a:gd name="T58" fmla="*/ 1401 w 3463"/>
                <a:gd name="T59" fmla="*/ 955 h 1703"/>
                <a:gd name="T60" fmla="*/ 1556 w 3463"/>
                <a:gd name="T61" fmla="*/ 963 h 1703"/>
                <a:gd name="T62" fmla="*/ 1633 w 3463"/>
                <a:gd name="T63" fmla="*/ 552 h 1703"/>
                <a:gd name="T64" fmla="*/ 1846 w 3463"/>
                <a:gd name="T65" fmla="*/ 233 h 1703"/>
                <a:gd name="T66" fmla="*/ 1874 w 3463"/>
                <a:gd name="T67" fmla="*/ 338 h 1703"/>
                <a:gd name="T68" fmla="*/ 1867 w 3463"/>
                <a:gd name="T69" fmla="*/ 962 h 1703"/>
                <a:gd name="T70" fmla="*/ 2040 w 3463"/>
                <a:gd name="T71" fmla="*/ 947 h 1703"/>
                <a:gd name="T72" fmla="*/ 2125 w 3463"/>
                <a:gd name="T73" fmla="*/ 476 h 1703"/>
                <a:gd name="T74" fmla="*/ 2330 w 3463"/>
                <a:gd name="T75" fmla="*/ 229 h 1703"/>
                <a:gd name="T76" fmla="*/ 2278 w 3463"/>
                <a:gd name="T77" fmla="*/ 756 h 1703"/>
                <a:gd name="T78" fmla="*/ 2335 w 3463"/>
                <a:gd name="T79" fmla="*/ 975 h 1703"/>
                <a:gd name="T80" fmla="*/ 2562 w 3463"/>
                <a:gd name="T81" fmla="*/ 909 h 1703"/>
                <a:gd name="T82" fmla="*/ 2691 w 3463"/>
                <a:gd name="T83" fmla="*/ 966 h 1703"/>
                <a:gd name="T84" fmla="*/ 2940 w 3463"/>
                <a:gd name="T85" fmla="*/ 936 h 1703"/>
                <a:gd name="T86" fmla="*/ 3135 w 3463"/>
                <a:gd name="T87" fmla="*/ 907 h 1703"/>
                <a:gd name="T88" fmla="*/ 3243 w 3463"/>
                <a:gd name="T89" fmla="*/ 991 h 1703"/>
                <a:gd name="T90" fmla="*/ 3351 w 3463"/>
                <a:gd name="T91" fmla="*/ 889 h 1703"/>
                <a:gd name="T92" fmla="*/ 3452 w 3463"/>
                <a:gd name="T93" fmla="*/ 82 h 1703"/>
                <a:gd name="T94" fmla="*/ 917 w 3463"/>
                <a:gd name="T95" fmla="*/ 950 h 1703"/>
                <a:gd name="T96" fmla="*/ 791 w 3463"/>
                <a:gd name="T97" fmla="*/ 1460 h 1703"/>
                <a:gd name="T98" fmla="*/ 565 w 3463"/>
                <a:gd name="T99" fmla="*/ 1554 h 1703"/>
                <a:gd name="T100" fmla="*/ 373 w 3463"/>
                <a:gd name="T101" fmla="*/ 1411 h 1703"/>
                <a:gd name="T102" fmla="*/ 461 w 3463"/>
                <a:gd name="T103" fmla="*/ 1066 h 1703"/>
                <a:gd name="T104" fmla="*/ 738 w 3463"/>
                <a:gd name="T105" fmla="*/ 916 h 1703"/>
                <a:gd name="T106" fmla="*/ 950 w 3463"/>
                <a:gd name="T107" fmla="*/ 445 h 1703"/>
                <a:gd name="T108" fmla="*/ 703 w 3463"/>
                <a:gd name="T109" fmla="*/ 743 h 1703"/>
                <a:gd name="T110" fmla="*/ 630 w 3463"/>
                <a:gd name="T111" fmla="*/ 641 h 1703"/>
                <a:gd name="T112" fmla="*/ 748 w 3463"/>
                <a:gd name="T113" fmla="*/ 291 h 1703"/>
                <a:gd name="T114" fmla="*/ 998 w 3463"/>
                <a:gd name="T115" fmla="*/ 229 h 1703"/>
                <a:gd name="T116" fmla="*/ 3056 w 3463"/>
                <a:gd name="T117" fmla="*/ 628 h 1703"/>
                <a:gd name="T118" fmla="*/ 2862 w 3463"/>
                <a:gd name="T119" fmla="*/ 759 h 1703"/>
                <a:gd name="T120" fmla="*/ 2896 w 3463"/>
                <a:gd name="T121" fmla="*/ 416 h 1703"/>
                <a:gd name="T122" fmla="*/ 3071 w 3463"/>
                <a:gd name="T123" fmla="*/ 214 h 1703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463" h="1703">
                  <a:moveTo>
                    <a:pt x="3244" y="27"/>
                  </a:moveTo>
                  <a:lnTo>
                    <a:pt x="3228" y="28"/>
                  </a:lnTo>
                  <a:lnTo>
                    <a:pt x="3212" y="29"/>
                  </a:lnTo>
                  <a:lnTo>
                    <a:pt x="3197" y="30"/>
                  </a:lnTo>
                  <a:lnTo>
                    <a:pt x="3181" y="32"/>
                  </a:lnTo>
                  <a:lnTo>
                    <a:pt x="3166" y="34"/>
                  </a:lnTo>
                  <a:lnTo>
                    <a:pt x="3151" y="37"/>
                  </a:lnTo>
                  <a:lnTo>
                    <a:pt x="3135" y="40"/>
                  </a:lnTo>
                  <a:lnTo>
                    <a:pt x="3120" y="43"/>
                  </a:lnTo>
                  <a:lnTo>
                    <a:pt x="3106" y="47"/>
                  </a:lnTo>
                  <a:lnTo>
                    <a:pt x="3091" y="51"/>
                  </a:lnTo>
                  <a:lnTo>
                    <a:pt x="3076" y="55"/>
                  </a:lnTo>
                  <a:lnTo>
                    <a:pt x="3062" y="60"/>
                  </a:lnTo>
                  <a:lnTo>
                    <a:pt x="3033" y="71"/>
                  </a:lnTo>
                  <a:lnTo>
                    <a:pt x="3019" y="78"/>
                  </a:lnTo>
                  <a:lnTo>
                    <a:pt x="3005" y="84"/>
                  </a:lnTo>
                  <a:lnTo>
                    <a:pt x="2991" y="91"/>
                  </a:lnTo>
                  <a:lnTo>
                    <a:pt x="2977" y="98"/>
                  </a:lnTo>
                  <a:lnTo>
                    <a:pt x="2950" y="114"/>
                  </a:lnTo>
                  <a:lnTo>
                    <a:pt x="2937" y="123"/>
                  </a:lnTo>
                  <a:lnTo>
                    <a:pt x="2924" y="132"/>
                  </a:lnTo>
                  <a:lnTo>
                    <a:pt x="2911" y="141"/>
                  </a:lnTo>
                  <a:lnTo>
                    <a:pt x="2898" y="150"/>
                  </a:lnTo>
                  <a:lnTo>
                    <a:pt x="2885" y="160"/>
                  </a:lnTo>
                  <a:lnTo>
                    <a:pt x="2873" y="171"/>
                  </a:lnTo>
                  <a:lnTo>
                    <a:pt x="2848" y="193"/>
                  </a:lnTo>
                  <a:lnTo>
                    <a:pt x="2836" y="205"/>
                  </a:lnTo>
                  <a:lnTo>
                    <a:pt x="2824" y="217"/>
                  </a:lnTo>
                  <a:lnTo>
                    <a:pt x="2800" y="242"/>
                  </a:lnTo>
                  <a:lnTo>
                    <a:pt x="2783" y="261"/>
                  </a:lnTo>
                  <a:lnTo>
                    <a:pt x="2767" y="281"/>
                  </a:lnTo>
                  <a:lnTo>
                    <a:pt x="2751" y="302"/>
                  </a:lnTo>
                  <a:lnTo>
                    <a:pt x="2737" y="322"/>
                  </a:lnTo>
                  <a:lnTo>
                    <a:pt x="2722" y="343"/>
                  </a:lnTo>
                  <a:lnTo>
                    <a:pt x="2709" y="364"/>
                  </a:lnTo>
                  <a:lnTo>
                    <a:pt x="2696" y="386"/>
                  </a:lnTo>
                  <a:lnTo>
                    <a:pt x="2685" y="408"/>
                  </a:lnTo>
                  <a:lnTo>
                    <a:pt x="2674" y="430"/>
                  </a:lnTo>
                  <a:lnTo>
                    <a:pt x="2664" y="453"/>
                  </a:lnTo>
                  <a:lnTo>
                    <a:pt x="2655" y="476"/>
                  </a:lnTo>
                  <a:lnTo>
                    <a:pt x="2647" y="499"/>
                  </a:lnTo>
                  <a:lnTo>
                    <a:pt x="2643" y="511"/>
                  </a:lnTo>
                  <a:lnTo>
                    <a:pt x="2639" y="523"/>
                  </a:lnTo>
                  <a:lnTo>
                    <a:pt x="2632" y="547"/>
                  </a:lnTo>
                  <a:lnTo>
                    <a:pt x="2627" y="571"/>
                  </a:lnTo>
                  <a:lnTo>
                    <a:pt x="2621" y="596"/>
                  </a:lnTo>
                  <a:lnTo>
                    <a:pt x="2618" y="608"/>
                  </a:lnTo>
                  <a:lnTo>
                    <a:pt x="2612" y="625"/>
                  </a:lnTo>
                  <a:lnTo>
                    <a:pt x="2604" y="645"/>
                  </a:lnTo>
                  <a:lnTo>
                    <a:pt x="2600" y="656"/>
                  </a:lnTo>
                  <a:lnTo>
                    <a:pt x="2594" y="667"/>
                  </a:lnTo>
                  <a:lnTo>
                    <a:pt x="2588" y="678"/>
                  </a:lnTo>
                  <a:lnTo>
                    <a:pt x="2582" y="690"/>
                  </a:lnTo>
                  <a:lnTo>
                    <a:pt x="2575" y="701"/>
                  </a:lnTo>
                  <a:lnTo>
                    <a:pt x="2567" y="712"/>
                  </a:lnTo>
                  <a:lnTo>
                    <a:pt x="2558" y="723"/>
                  </a:lnTo>
                  <a:lnTo>
                    <a:pt x="2549" y="734"/>
                  </a:lnTo>
                  <a:lnTo>
                    <a:pt x="2544" y="739"/>
                  </a:lnTo>
                  <a:lnTo>
                    <a:pt x="2539" y="743"/>
                  </a:lnTo>
                  <a:lnTo>
                    <a:pt x="2529" y="752"/>
                  </a:lnTo>
                  <a:lnTo>
                    <a:pt x="2525" y="755"/>
                  </a:lnTo>
                  <a:lnTo>
                    <a:pt x="2522" y="757"/>
                  </a:lnTo>
                  <a:lnTo>
                    <a:pt x="2520" y="758"/>
                  </a:lnTo>
                  <a:lnTo>
                    <a:pt x="2517" y="759"/>
                  </a:lnTo>
                  <a:lnTo>
                    <a:pt x="2515" y="759"/>
                  </a:lnTo>
                  <a:lnTo>
                    <a:pt x="2513" y="759"/>
                  </a:lnTo>
                  <a:lnTo>
                    <a:pt x="2512" y="759"/>
                  </a:lnTo>
                  <a:lnTo>
                    <a:pt x="2510" y="758"/>
                  </a:lnTo>
                  <a:lnTo>
                    <a:pt x="2508" y="756"/>
                  </a:lnTo>
                  <a:lnTo>
                    <a:pt x="2507" y="754"/>
                  </a:lnTo>
                  <a:lnTo>
                    <a:pt x="2506" y="751"/>
                  </a:lnTo>
                  <a:lnTo>
                    <a:pt x="2506" y="748"/>
                  </a:lnTo>
                  <a:lnTo>
                    <a:pt x="2505" y="738"/>
                  </a:lnTo>
                  <a:lnTo>
                    <a:pt x="2506" y="729"/>
                  </a:lnTo>
                  <a:lnTo>
                    <a:pt x="2509" y="711"/>
                  </a:lnTo>
                  <a:lnTo>
                    <a:pt x="2516" y="658"/>
                  </a:lnTo>
                  <a:lnTo>
                    <a:pt x="2537" y="508"/>
                  </a:lnTo>
                  <a:lnTo>
                    <a:pt x="2566" y="300"/>
                  </a:lnTo>
                  <a:lnTo>
                    <a:pt x="2569" y="283"/>
                  </a:lnTo>
                  <a:lnTo>
                    <a:pt x="2571" y="266"/>
                  </a:lnTo>
                  <a:lnTo>
                    <a:pt x="2574" y="234"/>
                  </a:lnTo>
                  <a:lnTo>
                    <a:pt x="2576" y="218"/>
                  </a:lnTo>
                  <a:lnTo>
                    <a:pt x="2576" y="204"/>
                  </a:lnTo>
                  <a:lnTo>
                    <a:pt x="2577" y="176"/>
                  </a:lnTo>
                  <a:lnTo>
                    <a:pt x="2577" y="163"/>
                  </a:lnTo>
                  <a:lnTo>
                    <a:pt x="2576" y="150"/>
                  </a:lnTo>
                  <a:lnTo>
                    <a:pt x="2575" y="138"/>
                  </a:lnTo>
                  <a:lnTo>
                    <a:pt x="2573" y="127"/>
                  </a:lnTo>
                  <a:lnTo>
                    <a:pt x="2571" y="117"/>
                  </a:lnTo>
                  <a:lnTo>
                    <a:pt x="2568" y="107"/>
                  </a:lnTo>
                  <a:lnTo>
                    <a:pt x="2565" y="98"/>
                  </a:lnTo>
                  <a:lnTo>
                    <a:pt x="2562" y="89"/>
                  </a:lnTo>
                  <a:lnTo>
                    <a:pt x="2558" y="81"/>
                  </a:lnTo>
                  <a:lnTo>
                    <a:pt x="2554" y="74"/>
                  </a:lnTo>
                  <a:lnTo>
                    <a:pt x="2551" y="70"/>
                  </a:lnTo>
                  <a:lnTo>
                    <a:pt x="2549" y="67"/>
                  </a:lnTo>
                  <a:lnTo>
                    <a:pt x="2545" y="60"/>
                  </a:lnTo>
                  <a:lnTo>
                    <a:pt x="2540" y="55"/>
                  </a:lnTo>
                  <a:lnTo>
                    <a:pt x="2535" y="49"/>
                  </a:lnTo>
                  <a:lnTo>
                    <a:pt x="2529" y="44"/>
                  </a:lnTo>
                  <a:lnTo>
                    <a:pt x="2524" y="40"/>
                  </a:lnTo>
                  <a:lnTo>
                    <a:pt x="2513" y="33"/>
                  </a:lnTo>
                  <a:lnTo>
                    <a:pt x="2507" y="29"/>
                  </a:lnTo>
                  <a:lnTo>
                    <a:pt x="2502" y="27"/>
                  </a:lnTo>
                  <a:lnTo>
                    <a:pt x="2490" y="22"/>
                  </a:lnTo>
                  <a:lnTo>
                    <a:pt x="2479" y="19"/>
                  </a:lnTo>
                  <a:lnTo>
                    <a:pt x="2468" y="16"/>
                  </a:lnTo>
                  <a:lnTo>
                    <a:pt x="2458" y="15"/>
                  </a:lnTo>
                  <a:lnTo>
                    <a:pt x="2448" y="14"/>
                  </a:lnTo>
                  <a:lnTo>
                    <a:pt x="2440" y="14"/>
                  </a:lnTo>
                  <a:lnTo>
                    <a:pt x="2426" y="14"/>
                  </a:lnTo>
                  <a:lnTo>
                    <a:pt x="2412" y="16"/>
                  </a:lnTo>
                  <a:lnTo>
                    <a:pt x="2398" y="18"/>
                  </a:lnTo>
                  <a:lnTo>
                    <a:pt x="2384" y="22"/>
                  </a:lnTo>
                  <a:lnTo>
                    <a:pt x="2370" y="26"/>
                  </a:lnTo>
                  <a:lnTo>
                    <a:pt x="2355" y="32"/>
                  </a:lnTo>
                  <a:lnTo>
                    <a:pt x="2340" y="38"/>
                  </a:lnTo>
                  <a:lnTo>
                    <a:pt x="2326" y="46"/>
                  </a:lnTo>
                  <a:lnTo>
                    <a:pt x="2311" y="54"/>
                  </a:lnTo>
                  <a:lnTo>
                    <a:pt x="2296" y="64"/>
                  </a:lnTo>
                  <a:lnTo>
                    <a:pt x="2280" y="74"/>
                  </a:lnTo>
                  <a:lnTo>
                    <a:pt x="2265" y="86"/>
                  </a:lnTo>
                  <a:lnTo>
                    <a:pt x="2249" y="98"/>
                  </a:lnTo>
                  <a:lnTo>
                    <a:pt x="2234" y="112"/>
                  </a:lnTo>
                  <a:lnTo>
                    <a:pt x="2218" y="126"/>
                  </a:lnTo>
                  <a:lnTo>
                    <a:pt x="2202" y="142"/>
                  </a:lnTo>
                  <a:lnTo>
                    <a:pt x="2189" y="155"/>
                  </a:lnTo>
                  <a:lnTo>
                    <a:pt x="2177" y="168"/>
                  </a:lnTo>
                  <a:lnTo>
                    <a:pt x="2165" y="181"/>
                  </a:lnTo>
                  <a:lnTo>
                    <a:pt x="2153" y="195"/>
                  </a:lnTo>
                  <a:lnTo>
                    <a:pt x="2130" y="224"/>
                  </a:lnTo>
                  <a:lnTo>
                    <a:pt x="2108" y="253"/>
                  </a:lnTo>
                  <a:lnTo>
                    <a:pt x="2113" y="182"/>
                  </a:lnTo>
                  <a:lnTo>
                    <a:pt x="2113" y="168"/>
                  </a:lnTo>
                  <a:lnTo>
                    <a:pt x="2112" y="155"/>
                  </a:lnTo>
                  <a:lnTo>
                    <a:pt x="2111" y="143"/>
                  </a:lnTo>
                  <a:lnTo>
                    <a:pt x="2109" y="131"/>
                  </a:lnTo>
                  <a:lnTo>
                    <a:pt x="2107" y="120"/>
                  </a:lnTo>
                  <a:lnTo>
                    <a:pt x="2105" y="110"/>
                  </a:lnTo>
                  <a:lnTo>
                    <a:pt x="2102" y="101"/>
                  </a:lnTo>
                  <a:lnTo>
                    <a:pt x="2098" y="92"/>
                  </a:lnTo>
                  <a:lnTo>
                    <a:pt x="2095" y="83"/>
                  </a:lnTo>
                  <a:lnTo>
                    <a:pt x="2091" y="76"/>
                  </a:lnTo>
                  <a:lnTo>
                    <a:pt x="2087" y="69"/>
                  </a:lnTo>
                  <a:lnTo>
                    <a:pt x="2082" y="62"/>
                  </a:lnTo>
                  <a:lnTo>
                    <a:pt x="2078" y="56"/>
                  </a:lnTo>
                  <a:lnTo>
                    <a:pt x="2073" y="51"/>
                  </a:lnTo>
                  <a:lnTo>
                    <a:pt x="2068" y="46"/>
                  </a:lnTo>
                  <a:lnTo>
                    <a:pt x="2062" y="41"/>
                  </a:lnTo>
                  <a:lnTo>
                    <a:pt x="2057" y="37"/>
                  </a:lnTo>
                  <a:lnTo>
                    <a:pt x="2052" y="33"/>
                  </a:lnTo>
                  <a:lnTo>
                    <a:pt x="2041" y="27"/>
                  </a:lnTo>
                  <a:lnTo>
                    <a:pt x="2035" y="24"/>
                  </a:lnTo>
                  <a:lnTo>
                    <a:pt x="2030" y="22"/>
                  </a:lnTo>
                  <a:lnTo>
                    <a:pt x="2019" y="19"/>
                  </a:lnTo>
                  <a:lnTo>
                    <a:pt x="2009" y="16"/>
                  </a:lnTo>
                  <a:lnTo>
                    <a:pt x="1999" y="15"/>
                  </a:lnTo>
                  <a:lnTo>
                    <a:pt x="1990" y="14"/>
                  </a:lnTo>
                  <a:lnTo>
                    <a:pt x="1982" y="14"/>
                  </a:lnTo>
                  <a:lnTo>
                    <a:pt x="1962" y="15"/>
                  </a:lnTo>
                  <a:lnTo>
                    <a:pt x="1952" y="16"/>
                  </a:lnTo>
                  <a:lnTo>
                    <a:pt x="1941" y="17"/>
                  </a:lnTo>
                  <a:lnTo>
                    <a:pt x="1931" y="19"/>
                  </a:lnTo>
                  <a:lnTo>
                    <a:pt x="1921" y="22"/>
                  </a:lnTo>
                  <a:lnTo>
                    <a:pt x="1901" y="28"/>
                  </a:lnTo>
                  <a:lnTo>
                    <a:pt x="1891" y="31"/>
                  </a:lnTo>
                  <a:lnTo>
                    <a:pt x="1880" y="36"/>
                  </a:lnTo>
                  <a:lnTo>
                    <a:pt x="1870" y="40"/>
                  </a:lnTo>
                  <a:lnTo>
                    <a:pt x="1860" y="45"/>
                  </a:lnTo>
                  <a:lnTo>
                    <a:pt x="1839" y="57"/>
                  </a:lnTo>
                  <a:lnTo>
                    <a:pt x="1819" y="70"/>
                  </a:lnTo>
                  <a:lnTo>
                    <a:pt x="1798" y="85"/>
                  </a:lnTo>
                  <a:lnTo>
                    <a:pt x="1778" y="101"/>
                  </a:lnTo>
                  <a:lnTo>
                    <a:pt x="1767" y="110"/>
                  </a:lnTo>
                  <a:lnTo>
                    <a:pt x="1757" y="119"/>
                  </a:lnTo>
                  <a:lnTo>
                    <a:pt x="1746" y="129"/>
                  </a:lnTo>
                  <a:lnTo>
                    <a:pt x="1736" y="140"/>
                  </a:lnTo>
                  <a:lnTo>
                    <a:pt x="1715" y="161"/>
                  </a:lnTo>
                  <a:lnTo>
                    <a:pt x="1694" y="185"/>
                  </a:lnTo>
                  <a:lnTo>
                    <a:pt x="1673" y="210"/>
                  </a:lnTo>
                  <a:lnTo>
                    <a:pt x="1662" y="224"/>
                  </a:lnTo>
                  <a:lnTo>
                    <a:pt x="1651" y="238"/>
                  </a:lnTo>
                  <a:lnTo>
                    <a:pt x="1652" y="232"/>
                  </a:lnTo>
                  <a:lnTo>
                    <a:pt x="1657" y="160"/>
                  </a:lnTo>
                  <a:lnTo>
                    <a:pt x="1656" y="148"/>
                  </a:lnTo>
                  <a:lnTo>
                    <a:pt x="1656" y="136"/>
                  </a:lnTo>
                  <a:lnTo>
                    <a:pt x="1654" y="125"/>
                  </a:lnTo>
                  <a:lnTo>
                    <a:pt x="1653" y="115"/>
                  </a:lnTo>
                  <a:lnTo>
                    <a:pt x="1650" y="105"/>
                  </a:lnTo>
                  <a:lnTo>
                    <a:pt x="1648" y="96"/>
                  </a:lnTo>
                  <a:lnTo>
                    <a:pt x="1645" y="88"/>
                  </a:lnTo>
                  <a:lnTo>
                    <a:pt x="1641" y="80"/>
                  </a:lnTo>
                  <a:lnTo>
                    <a:pt x="1638" y="73"/>
                  </a:lnTo>
                  <a:lnTo>
                    <a:pt x="1634" y="66"/>
                  </a:lnTo>
                  <a:lnTo>
                    <a:pt x="1629" y="60"/>
                  </a:lnTo>
                  <a:lnTo>
                    <a:pt x="1625" y="55"/>
                  </a:lnTo>
                  <a:lnTo>
                    <a:pt x="1620" y="49"/>
                  </a:lnTo>
                  <a:lnTo>
                    <a:pt x="1615" y="45"/>
                  </a:lnTo>
                  <a:lnTo>
                    <a:pt x="1610" y="41"/>
                  </a:lnTo>
                  <a:lnTo>
                    <a:pt x="1605" y="37"/>
                  </a:lnTo>
                  <a:lnTo>
                    <a:pt x="1600" y="33"/>
                  </a:lnTo>
                  <a:lnTo>
                    <a:pt x="1595" y="30"/>
                  </a:lnTo>
                  <a:lnTo>
                    <a:pt x="1589" y="28"/>
                  </a:lnTo>
                  <a:lnTo>
                    <a:pt x="1584" y="25"/>
                  </a:lnTo>
                  <a:lnTo>
                    <a:pt x="1574" y="22"/>
                  </a:lnTo>
                  <a:lnTo>
                    <a:pt x="1568" y="20"/>
                  </a:lnTo>
                  <a:lnTo>
                    <a:pt x="1563" y="19"/>
                  </a:lnTo>
                  <a:lnTo>
                    <a:pt x="1554" y="17"/>
                  </a:lnTo>
                  <a:lnTo>
                    <a:pt x="1545" y="17"/>
                  </a:lnTo>
                  <a:lnTo>
                    <a:pt x="1531" y="16"/>
                  </a:lnTo>
                  <a:lnTo>
                    <a:pt x="1526" y="17"/>
                  </a:lnTo>
                  <a:lnTo>
                    <a:pt x="1520" y="19"/>
                  </a:lnTo>
                  <a:lnTo>
                    <a:pt x="1514" y="21"/>
                  </a:lnTo>
                  <a:lnTo>
                    <a:pt x="1507" y="24"/>
                  </a:lnTo>
                  <a:lnTo>
                    <a:pt x="1500" y="27"/>
                  </a:lnTo>
                  <a:lnTo>
                    <a:pt x="1492" y="31"/>
                  </a:lnTo>
                  <a:lnTo>
                    <a:pt x="1475" y="41"/>
                  </a:lnTo>
                  <a:lnTo>
                    <a:pt x="1466" y="47"/>
                  </a:lnTo>
                  <a:lnTo>
                    <a:pt x="1456" y="53"/>
                  </a:lnTo>
                  <a:lnTo>
                    <a:pt x="1447" y="60"/>
                  </a:lnTo>
                  <a:lnTo>
                    <a:pt x="1436" y="67"/>
                  </a:lnTo>
                  <a:lnTo>
                    <a:pt x="1416" y="83"/>
                  </a:lnTo>
                  <a:lnTo>
                    <a:pt x="1394" y="100"/>
                  </a:lnTo>
                  <a:lnTo>
                    <a:pt x="1372" y="118"/>
                  </a:lnTo>
                  <a:lnTo>
                    <a:pt x="1349" y="137"/>
                  </a:lnTo>
                  <a:lnTo>
                    <a:pt x="1305" y="177"/>
                  </a:lnTo>
                  <a:lnTo>
                    <a:pt x="1282" y="197"/>
                  </a:lnTo>
                  <a:lnTo>
                    <a:pt x="1261" y="217"/>
                  </a:lnTo>
                  <a:lnTo>
                    <a:pt x="1241" y="236"/>
                  </a:lnTo>
                  <a:lnTo>
                    <a:pt x="1222" y="255"/>
                  </a:lnTo>
                  <a:lnTo>
                    <a:pt x="1239" y="130"/>
                  </a:lnTo>
                  <a:lnTo>
                    <a:pt x="1240" y="123"/>
                  </a:lnTo>
                  <a:lnTo>
                    <a:pt x="1241" y="117"/>
                  </a:lnTo>
                  <a:lnTo>
                    <a:pt x="1241" y="111"/>
                  </a:lnTo>
                  <a:lnTo>
                    <a:pt x="1241" y="105"/>
                  </a:lnTo>
                  <a:lnTo>
                    <a:pt x="1241" y="99"/>
                  </a:lnTo>
                  <a:lnTo>
                    <a:pt x="1240" y="94"/>
                  </a:lnTo>
                  <a:lnTo>
                    <a:pt x="1239" y="89"/>
                  </a:lnTo>
                  <a:lnTo>
                    <a:pt x="1237" y="84"/>
                  </a:lnTo>
                  <a:lnTo>
                    <a:pt x="1235" y="79"/>
                  </a:lnTo>
                  <a:lnTo>
                    <a:pt x="1233" y="75"/>
                  </a:lnTo>
                  <a:lnTo>
                    <a:pt x="1230" y="70"/>
                  </a:lnTo>
                  <a:lnTo>
                    <a:pt x="1226" y="66"/>
                  </a:lnTo>
                  <a:lnTo>
                    <a:pt x="1223" y="62"/>
                  </a:lnTo>
                  <a:lnTo>
                    <a:pt x="1218" y="59"/>
                  </a:lnTo>
                  <a:lnTo>
                    <a:pt x="1213" y="55"/>
                  </a:lnTo>
                  <a:lnTo>
                    <a:pt x="1208" y="52"/>
                  </a:lnTo>
                  <a:lnTo>
                    <a:pt x="1196" y="47"/>
                  </a:lnTo>
                  <a:lnTo>
                    <a:pt x="1190" y="44"/>
                  </a:lnTo>
                  <a:lnTo>
                    <a:pt x="1182" y="42"/>
                  </a:lnTo>
                  <a:lnTo>
                    <a:pt x="1166" y="38"/>
                  </a:lnTo>
                  <a:lnTo>
                    <a:pt x="1148" y="35"/>
                  </a:lnTo>
                  <a:lnTo>
                    <a:pt x="1128" y="32"/>
                  </a:lnTo>
                  <a:lnTo>
                    <a:pt x="1117" y="31"/>
                  </a:lnTo>
                  <a:lnTo>
                    <a:pt x="1105" y="31"/>
                  </a:lnTo>
                  <a:lnTo>
                    <a:pt x="1093" y="30"/>
                  </a:lnTo>
                  <a:lnTo>
                    <a:pt x="1080" y="30"/>
                  </a:lnTo>
                  <a:lnTo>
                    <a:pt x="1052" y="30"/>
                  </a:lnTo>
                  <a:lnTo>
                    <a:pt x="1036" y="30"/>
                  </a:lnTo>
                  <a:lnTo>
                    <a:pt x="1019" y="31"/>
                  </a:lnTo>
                  <a:lnTo>
                    <a:pt x="1003" y="32"/>
                  </a:lnTo>
                  <a:lnTo>
                    <a:pt x="987" y="33"/>
                  </a:lnTo>
                  <a:lnTo>
                    <a:pt x="971" y="35"/>
                  </a:lnTo>
                  <a:lnTo>
                    <a:pt x="955" y="38"/>
                  </a:lnTo>
                  <a:lnTo>
                    <a:pt x="923" y="44"/>
                  </a:lnTo>
                  <a:lnTo>
                    <a:pt x="908" y="47"/>
                  </a:lnTo>
                  <a:lnTo>
                    <a:pt x="892" y="51"/>
                  </a:lnTo>
                  <a:lnTo>
                    <a:pt x="877" y="55"/>
                  </a:lnTo>
                  <a:lnTo>
                    <a:pt x="862" y="60"/>
                  </a:lnTo>
                  <a:lnTo>
                    <a:pt x="847" y="65"/>
                  </a:lnTo>
                  <a:lnTo>
                    <a:pt x="832" y="71"/>
                  </a:lnTo>
                  <a:lnTo>
                    <a:pt x="817" y="77"/>
                  </a:lnTo>
                  <a:lnTo>
                    <a:pt x="802" y="83"/>
                  </a:lnTo>
                  <a:lnTo>
                    <a:pt x="788" y="90"/>
                  </a:lnTo>
                  <a:lnTo>
                    <a:pt x="773" y="97"/>
                  </a:lnTo>
                  <a:lnTo>
                    <a:pt x="759" y="105"/>
                  </a:lnTo>
                  <a:lnTo>
                    <a:pt x="745" y="113"/>
                  </a:lnTo>
                  <a:lnTo>
                    <a:pt x="731" y="121"/>
                  </a:lnTo>
                  <a:lnTo>
                    <a:pt x="717" y="130"/>
                  </a:lnTo>
                  <a:lnTo>
                    <a:pt x="703" y="139"/>
                  </a:lnTo>
                  <a:lnTo>
                    <a:pt x="690" y="149"/>
                  </a:lnTo>
                  <a:lnTo>
                    <a:pt x="676" y="159"/>
                  </a:lnTo>
                  <a:lnTo>
                    <a:pt x="663" y="170"/>
                  </a:lnTo>
                  <a:lnTo>
                    <a:pt x="637" y="192"/>
                  </a:lnTo>
                  <a:lnTo>
                    <a:pt x="624" y="204"/>
                  </a:lnTo>
                  <a:lnTo>
                    <a:pt x="611" y="216"/>
                  </a:lnTo>
                  <a:lnTo>
                    <a:pt x="598" y="228"/>
                  </a:lnTo>
                  <a:lnTo>
                    <a:pt x="586" y="241"/>
                  </a:lnTo>
                  <a:lnTo>
                    <a:pt x="570" y="259"/>
                  </a:lnTo>
                  <a:lnTo>
                    <a:pt x="555" y="277"/>
                  </a:lnTo>
                  <a:lnTo>
                    <a:pt x="540" y="295"/>
                  </a:lnTo>
                  <a:lnTo>
                    <a:pt x="526" y="314"/>
                  </a:lnTo>
                  <a:lnTo>
                    <a:pt x="512" y="332"/>
                  </a:lnTo>
                  <a:lnTo>
                    <a:pt x="500" y="351"/>
                  </a:lnTo>
                  <a:lnTo>
                    <a:pt x="488" y="371"/>
                  </a:lnTo>
                  <a:lnTo>
                    <a:pt x="476" y="390"/>
                  </a:lnTo>
                  <a:lnTo>
                    <a:pt x="465" y="410"/>
                  </a:lnTo>
                  <a:lnTo>
                    <a:pt x="455" y="430"/>
                  </a:lnTo>
                  <a:lnTo>
                    <a:pt x="446" y="451"/>
                  </a:lnTo>
                  <a:lnTo>
                    <a:pt x="437" y="471"/>
                  </a:lnTo>
                  <a:lnTo>
                    <a:pt x="429" y="492"/>
                  </a:lnTo>
                  <a:lnTo>
                    <a:pt x="421" y="513"/>
                  </a:lnTo>
                  <a:lnTo>
                    <a:pt x="418" y="524"/>
                  </a:lnTo>
                  <a:lnTo>
                    <a:pt x="415" y="535"/>
                  </a:lnTo>
                  <a:lnTo>
                    <a:pt x="408" y="557"/>
                  </a:lnTo>
                  <a:lnTo>
                    <a:pt x="397" y="580"/>
                  </a:lnTo>
                  <a:lnTo>
                    <a:pt x="383" y="606"/>
                  </a:lnTo>
                  <a:lnTo>
                    <a:pt x="375" y="619"/>
                  </a:lnTo>
                  <a:lnTo>
                    <a:pt x="367" y="632"/>
                  </a:lnTo>
                  <a:lnTo>
                    <a:pt x="358" y="645"/>
                  </a:lnTo>
                  <a:lnTo>
                    <a:pt x="349" y="658"/>
                  </a:lnTo>
                  <a:lnTo>
                    <a:pt x="340" y="670"/>
                  </a:lnTo>
                  <a:lnTo>
                    <a:pt x="329" y="683"/>
                  </a:lnTo>
                  <a:lnTo>
                    <a:pt x="319" y="694"/>
                  </a:lnTo>
                  <a:lnTo>
                    <a:pt x="313" y="700"/>
                  </a:lnTo>
                  <a:lnTo>
                    <a:pt x="308" y="705"/>
                  </a:lnTo>
                  <a:lnTo>
                    <a:pt x="296" y="716"/>
                  </a:lnTo>
                  <a:lnTo>
                    <a:pt x="284" y="725"/>
                  </a:lnTo>
                  <a:lnTo>
                    <a:pt x="278" y="730"/>
                  </a:lnTo>
                  <a:lnTo>
                    <a:pt x="271" y="734"/>
                  </a:lnTo>
                  <a:lnTo>
                    <a:pt x="265" y="738"/>
                  </a:lnTo>
                  <a:lnTo>
                    <a:pt x="258" y="741"/>
                  </a:lnTo>
                  <a:lnTo>
                    <a:pt x="255" y="743"/>
                  </a:lnTo>
                  <a:lnTo>
                    <a:pt x="251" y="743"/>
                  </a:lnTo>
                  <a:lnTo>
                    <a:pt x="248" y="743"/>
                  </a:lnTo>
                  <a:lnTo>
                    <a:pt x="246" y="742"/>
                  </a:lnTo>
                  <a:lnTo>
                    <a:pt x="244" y="741"/>
                  </a:lnTo>
                  <a:lnTo>
                    <a:pt x="242" y="740"/>
                  </a:lnTo>
                  <a:lnTo>
                    <a:pt x="241" y="738"/>
                  </a:lnTo>
                  <a:lnTo>
                    <a:pt x="240" y="736"/>
                  </a:lnTo>
                  <a:lnTo>
                    <a:pt x="239" y="733"/>
                  </a:lnTo>
                  <a:lnTo>
                    <a:pt x="238" y="729"/>
                  </a:lnTo>
                  <a:lnTo>
                    <a:pt x="238" y="725"/>
                  </a:lnTo>
                  <a:lnTo>
                    <a:pt x="238" y="719"/>
                  </a:lnTo>
                  <a:lnTo>
                    <a:pt x="239" y="714"/>
                  </a:lnTo>
                  <a:lnTo>
                    <a:pt x="259" y="575"/>
                  </a:lnTo>
                  <a:lnTo>
                    <a:pt x="286" y="391"/>
                  </a:lnTo>
                  <a:lnTo>
                    <a:pt x="298" y="301"/>
                  </a:lnTo>
                  <a:lnTo>
                    <a:pt x="303" y="259"/>
                  </a:lnTo>
                  <a:lnTo>
                    <a:pt x="307" y="221"/>
                  </a:lnTo>
                  <a:lnTo>
                    <a:pt x="311" y="188"/>
                  </a:lnTo>
                  <a:lnTo>
                    <a:pt x="313" y="161"/>
                  </a:lnTo>
                  <a:lnTo>
                    <a:pt x="314" y="149"/>
                  </a:lnTo>
                  <a:lnTo>
                    <a:pt x="314" y="140"/>
                  </a:lnTo>
                  <a:lnTo>
                    <a:pt x="314" y="132"/>
                  </a:lnTo>
                  <a:lnTo>
                    <a:pt x="314" y="127"/>
                  </a:lnTo>
                  <a:lnTo>
                    <a:pt x="312" y="114"/>
                  </a:lnTo>
                  <a:lnTo>
                    <a:pt x="310" y="98"/>
                  </a:lnTo>
                  <a:lnTo>
                    <a:pt x="305" y="79"/>
                  </a:lnTo>
                  <a:lnTo>
                    <a:pt x="302" y="69"/>
                  </a:lnTo>
                  <a:lnTo>
                    <a:pt x="300" y="65"/>
                  </a:lnTo>
                  <a:lnTo>
                    <a:pt x="298" y="60"/>
                  </a:lnTo>
                  <a:lnTo>
                    <a:pt x="293" y="50"/>
                  </a:lnTo>
                  <a:lnTo>
                    <a:pt x="287" y="41"/>
                  </a:lnTo>
                  <a:lnTo>
                    <a:pt x="283" y="37"/>
                  </a:lnTo>
                  <a:lnTo>
                    <a:pt x="279" y="32"/>
                  </a:lnTo>
                  <a:lnTo>
                    <a:pt x="275" y="28"/>
                  </a:lnTo>
                  <a:lnTo>
                    <a:pt x="271" y="24"/>
                  </a:lnTo>
                  <a:lnTo>
                    <a:pt x="266" y="21"/>
                  </a:lnTo>
                  <a:lnTo>
                    <a:pt x="261" y="17"/>
                  </a:lnTo>
                  <a:lnTo>
                    <a:pt x="256" y="14"/>
                  </a:lnTo>
                  <a:lnTo>
                    <a:pt x="250" y="11"/>
                  </a:lnTo>
                  <a:lnTo>
                    <a:pt x="243" y="9"/>
                  </a:lnTo>
                  <a:lnTo>
                    <a:pt x="237" y="6"/>
                  </a:lnTo>
                  <a:lnTo>
                    <a:pt x="230" y="4"/>
                  </a:lnTo>
                  <a:lnTo>
                    <a:pt x="222" y="3"/>
                  </a:lnTo>
                  <a:lnTo>
                    <a:pt x="212" y="1"/>
                  </a:lnTo>
                  <a:lnTo>
                    <a:pt x="203" y="1"/>
                  </a:lnTo>
                  <a:lnTo>
                    <a:pt x="193" y="0"/>
                  </a:lnTo>
                  <a:lnTo>
                    <a:pt x="184" y="1"/>
                  </a:lnTo>
                  <a:lnTo>
                    <a:pt x="175" y="2"/>
                  </a:lnTo>
                  <a:lnTo>
                    <a:pt x="167" y="3"/>
                  </a:lnTo>
                  <a:lnTo>
                    <a:pt x="159" y="5"/>
                  </a:lnTo>
                  <a:lnTo>
                    <a:pt x="151" y="7"/>
                  </a:lnTo>
                  <a:lnTo>
                    <a:pt x="137" y="12"/>
                  </a:lnTo>
                  <a:lnTo>
                    <a:pt x="130" y="15"/>
                  </a:lnTo>
                  <a:lnTo>
                    <a:pt x="124" y="18"/>
                  </a:lnTo>
                  <a:lnTo>
                    <a:pt x="118" y="21"/>
                  </a:lnTo>
                  <a:lnTo>
                    <a:pt x="113" y="24"/>
                  </a:lnTo>
                  <a:lnTo>
                    <a:pt x="105" y="30"/>
                  </a:lnTo>
                  <a:lnTo>
                    <a:pt x="105" y="35"/>
                  </a:lnTo>
                  <a:lnTo>
                    <a:pt x="105" y="44"/>
                  </a:lnTo>
                  <a:lnTo>
                    <a:pt x="103" y="72"/>
                  </a:lnTo>
                  <a:lnTo>
                    <a:pt x="99" y="113"/>
                  </a:lnTo>
                  <a:lnTo>
                    <a:pt x="93" y="165"/>
                  </a:lnTo>
                  <a:lnTo>
                    <a:pt x="76" y="293"/>
                  </a:lnTo>
                  <a:lnTo>
                    <a:pt x="56" y="439"/>
                  </a:lnTo>
                  <a:lnTo>
                    <a:pt x="18" y="710"/>
                  </a:lnTo>
                  <a:lnTo>
                    <a:pt x="5" y="801"/>
                  </a:lnTo>
                  <a:lnTo>
                    <a:pt x="1" y="829"/>
                  </a:lnTo>
                  <a:lnTo>
                    <a:pt x="0" y="840"/>
                  </a:lnTo>
                  <a:lnTo>
                    <a:pt x="0" y="852"/>
                  </a:lnTo>
                  <a:lnTo>
                    <a:pt x="1" y="862"/>
                  </a:lnTo>
                  <a:lnTo>
                    <a:pt x="2" y="872"/>
                  </a:lnTo>
                  <a:lnTo>
                    <a:pt x="4" y="882"/>
                  </a:lnTo>
                  <a:lnTo>
                    <a:pt x="6" y="891"/>
                  </a:lnTo>
                  <a:lnTo>
                    <a:pt x="8" y="899"/>
                  </a:lnTo>
                  <a:lnTo>
                    <a:pt x="14" y="914"/>
                  </a:lnTo>
                  <a:lnTo>
                    <a:pt x="17" y="921"/>
                  </a:lnTo>
                  <a:lnTo>
                    <a:pt x="21" y="927"/>
                  </a:lnTo>
                  <a:lnTo>
                    <a:pt x="25" y="933"/>
                  </a:lnTo>
                  <a:lnTo>
                    <a:pt x="29" y="938"/>
                  </a:lnTo>
                  <a:lnTo>
                    <a:pt x="33" y="943"/>
                  </a:lnTo>
                  <a:lnTo>
                    <a:pt x="37" y="947"/>
                  </a:lnTo>
                  <a:lnTo>
                    <a:pt x="42" y="951"/>
                  </a:lnTo>
                  <a:lnTo>
                    <a:pt x="47" y="955"/>
                  </a:lnTo>
                  <a:lnTo>
                    <a:pt x="56" y="961"/>
                  </a:lnTo>
                  <a:lnTo>
                    <a:pt x="66" y="965"/>
                  </a:lnTo>
                  <a:lnTo>
                    <a:pt x="71" y="967"/>
                  </a:lnTo>
                  <a:lnTo>
                    <a:pt x="75" y="969"/>
                  </a:lnTo>
                  <a:lnTo>
                    <a:pt x="80" y="970"/>
                  </a:lnTo>
                  <a:lnTo>
                    <a:pt x="84" y="972"/>
                  </a:lnTo>
                  <a:lnTo>
                    <a:pt x="93" y="973"/>
                  </a:lnTo>
                  <a:lnTo>
                    <a:pt x="101" y="974"/>
                  </a:lnTo>
                  <a:lnTo>
                    <a:pt x="113" y="975"/>
                  </a:lnTo>
                  <a:lnTo>
                    <a:pt x="128" y="974"/>
                  </a:lnTo>
                  <a:lnTo>
                    <a:pt x="142" y="973"/>
                  </a:lnTo>
                  <a:lnTo>
                    <a:pt x="156" y="970"/>
                  </a:lnTo>
                  <a:lnTo>
                    <a:pt x="171" y="966"/>
                  </a:lnTo>
                  <a:lnTo>
                    <a:pt x="185" y="961"/>
                  </a:lnTo>
                  <a:lnTo>
                    <a:pt x="199" y="955"/>
                  </a:lnTo>
                  <a:lnTo>
                    <a:pt x="214" y="947"/>
                  </a:lnTo>
                  <a:lnTo>
                    <a:pt x="228" y="939"/>
                  </a:lnTo>
                  <a:lnTo>
                    <a:pt x="242" y="929"/>
                  </a:lnTo>
                  <a:lnTo>
                    <a:pt x="250" y="924"/>
                  </a:lnTo>
                  <a:lnTo>
                    <a:pt x="257" y="918"/>
                  </a:lnTo>
                  <a:lnTo>
                    <a:pt x="272" y="906"/>
                  </a:lnTo>
                  <a:lnTo>
                    <a:pt x="286" y="893"/>
                  </a:lnTo>
                  <a:lnTo>
                    <a:pt x="294" y="886"/>
                  </a:lnTo>
                  <a:lnTo>
                    <a:pt x="301" y="878"/>
                  </a:lnTo>
                  <a:lnTo>
                    <a:pt x="316" y="863"/>
                  </a:lnTo>
                  <a:lnTo>
                    <a:pt x="331" y="846"/>
                  </a:lnTo>
                  <a:lnTo>
                    <a:pt x="346" y="828"/>
                  </a:lnTo>
                  <a:lnTo>
                    <a:pt x="367" y="802"/>
                  </a:lnTo>
                  <a:lnTo>
                    <a:pt x="384" y="780"/>
                  </a:lnTo>
                  <a:lnTo>
                    <a:pt x="386" y="800"/>
                  </a:lnTo>
                  <a:lnTo>
                    <a:pt x="387" y="810"/>
                  </a:lnTo>
                  <a:lnTo>
                    <a:pt x="389" y="820"/>
                  </a:lnTo>
                  <a:lnTo>
                    <a:pt x="391" y="829"/>
                  </a:lnTo>
                  <a:lnTo>
                    <a:pt x="393" y="839"/>
                  </a:lnTo>
                  <a:lnTo>
                    <a:pt x="396" y="848"/>
                  </a:lnTo>
                  <a:lnTo>
                    <a:pt x="400" y="858"/>
                  </a:lnTo>
                  <a:lnTo>
                    <a:pt x="403" y="867"/>
                  </a:lnTo>
                  <a:lnTo>
                    <a:pt x="408" y="877"/>
                  </a:lnTo>
                  <a:lnTo>
                    <a:pt x="413" y="886"/>
                  </a:lnTo>
                  <a:lnTo>
                    <a:pt x="418" y="895"/>
                  </a:lnTo>
                  <a:lnTo>
                    <a:pt x="425" y="904"/>
                  </a:lnTo>
                  <a:lnTo>
                    <a:pt x="432" y="913"/>
                  </a:lnTo>
                  <a:lnTo>
                    <a:pt x="439" y="921"/>
                  </a:lnTo>
                  <a:lnTo>
                    <a:pt x="447" y="930"/>
                  </a:lnTo>
                  <a:lnTo>
                    <a:pt x="413" y="959"/>
                  </a:lnTo>
                  <a:lnTo>
                    <a:pt x="380" y="987"/>
                  </a:lnTo>
                  <a:lnTo>
                    <a:pt x="349" y="1015"/>
                  </a:lnTo>
                  <a:lnTo>
                    <a:pt x="320" y="1042"/>
                  </a:lnTo>
                  <a:lnTo>
                    <a:pt x="293" y="1070"/>
                  </a:lnTo>
                  <a:lnTo>
                    <a:pt x="267" y="1098"/>
                  </a:lnTo>
                  <a:lnTo>
                    <a:pt x="255" y="1112"/>
                  </a:lnTo>
                  <a:lnTo>
                    <a:pt x="244" y="1125"/>
                  </a:lnTo>
                  <a:lnTo>
                    <a:pt x="233" y="1139"/>
                  </a:lnTo>
                  <a:lnTo>
                    <a:pt x="223" y="1153"/>
                  </a:lnTo>
                  <a:lnTo>
                    <a:pt x="213" y="1167"/>
                  </a:lnTo>
                  <a:lnTo>
                    <a:pt x="203" y="1180"/>
                  </a:lnTo>
                  <a:lnTo>
                    <a:pt x="194" y="1194"/>
                  </a:lnTo>
                  <a:lnTo>
                    <a:pt x="186" y="1208"/>
                  </a:lnTo>
                  <a:lnTo>
                    <a:pt x="179" y="1222"/>
                  </a:lnTo>
                  <a:lnTo>
                    <a:pt x="171" y="1236"/>
                  </a:lnTo>
                  <a:lnTo>
                    <a:pt x="165" y="1250"/>
                  </a:lnTo>
                  <a:lnTo>
                    <a:pt x="159" y="1264"/>
                  </a:lnTo>
                  <a:lnTo>
                    <a:pt x="154" y="1278"/>
                  </a:lnTo>
                  <a:lnTo>
                    <a:pt x="149" y="1293"/>
                  </a:lnTo>
                  <a:lnTo>
                    <a:pt x="145" y="1307"/>
                  </a:lnTo>
                  <a:lnTo>
                    <a:pt x="142" y="1322"/>
                  </a:lnTo>
                  <a:lnTo>
                    <a:pt x="139" y="1336"/>
                  </a:lnTo>
                  <a:lnTo>
                    <a:pt x="137" y="1351"/>
                  </a:lnTo>
                  <a:lnTo>
                    <a:pt x="136" y="1366"/>
                  </a:lnTo>
                  <a:lnTo>
                    <a:pt x="135" y="1381"/>
                  </a:lnTo>
                  <a:lnTo>
                    <a:pt x="135" y="1398"/>
                  </a:lnTo>
                  <a:lnTo>
                    <a:pt x="136" y="1415"/>
                  </a:lnTo>
                  <a:lnTo>
                    <a:pt x="137" y="1431"/>
                  </a:lnTo>
                  <a:lnTo>
                    <a:pt x="140" y="1447"/>
                  </a:lnTo>
                  <a:lnTo>
                    <a:pt x="141" y="1454"/>
                  </a:lnTo>
                  <a:lnTo>
                    <a:pt x="143" y="1462"/>
                  </a:lnTo>
                  <a:lnTo>
                    <a:pt x="146" y="1477"/>
                  </a:lnTo>
                  <a:lnTo>
                    <a:pt x="151" y="1492"/>
                  </a:lnTo>
                  <a:lnTo>
                    <a:pt x="156" y="1507"/>
                  </a:lnTo>
                  <a:lnTo>
                    <a:pt x="161" y="1521"/>
                  </a:lnTo>
                  <a:lnTo>
                    <a:pt x="168" y="1534"/>
                  </a:lnTo>
                  <a:lnTo>
                    <a:pt x="175" y="1548"/>
                  </a:lnTo>
                  <a:lnTo>
                    <a:pt x="183" y="1561"/>
                  </a:lnTo>
                  <a:lnTo>
                    <a:pt x="192" y="1574"/>
                  </a:lnTo>
                  <a:lnTo>
                    <a:pt x="201" y="1586"/>
                  </a:lnTo>
                  <a:lnTo>
                    <a:pt x="211" y="1598"/>
                  </a:lnTo>
                  <a:lnTo>
                    <a:pt x="222" y="1610"/>
                  </a:lnTo>
                  <a:lnTo>
                    <a:pt x="234" y="1621"/>
                  </a:lnTo>
                  <a:lnTo>
                    <a:pt x="245" y="1631"/>
                  </a:lnTo>
                  <a:lnTo>
                    <a:pt x="251" y="1636"/>
                  </a:lnTo>
                  <a:lnTo>
                    <a:pt x="258" y="1641"/>
                  </a:lnTo>
                  <a:lnTo>
                    <a:pt x="270" y="1650"/>
                  </a:lnTo>
                  <a:lnTo>
                    <a:pt x="277" y="1654"/>
                  </a:lnTo>
                  <a:lnTo>
                    <a:pt x="283" y="1659"/>
                  </a:lnTo>
                  <a:lnTo>
                    <a:pt x="297" y="1666"/>
                  </a:lnTo>
                  <a:lnTo>
                    <a:pt x="310" y="1673"/>
                  </a:lnTo>
                  <a:lnTo>
                    <a:pt x="324" y="1679"/>
                  </a:lnTo>
                  <a:lnTo>
                    <a:pt x="339" y="1685"/>
                  </a:lnTo>
                  <a:lnTo>
                    <a:pt x="354" y="1690"/>
                  </a:lnTo>
                  <a:lnTo>
                    <a:pt x="369" y="1694"/>
                  </a:lnTo>
                  <a:lnTo>
                    <a:pt x="385" y="1697"/>
                  </a:lnTo>
                  <a:lnTo>
                    <a:pt x="401" y="1700"/>
                  </a:lnTo>
                  <a:lnTo>
                    <a:pt x="417" y="1702"/>
                  </a:lnTo>
                  <a:lnTo>
                    <a:pt x="434" y="1703"/>
                  </a:lnTo>
                  <a:lnTo>
                    <a:pt x="451" y="1703"/>
                  </a:lnTo>
                  <a:lnTo>
                    <a:pt x="483" y="1702"/>
                  </a:lnTo>
                  <a:lnTo>
                    <a:pt x="500" y="1701"/>
                  </a:lnTo>
                  <a:lnTo>
                    <a:pt x="516" y="1700"/>
                  </a:lnTo>
                  <a:lnTo>
                    <a:pt x="548" y="1695"/>
                  </a:lnTo>
                  <a:lnTo>
                    <a:pt x="565" y="1692"/>
                  </a:lnTo>
                  <a:lnTo>
                    <a:pt x="581" y="1689"/>
                  </a:lnTo>
                  <a:lnTo>
                    <a:pt x="597" y="1685"/>
                  </a:lnTo>
                  <a:lnTo>
                    <a:pt x="613" y="1681"/>
                  </a:lnTo>
                  <a:lnTo>
                    <a:pt x="629" y="1676"/>
                  </a:lnTo>
                  <a:lnTo>
                    <a:pt x="645" y="1671"/>
                  </a:lnTo>
                  <a:lnTo>
                    <a:pt x="676" y="1659"/>
                  </a:lnTo>
                  <a:lnTo>
                    <a:pt x="692" y="1652"/>
                  </a:lnTo>
                  <a:lnTo>
                    <a:pt x="708" y="1645"/>
                  </a:lnTo>
                  <a:lnTo>
                    <a:pt x="723" y="1637"/>
                  </a:lnTo>
                  <a:lnTo>
                    <a:pt x="739" y="1629"/>
                  </a:lnTo>
                  <a:lnTo>
                    <a:pt x="754" y="1621"/>
                  </a:lnTo>
                  <a:lnTo>
                    <a:pt x="770" y="1612"/>
                  </a:lnTo>
                  <a:lnTo>
                    <a:pt x="785" y="1602"/>
                  </a:lnTo>
                  <a:lnTo>
                    <a:pt x="800" y="1592"/>
                  </a:lnTo>
                  <a:lnTo>
                    <a:pt x="816" y="1582"/>
                  </a:lnTo>
                  <a:lnTo>
                    <a:pt x="831" y="1571"/>
                  </a:lnTo>
                  <a:lnTo>
                    <a:pt x="846" y="1560"/>
                  </a:lnTo>
                  <a:lnTo>
                    <a:pt x="861" y="1548"/>
                  </a:lnTo>
                  <a:lnTo>
                    <a:pt x="891" y="1523"/>
                  </a:lnTo>
                  <a:lnTo>
                    <a:pt x="906" y="1510"/>
                  </a:lnTo>
                  <a:lnTo>
                    <a:pt x="921" y="1497"/>
                  </a:lnTo>
                  <a:lnTo>
                    <a:pt x="935" y="1483"/>
                  </a:lnTo>
                  <a:lnTo>
                    <a:pt x="950" y="1468"/>
                  </a:lnTo>
                  <a:lnTo>
                    <a:pt x="963" y="1455"/>
                  </a:lnTo>
                  <a:lnTo>
                    <a:pt x="975" y="1442"/>
                  </a:lnTo>
                  <a:lnTo>
                    <a:pt x="986" y="1428"/>
                  </a:lnTo>
                  <a:lnTo>
                    <a:pt x="998" y="1414"/>
                  </a:lnTo>
                  <a:lnTo>
                    <a:pt x="1008" y="1400"/>
                  </a:lnTo>
                  <a:lnTo>
                    <a:pt x="1018" y="1385"/>
                  </a:lnTo>
                  <a:lnTo>
                    <a:pt x="1028" y="1371"/>
                  </a:lnTo>
                  <a:lnTo>
                    <a:pt x="1037" y="1356"/>
                  </a:lnTo>
                  <a:lnTo>
                    <a:pt x="1046" y="1341"/>
                  </a:lnTo>
                  <a:lnTo>
                    <a:pt x="1055" y="1325"/>
                  </a:lnTo>
                  <a:lnTo>
                    <a:pt x="1063" y="1310"/>
                  </a:lnTo>
                  <a:lnTo>
                    <a:pt x="1070" y="1294"/>
                  </a:lnTo>
                  <a:lnTo>
                    <a:pt x="1078" y="1278"/>
                  </a:lnTo>
                  <a:lnTo>
                    <a:pt x="1085" y="1262"/>
                  </a:lnTo>
                  <a:lnTo>
                    <a:pt x="1098" y="1230"/>
                  </a:lnTo>
                  <a:lnTo>
                    <a:pt x="1103" y="1213"/>
                  </a:lnTo>
                  <a:lnTo>
                    <a:pt x="1109" y="1195"/>
                  </a:lnTo>
                  <a:lnTo>
                    <a:pt x="1114" y="1176"/>
                  </a:lnTo>
                  <a:lnTo>
                    <a:pt x="1119" y="1156"/>
                  </a:lnTo>
                  <a:lnTo>
                    <a:pt x="1123" y="1135"/>
                  </a:lnTo>
                  <a:lnTo>
                    <a:pt x="1128" y="1112"/>
                  </a:lnTo>
                  <a:lnTo>
                    <a:pt x="1135" y="1064"/>
                  </a:lnTo>
                  <a:lnTo>
                    <a:pt x="1142" y="1014"/>
                  </a:lnTo>
                  <a:lnTo>
                    <a:pt x="1149" y="961"/>
                  </a:lnTo>
                  <a:lnTo>
                    <a:pt x="1155" y="905"/>
                  </a:lnTo>
                  <a:lnTo>
                    <a:pt x="1161" y="849"/>
                  </a:lnTo>
                  <a:lnTo>
                    <a:pt x="1168" y="768"/>
                  </a:lnTo>
                  <a:lnTo>
                    <a:pt x="1174" y="692"/>
                  </a:lnTo>
                  <a:lnTo>
                    <a:pt x="1186" y="561"/>
                  </a:lnTo>
                  <a:lnTo>
                    <a:pt x="1194" y="471"/>
                  </a:lnTo>
                  <a:lnTo>
                    <a:pt x="1198" y="438"/>
                  </a:lnTo>
                  <a:lnTo>
                    <a:pt x="1213" y="419"/>
                  </a:lnTo>
                  <a:lnTo>
                    <a:pt x="1222" y="409"/>
                  </a:lnTo>
                  <a:lnTo>
                    <a:pt x="1231" y="399"/>
                  </a:lnTo>
                  <a:lnTo>
                    <a:pt x="1253" y="377"/>
                  </a:lnTo>
                  <a:lnTo>
                    <a:pt x="1279" y="352"/>
                  </a:lnTo>
                  <a:lnTo>
                    <a:pt x="1294" y="339"/>
                  </a:lnTo>
                  <a:lnTo>
                    <a:pt x="1310" y="326"/>
                  </a:lnTo>
                  <a:lnTo>
                    <a:pt x="1343" y="298"/>
                  </a:lnTo>
                  <a:lnTo>
                    <a:pt x="1382" y="267"/>
                  </a:lnTo>
                  <a:lnTo>
                    <a:pt x="1403" y="251"/>
                  </a:lnTo>
                  <a:lnTo>
                    <a:pt x="1425" y="235"/>
                  </a:lnTo>
                  <a:lnTo>
                    <a:pt x="1426" y="235"/>
                  </a:lnTo>
                  <a:lnTo>
                    <a:pt x="1420" y="320"/>
                  </a:lnTo>
                  <a:lnTo>
                    <a:pt x="1414" y="367"/>
                  </a:lnTo>
                  <a:lnTo>
                    <a:pt x="1368" y="781"/>
                  </a:lnTo>
                  <a:lnTo>
                    <a:pt x="1364" y="825"/>
                  </a:lnTo>
                  <a:lnTo>
                    <a:pt x="1363" y="843"/>
                  </a:lnTo>
                  <a:lnTo>
                    <a:pt x="1363" y="856"/>
                  </a:lnTo>
                  <a:lnTo>
                    <a:pt x="1363" y="869"/>
                  </a:lnTo>
                  <a:lnTo>
                    <a:pt x="1364" y="877"/>
                  </a:lnTo>
                  <a:lnTo>
                    <a:pt x="1365" y="885"/>
                  </a:lnTo>
                  <a:lnTo>
                    <a:pt x="1367" y="894"/>
                  </a:lnTo>
                  <a:lnTo>
                    <a:pt x="1370" y="904"/>
                  </a:lnTo>
                  <a:lnTo>
                    <a:pt x="1371" y="909"/>
                  </a:lnTo>
                  <a:lnTo>
                    <a:pt x="1373" y="914"/>
                  </a:lnTo>
                  <a:lnTo>
                    <a:pt x="1378" y="923"/>
                  </a:lnTo>
                  <a:lnTo>
                    <a:pt x="1383" y="933"/>
                  </a:lnTo>
                  <a:lnTo>
                    <a:pt x="1389" y="942"/>
                  </a:lnTo>
                  <a:lnTo>
                    <a:pt x="1396" y="950"/>
                  </a:lnTo>
                  <a:lnTo>
                    <a:pt x="1401" y="955"/>
                  </a:lnTo>
                  <a:lnTo>
                    <a:pt x="1405" y="958"/>
                  </a:lnTo>
                  <a:lnTo>
                    <a:pt x="1410" y="962"/>
                  </a:lnTo>
                  <a:lnTo>
                    <a:pt x="1415" y="966"/>
                  </a:lnTo>
                  <a:lnTo>
                    <a:pt x="1421" y="969"/>
                  </a:lnTo>
                  <a:lnTo>
                    <a:pt x="1427" y="972"/>
                  </a:lnTo>
                  <a:lnTo>
                    <a:pt x="1433" y="974"/>
                  </a:lnTo>
                  <a:lnTo>
                    <a:pt x="1439" y="976"/>
                  </a:lnTo>
                  <a:lnTo>
                    <a:pt x="1447" y="978"/>
                  </a:lnTo>
                  <a:lnTo>
                    <a:pt x="1454" y="980"/>
                  </a:lnTo>
                  <a:lnTo>
                    <a:pt x="1464" y="981"/>
                  </a:lnTo>
                  <a:lnTo>
                    <a:pt x="1474" y="982"/>
                  </a:lnTo>
                  <a:lnTo>
                    <a:pt x="1484" y="982"/>
                  </a:lnTo>
                  <a:lnTo>
                    <a:pt x="1494" y="981"/>
                  </a:lnTo>
                  <a:lnTo>
                    <a:pt x="1503" y="980"/>
                  </a:lnTo>
                  <a:lnTo>
                    <a:pt x="1512" y="978"/>
                  </a:lnTo>
                  <a:lnTo>
                    <a:pt x="1520" y="976"/>
                  </a:lnTo>
                  <a:lnTo>
                    <a:pt x="1529" y="974"/>
                  </a:lnTo>
                  <a:lnTo>
                    <a:pt x="1536" y="971"/>
                  </a:lnTo>
                  <a:lnTo>
                    <a:pt x="1543" y="968"/>
                  </a:lnTo>
                  <a:lnTo>
                    <a:pt x="1556" y="963"/>
                  </a:lnTo>
                  <a:lnTo>
                    <a:pt x="1565" y="957"/>
                  </a:lnTo>
                  <a:lnTo>
                    <a:pt x="1572" y="952"/>
                  </a:lnTo>
                  <a:lnTo>
                    <a:pt x="1571" y="950"/>
                  </a:lnTo>
                  <a:lnTo>
                    <a:pt x="1571" y="947"/>
                  </a:lnTo>
                  <a:lnTo>
                    <a:pt x="1571" y="936"/>
                  </a:lnTo>
                  <a:lnTo>
                    <a:pt x="1571" y="922"/>
                  </a:lnTo>
                  <a:lnTo>
                    <a:pt x="1573" y="904"/>
                  </a:lnTo>
                  <a:lnTo>
                    <a:pt x="1575" y="883"/>
                  </a:lnTo>
                  <a:lnTo>
                    <a:pt x="1578" y="860"/>
                  </a:lnTo>
                  <a:lnTo>
                    <a:pt x="1584" y="810"/>
                  </a:lnTo>
                  <a:lnTo>
                    <a:pt x="1590" y="761"/>
                  </a:lnTo>
                  <a:lnTo>
                    <a:pt x="1596" y="719"/>
                  </a:lnTo>
                  <a:lnTo>
                    <a:pt x="1602" y="679"/>
                  </a:lnTo>
                  <a:lnTo>
                    <a:pt x="1604" y="661"/>
                  </a:lnTo>
                  <a:lnTo>
                    <a:pt x="1607" y="643"/>
                  </a:lnTo>
                  <a:lnTo>
                    <a:pt x="1611" y="625"/>
                  </a:lnTo>
                  <a:lnTo>
                    <a:pt x="1616" y="607"/>
                  </a:lnTo>
                  <a:lnTo>
                    <a:pt x="1621" y="589"/>
                  </a:lnTo>
                  <a:lnTo>
                    <a:pt x="1626" y="570"/>
                  </a:lnTo>
                  <a:lnTo>
                    <a:pt x="1633" y="552"/>
                  </a:lnTo>
                  <a:lnTo>
                    <a:pt x="1640" y="533"/>
                  </a:lnTo>
                  <a:lnTo>
                    <a:pt x="1648" y="514"/>
                  </a:lnTo>
                  <a:lnTo>
                    <a:pt x="1656" y="495"/>
                  </a:lnTo>
                  <a:lnTo>
                    <a:pt x="1665" y="476"/>
                  </a:lnTo>
                  <a:lnTo>
                    <a:pt x="1675" y="457"/>
                  </a:lnTo>
                  <a:lnTo>
                    <a:pt x="1686" y="438"/>
                  </a:lnTo>
                  <a:lnTo>
                    <a:pt x="1697" y="418"/>
                  </a:lnTo>
                  <a:lnTo>
                    <a:pt x="1709" y="398"/>
                  </a:lnTo>
                  <a:lnTo>
                    <a:pt x="1722" y="379"/>
                  </a:lnTo>
                  <a:lnTo>
                    <a:pt x="1737" y="355"/>
                  </a:lnTo>
                  <a:lnTo>
                    <a:pt x="1752" y="334"/>
                  </a:lnTo>
                  <a:lnTo>
                    <a:pt x="1766" y="315"/>
                  </a:lnTo>
                  <a:lnTo>
                    <a:pt x="1779" y="298"/>
                  </a:lnTo>
                  <a:lnTo>
                    <a:pt x="1792" y="283"/>
                  </a:lnTo>
                  <a:lnTo>
                    <a:pt x="1804" y="269"/>
                  </a:lnTo>
                  <a:lnTo>
                    <a:pt x="1814" y="258"/>
                  </a:lnTo>
                  <a:lnTo>
                    <a:pt x="1824" y="249"/>
                  </a:lnTo>
                  <a:lnTo>
                    <a:pt x="1833" y="241"/>
                  </a:lnTo>
                  <a:lnTo>
                    <a:pt x="1842" y="235"/>
                  </a:lnTo>
                  <a:lnTo>
                    <a:pt x="1846" y="233"/>
                  </a:lnTo>
                  <a:lnTo>
                    <a:pt x="1849" y="231"/>
                  </a:lnTo>
                  <a:lnTo>
                    <a:pt x="1856" y="228"/>
                  </a:lnTo>
                  <a:lnTo>
                    <a:pt x="1859" y="227"/>
                  </a:lnTo>
                  <a:lnTo>
                    <a:pt x="1861" y="227"/>
                  </a:lnTo>
                  <a:lnTo>
                    <a:pt x="1864" y="227"/>
                  </a:lnTo>
                  <a:lnTo>
                    <a:pt x="1866" y="227"/>
                  </a:lnTo>
                  <a:lnTo>
                    <a:pt x="1868" y="228"/>
                  </a:lnTo>
                  <a:lnTo>
                    <a:pt x="1870" y="229"/>
                  </a:lnTo>
                  <a:lnTo>
                    <a:pt x="1872" y="230"/>
                  </a:lnTo>
                  <a:lnTo>
                    <a:pt x="1873" y="232"/>
                  </a:lnTo>
                  <a:lnTo>
                    <a:pt x="1874" y="234"/>
                  </a:lnTo>
                  <a:lnTo>
                    <a:pt x="1875" y="237"/>
                  </a:lnTo>
                  <a:lnTo>
                    <a:pt x="1877" y="244"/>
                  </a:lnTo>
                  <a:lnTo>
                    <a:pt x="1877" y="248"/>
                  </a:lnTo>
                  <a:lnTo>
                    <a:pt x="1878" y="253"/>
                  </a:lnTo>
                  <a:lnTo>
                    <a:pt x="1878" y="263"/>
                  </a:lnTo>
                  <a:lnTo>
                    <a:pt x="1878" y="275"/>
                  </a:lnTo>
                  <a:lnTo>
                    <a:pt x="1878" y="287"/>
                  </a:lnTo>
                  <a:lnTo>
                    <a:pt x="1876" y="313"/>
                  </a:lnTo>
                  <a:lnTo>
                    <a:pt x="1874" y="338"/>
                  </a:lnTo>
                  <a:lnTo>
                    <a:pt x="1872" y="360"/>
                  </a:lnTo>
                  <a:lnTo>
                    <a:pt x="1870" y="380"/>
                  </a:lnTo>
                  <a:lnTo>
                    <a:pt x="1825" y="784"/>
                  </a:lnTo>
                  <a:lnTo>
                    <a:pt x="1823" y="811"/>
                  </a:lnTo>
                  <a:lnTo>
                    <a:pt x="1821" y="837"/>
                  </a:lnTo>
                  <a:lnTo>
                    <a:pt x="1820" y="856"/>
                  </a:lnTo>
                  <a:lnTo>
                    <a:pt x="1821" y="869"/>
                  </a:lnTo>
                  <a:lnTo>
                    <a:pt x="1821" y="877"/>
                  </a:lnTo>
                  <a:lnTo>
                    <a:pt x="1823" y="885"/>
                  </a:lnTo>
                  <a:lnTo>
                    <a:pt x="1825" y="894"/>
                  </a:lnTo>
                  <a:lnTo>
                    <a:pt x="1827" y="904"/>
                  </a:lnTo>
                  <a:lnTo>
                    <a:pt x="1829" y="909"/>
                  </a:lnTo>
                  <a:lnTo>
                    <a:pt x="1831" y="914"/>
                  </a:lnTo>
                  <a:lnTo>
                    <a:pt x="1835" y="923"/>
                  </a:lnTo>
                  <a:lnTo>
                    <a:pt x="1840" y="933"/>
                  </a:lnTo>
                  <a:lnTo>
                    <a:pt x="1846" y="942"/>
                  </a:lnTo>
                  <a:lnTo>
                    <a:pt x="1854" y="950"/>
                  </a:lnTo>
                  <a:lnTo>
                    <a:pt x="1858" y="955"/>
                  </a:lnTo>
                  <a:lnTo>
                    <a:pt x="1863" y="958"/>
                  </a:lnTo>
                  <a:lnTo>
                    <a:pt x="1867" y="962"/>
                  </a:lnTo>
                  <a:lnTo>
                    <a:pt x="1873" y="966"/>
                  </a:lnTo>
                  <a:lnTo>
                    <a:pt x="1878" y="969"/>
                  </a:lnTo>
                  <a:lnTo>
                    <a:pt x="1884" y="972"/>
                  </a:lnTo>
                  <a:lnTo>
                    <a:pt x="1890" y="974"/>
                  </a:lnTo>
                  <a:lnTo>
                    <a:pt x="1897" y="976"/>
                  </a:lnTo>
                  <a:lnTo>
                    <a:pt x="1904" y="978"/>
                  </a:lnTo>
                  <a:lnTo>
                    <a:pt x="1911" y="980"/>
                  </a:lnTo>
                  <a:lnTo>
                    <a:pt x="1922" y="981"/>
                  </a:lnTo>
                  <a:lnTo>
                    <a:pt x="1932" y="982"/>
                  </a:lnTo>
                  <a:lnTo>
                    <a:pt x="1943" y="982"/>
                  </a:lnTo>
                  <a:lnTo>
                    <a:pt x="1953" y="981"/>
                  </a:lnTo>
                  <a:lnTo>
                    <a:pt x="1963" y="979"/>
                  </a:lnTo>
                  <a:lnTo>
                    <a:pt x="1973" y="977"/>
                  </a:lnTo>
                  <a:lnTo>
                    <a:pt x="1982" y="975"/>
                  </a:lnTo>
                  <a:lnTo>
                    <a:pt x="1991" y="972"/>
                  </a:lnTo>
                  <a:lnTo>
                    <a:pt x="2007" y="966"/>
                  </a:lnTo>
                  <a:lnTo>
                    <a:pt x="2021" y="959"/>
                  </a:lnTo>
                  <a:lnTo>
                    <a:pt x="2032" y="953"/>
                  </a:lnTo>
                  <a:lnTo>
                    <a:pt x="2036" y="950"/>
                  </a:lnTo>
                  <a:lnTo>
                    <a:pt x="2040" y="947"/>
                  </a:lnTo>
                  <a:lnTo>
                    <a:pt x="2038" y="940"/>
                  </a:lnTo>
                  <a:lnTo>
                    <a:pt x="2038" y="928"/>
                  </a:lnTo>
                  <a:lnTo>
                    <a:pt x="2038" y="913"/>
                  </a:lnTo>
                  <a:lnTo>
                    <a:pt x="2039" y="895"/>
                  </a:lnTo>
                  <a:lnTo>
                    <a:pt x="2042" y="851"/>
                  </a:lnTo>
                  <a:lnTo>
                    <a:pt x="2047" y="804"/>
                  </a:lnTo>
                  <a:lnTo>
                    <a:pt x="2052" y="757"/>
                  </a:lnTo>
                  <a:lnTo>
                    <a:pt x="2056" y="717"/>
                  </a:lnTo>
                  <a:lnTo>
                    <a:pt x="2061" y="679"/>
                  </a:lnTo>
                  <a:lnTo>
                    <a:pt x="2063" y="661"/>
                  </a:lnTo>
                  <a:lnTo>
                    <a:pt x="2066" y="643"/>
                  </a:lnTo>
                  <a:lnTo>
                    <a:pt x="2070" y="625"/>
                  </a:lnTo>
                  <a:lnTo>
                    <a:pt x="2074" y="607"/>
                  </a:lnTo>
                  <a:lnTo>
                    <a:pt x="2080" y="589"/>
                  </a:lnTo>
                  <a:lnTo>
                    <a:pt x="2085" y="571"/>
                  </a:lnTo>
                  <a:lnTo>
                    <a:pt x="2092" y="552"/>
                  </a:lnTo>
                  <a:lnTo>
                    <a:pt x="2099" y="533"/>
                  </a:lnTo>
                  <a:lnTo>
                    <a:pt x="2107" y="515"/>
                  </a:lnTo>
                  <a:lnTo>
                    <a:pt x="2116" y="496"/>
                  </a:lnTo>
                  <a:lnTo>
                    <a:pt x="2125" y="476"/>
                  </a:lnTo>
                  <a:lnTo>
                    <a:pt x="2135" y="457"/>
                  </a:lnTo>
                  <a:lnTo>
                    <a:pt x="2146" y="438"/>
                  </a:lnTo>
                  <a:lnTo>
                    <a:pt x="2158" y="418"/>
                  </a:lnTo>
                  <a:lnTo>
                    <a:pt x="2170" y="399"/>
                  </a:lnTo>
                  <a:lnTo>
                    <a:pt x="2182" y="379"/>
                  </a:lnTo>
                  <a:lnTo>
                    <a:pt x="2198" y="356"/>
                  </a:lnTo>
                  <a:lnTo>
                    <a:pt x="2213" y="335"/>
                  </a:lnTo>
                  <a:lnTo>
                    <a:pt x="2228" y="316"/>
                  </a:lnTo>
                  <a:lnTo>
                    <a:pt x="2241" y="299"/>
                  </a:lnTo>
                  <a:lnTo>
                    <a:pt x="2254" y="284"/>
                  </a:lnTo>
                  <a:lnTo>
                    <a:pt x="2266" y="271"/>
                  </a:lnTo>
                  <a:lnTo>
                    <a:pt x="2276" y="260"/>
                  </a:lnTo>
                  <a:lnTo>
                    <a:pt x="2287" y="251"/>
                  </a:lnTo>
                  <a:lnTo>
                    <a:pt x="2296" y="244"/>
                  </a:lnTo>
                  <a:lnTo>
                    <a:pt x="2305" y="238"/>
                  </a:lnTo>
                  <a:lnTo>
                    <a:pt x="2308" y="235"/>
                  </a:lnTo>
                  <a:lnTo>
                    <a:pt x="2312" y="233"/>
                  </a:lnTo>
                  <a:lnTo>
                    <a:pt x="2319" y="231"/>
                  </a:lnTo>
                  <a:lnTo>
                    <a:pt x="2325" y="229"/>
                  </a:lnTo>
                  <a:lnTo>
                    <a:pt x="2330" y="229"/>
                  </a:lnTo>
                  <a:lnTo>
                    <a:pt x="2335" y="230"/>
                  </a:lnTo>
                  <a:lnTo>
                    <a:pt x="2337" y="231"/>
                  </a:lnTo>
                  <a:lnTo>
                    <a:pt x="2338" y="232"/>
                  </a:lnTo>
                  <a:lnTo>
                    <a:pt x="2340" y="234"/>
                  </a:lnTo>
                  <a:lnTo>
                    <a:pt x="2341" y="236"/>
                  </a:lnTo>
                  <a:lnTo>
                    <a:pt x="2342" y="240"/>
                  </a:lnTo>
                  <a:lnTo>
                    <a:pt x="2342" y="244"/>
                  </a:lnTo>
                  <a:lnTo>
                    <a:pt x="2343" y="254"/>
                  </a:lnTo>
                  <a:lnTo>
                    <a:pt x="2343" y="267"/>
                  </a:lnTo>
                  <a:lnTo>
                    <a:pt x="2342" y="281"/>
                  </a:lnTo>
                  <a:lnTo>
                    <a:pt x="2341" y="297"/>
                  </a:lnTo>
                  <a:lnTo>
                    <a:pt x="2338" y="330"/>
                  </a:lnTo>
                  <a:lnTo>
                    <a:pt x="2334" y="363"/>
                  </a:lnTo>
                  <a:lnTo>
                    <a:pt x="2330" y="391"/>
                  </a:lnTo>
                  <a:lnTo>
                    <a:pt x="2326" y="418"/>
                  </a:lnTo>
                  <a:lnTo>
                    <a:pt x="2293" y="634"/>
                  </a:lnTo>
                  <a:lnTo>
                    <a:pt x="2289" y="668"/>
                  </a:lnTo>
                  <a:lnTo>
                    <a:pt x="2284" y="700"/>
                  </a:lnTo>
                  <a:lnTo>
                    <a:pt x="2281" y="729"/>
                  </a:lnTo>
                  <a:lnTo>
                    <a:pt x="2278" y="756"/>
                  </a:lnTo>
                  <a:lnTo>
                    <a:pt x="2276" y="780"/>
                  </a:lnTo>
                  <a:lnTo>
                    <a:pt x="2274" y="803"/>
                  </a:lnTo>
                  <a:lnTo>
                    <a:pt x="2273" y="823"/>
                  </a:lnTo>
                  <a:lnTo>
                    <a:pt x="2273" y="841"/>
                  </a:lnTo>
                  <a:lnTo>
                    <a:pt x="2273" y="854"/>
                  </a:lnTo>
                  <a:lnTo>
                    <a:pt x="2274" y="866"/>
                  </a:lnTo>
                  <a:lnTo>
                    <a:pt x="2275" y="877"/>
                  </a:lnTo>
                  <a:lnTo>
                    <a:pt x="2277" y="888"/>
                  </a:lnTo>
                  <a:lnTo>
                    <a:pt x="2279" y="898"/>
                  </a:lnTo>
                  <a:lnTo>
                    <a:pt x="2282" y="907"/>
                  </a:lnTo>
                  <a:lnTo>
                    <a:pt x="2288" y="923"/>
                  </a:lnTo>
                  <a:lnTo>
                    <a:pt x="2292" y="931"/>
                  </a:lnTo>
                  <a:lnTo>
                    <a:pt x="2296" y="938"/>
                  </a:lnTo>
                  <a:lnTo>
                    <a:pt x="2300" y="944"/>
                  </a:lnTo>
                  <a:lnTo>
                    <a:pt x="2305" y="950"/>
                  </a:lnTo>
                  <a:lnTo>
                    <a:pt x="2307" y="953"/>
                  </a:lnTo>
                  <a:lnTo>
                    <a:pt x="2309" y="955"/>
                  </a:lnTo>
                  <a:lnTo>
                    <a:pt x="2314" y="960"/>
                  </a:lnTo>
                  <a:lnTo>
                    <a:pt x="2324" y="969"/>
                  </a:lnTo>
                  <a:lnTo>
                    <a:pt x="2335" y="975"/>
                  </a:lnTo>
                  <a:lnTo>
                    <a:pt x="2345" y="981"/>
                  </a:lnTo>
                  <a:lnTo>
                    <a:pt x="2356" y="985"/>
                  </a:lnTo>
                  <a:lnTo>
                    <a:pt x="2366" y="988"/>
                  </a:lnTo>
                  <a:lnTo>
                    <a:pt x="2375" y="989"/>
                  </a:lnTo>
                  <a:lnTo>
                    <a:pt x="2384" y="991"/>
                  </a:lnTo>
                  <a:lnTo>
                    <a:pt x="2398" y="991"/>
                  </a:lnTo>
                  <a:lnTo>
                    <a:pt x="2408" y="991"/>
                  </a:lnTo>
                  <a:lnTo>
                    <a:pt x="2418" y="990"/>
                  </a:lnTo>
                  <a:lnTo>
                    <a:pt x="2429" y="988"/>
                  </a:lnTo>
                  <a:lnTo>
                    <a:pt x="2439" y="985"/>
                  </a:lnTo>
                  <a:lnTo>
                    <a:pt x="2450" y="981"/>
                  </a:lnTo>
                  <a:lnTo>
                    <a:pt x="2462" y="977"/>
                  </a:lnTo>
                  <a:lnTo>
                    <a:pt x="2473" y="971"/>
                  </a:lnTo>
                  <a:lnTo>
                    <a:pt x="2485" y="965"/>
                  </a:lnTo>
                  <a:lnTo>
                    <a:pt x="2497" y="958"/>
                  </a:lnTo>
                  <a:lnTo>
                    <a:pt x="2509" y="950"/>
                  </a:lnTo>
                  <a:lnTo>
                    <a:pt x="2522" y="941"/>
                  </a:lnTo>
                  <a:lnTo>
                    <a:pt x="2535" y="931"/>
                  </a:lnTo>
                  <a:lnTo>
                    <a:pt x="2548" y="921"/>
                  </a:lnTo>
                  <a:lnTo>
                    <a:pt x="2562" y="909"/>
                  </a:lnTo>
                  <a:lnTo>
                    <a:pt x="2576" y="897"/>
                  </a:lnTo>
                  <a:lnTo>
                    <a:pt x="2590" y="883"/>
                  </a:lnTo>
                  <a:lnTo>
                    <a:pt x="2606" y="868"/>
                  </a:lnTo>
                  <a:lnTo>
                    <a:pt x="2620" y="854"/>
                  </a:lnTo>
                  <a:lnTo>
                    <a:pt x="2622" y="865"/>
                  </a:lnTo>
                  <a:lnTo>
                    <a:pt x="2626" y="875"/>
                  </a:lnTo>
                  <a:lnTo>
                    <a:pt x="2629" y="884"/>
                  </a:lnTo>
                  <a:lnTo>
                    <a:pt x="2633" y="893"/>
                  </a:lnTo>
                  <a:lnTo>
                    <a:pt x="2637" y="902"/>
                  </a:lnTo>
                  <a:lnTo>
                    <a:pt x="2641" y="910"/>
                  </a:lnTo>
                  <a:lnTo>
                    <a:pt x="2645" y="918"/>
                  </a:lnTo>
                  <a:lnTo>
                    <a:pt x="2650" y="925"/>
                  </a:lnTo>
                  <a:lnTo>
                    <a:pt x="2654" y="931"/>
                  </a:lnTo>
                  <a:lnTo>
                    <a:pt x="2659" y="938"/>
                  </a:lnTo>
                  <a:lnTo>
                    <a:pt x="2664" y="943"/>
                  </a:lnTo>
                  <a:lnTo>
                    <a:pt x="2669" y="949"/>
                  </a:lnTo>
                  <a:lnTo>
                    <a:pt x="2675" y="954"/>
                  </a:lnTo>
                  <a:lnTo>
                    <a:pt x="2680" y="958"/>
                  </a:lnTo>
                  <a:lnTo>
                    <a:pt x="2686" y="963"/>
                  </a:lnTo>
                  <a:lnTo>
                    <a:pt x="2691" y="966"/>
                  </a:lnTo>
                  <a:lnTo>
                    <a:pt x="2702" y="973"/>
                  </a:lnTo>
                  <a:lnTo>
                    <a:pt x="2714" y="979"/>
                  </a:lnTo>
                  <a:lnTo>
                    <a:pt x="2719" y="981"/>
                  </a:lnTo>
                  <a:lnTo>
                    <a:pt x="2725" y="983"/>
                  </a:lnTo>
                  <a:lnTo>
                    <a:pt x="2737" y="986"/>
                  </a:lnTo>
                  <a:lnTo>
                    <a:pt x="2748" y="989"/>
                  </a:lnTo>
                  <a:lnTo>
                    <a:pt x="2759" y="990"/>
                  </a:lnTo>
                  <a:lnTo>
                    <a:pt x="2770" y="991"/>
                  </a:lnTo>
                  <a:lnTo>
                    <a:pt x="2779" y="991"/>
                  </a:lnTo>
                  <a:lnTo>
                    <a:pt x="2793" y="991"/>
                  </a:lnTo>
                  <a:lnTo>
                    <a:pt x="2807" y="990"/>
                  </a:lnTo>
                  <a:lnTo>
                    <a:pt x="2821" y="987"/>
                  </a:lnTo>
                  <a:lnTo>
                    <a:pt x="2835" y="984"/>
                  </a:lnTo>
                  <a:lnTo>
                    <a:pt x="2850" y="980"/>
                  </a:lnTo>
                  <a:lnTo>
                    <a:pt x="2864" y="975"/>
                  </a:lnTo>
                  <a:lnTo>
                    <a:pt x="2879" y="969"/>
                  </a:lnTo>
                  <a:lnTo>
                    <a:pt x="2894" y="962"/>
                  </a:lnTo>
                  <a:lnTo>
                    <a:pt x="2909" y="954"/>
                  </a:lnTo>
                  <a:lnTo>
                    <a:pt x="2925" y="946"/>
                  </a:lnTo>
                  <a:lnTo>
                    <a:pt x="2940" y="936"/>
                  </a:lnTo>
                  <a:lnTo>
                    <a:pt x="2956" y="925"/>
                  </a:lnTo>
                  <a:lnTo>
                    <a:pt x="2973" y="914"/>
                  </a:lnTo>
                  <a:lnTo>
                    <a:pt x="2989" y="901"/>
                  </a:lnTo>
                  <a:lnTo>
                    <a:pt x="3006" y="888"/>
                  </a:lnTo>
                  <a:lnTo>
                    <a:pt x="3023" y="873"/>
                  </a:lnTo>
                  <a:lnTo>
                    <a:pt x="3038" y="860"/>
                  </a:lnTo>
                  <a:lnTo>
                    <a:pt x="3053" y="846"/>
                  </a:lnTo>
                  <a:lnTo>
                    <a:pt x="3067" y="832"/>
                  </a:lnTo>
                  <a:lnTo>
                    <a:pt x="3082" y="817"/>
                  </a:lnTo>
                  <a:lnTo>
                    <a:pt x="3096" y="801"/>
                  </a:lnTo>
                  <a:lnTo>
                    <a:pt x="3111" y="786"/>
                  </a:lnTo>
                  <a:lnTo>
                    <a:pt x="3125" y="769"/>
                  </a:lnTo>
                  <a:lnTo>
                    <a:pt x="3139" y="753"/>
                  </a:lnTo>
                  <a:lnTo>
                    <a:pt x="3136" y="775"/>
                  </a:lnTo>
                  <a:lnTo>
                    <a:pt x="3130" y="856"/>
                  </a:lnTo>
                  <a:lnTo>
                    <a:pt x="3130" y="867"/>
                  </a:lnTo>
                  <a:lnTo>
                    <a:pt x="3131" y="878"/>
                  </a:lnTo>
                  <a:lnTo>
                    <a:pt x="3132" y="888"/>
                  </a:lnTo>
                  <a:lnTo>
                    <a:pt x="3133" y="898"/>
                  </a:lnTo>
                  <a:lnTo>
                    <a:pt x="3135" y="907"/>
                  </a:lnTo>
                  <a:lnTo>
                    <a:pt x="3138" y="915"/>
                  </a:lnTo>
                  <a:lnTo>
                    <a:pt x="3140" y="923"/>
                  </a:lnTo>
                  <a:lnTo>
                    <a:pt x="3144" y="930"/>
                  </a:lnTo>
                  <a:lnTo>
                    <a:pt x="3147" y="937"/>
                  </a:lnTo>
                  <a:lnTo>
                    <a:pt x="3150" y="943"/>
                  </a:lnTo>
                  <a:lnTo>
                    <a:pt x="3154" y="949"/>
                  </a:lnTo>
                  <a:lnTo>
                    <a:pt x="3158" y="954"/>
                  </a:lnTo>
                  <a:lnTo>
                    <a:pt x="3163" y="959"/>
                  </a:lnTo>
                  <a:lnTo>
                    <a:pt x="3167" y="963"/>
                  </a:lnTo>
                  <a:lnTo>
                    <a:pt x="3172" y="967"/>
                  </a:lnTo>
                  <a:lnTo>
                    <a:pt x="3176" y="971"/>
                  </a:lnTo>
                  <a:lnTo>
                    <a:pt x="3186" y="977"/>
                  </a:lnTo>
                  <a:lnTo>
                    <a:pt x="3195" y="982"/>
                  </a:lnTo>
                  <a:lnTo>
                    <a:pt x="3200" y="984"/>
                  </a:lnTo>
                  <a:lnTo>
                    <a:pt x="3205" y="985"/>
                  </a:lnTo>
                  <a:lnTo>
                    <a:pt x="3209" y="987"/>
                  </a:lnTo>
                  <a:lnTo>
                    <a:pt x="3214" y="988"/>
                  </a:lnTo>
                  <a:lnTo>
                    <a:pt x="3223" y="990"/>
                  </a:lnTo>
                  <a:lnTo>
                    <a:pt x="3230" y="991"/>
                  </a:lnTo>
                  <a:lnTo>
                    <a:pt x="3243" y="991"/>
                  </a:lnTo>
                  <a:lnTo>
                    <a:pt x="3257" y="991"/>
                  </a:lnTo>
                  <a:lnTo>
                    <a:pt x="3272" y="989"/>
                  </a:lnTo>
                  <a:lnTo>
                    <a:pt x="3279" y="987"/>
                  </a:lnTo>
                  <a:lnTo>
                    <a:pt x="3286" y="985"/>
                  </a:lnTo>
                  <a:lnTo>
                    <a:pt x="3293" y="983"/>
                  </a:lnTo>
                  <a:lnTo>
                    <a:pt x="3300" y="980"/>
                  </a:lnTo>
                  <a:lnTo>
                    <a:pt x="3314" y="974"/>
                  </a:lnTo>
                  <a:lnTo>
                    <a:pt x="3321" y="971"/>
                  </a:lnTo>
                  <a:lnTo>
                    <a:pt x="3328" y="967"/>
                  </a:lnTo>
                  <a:lnTo>
                    <a:pt x="3335" y="963"/>
                  </a:lnTo>
                  <a:lnTo>
                    <a:pt x="3342" y="959"/>
                  </a:lnTo>
                  <a:lnTo>
                    <a:pt x="3357" y="949"/>
                  </a:lnTo>
                  <a:lnTo>
                    <a:pt x="3356" y="948"/>
                  </a:lnTo>
                  <a:lnTo>
                    <a:pt x="3354" y="946"/>
                  </a:lnTo>
                  <a:lnTo>
                    <a:pt x="3353" y="944"/>
                  </a:lnTo>
                  <a:lnTo>
                    <a:pt x="3352" y="940"/>
                  </a:lnTo>
                  <a:lnTo>
                    <a:pt x="3351" y="936"/>
                  </a:lnTo>
                  <a:lnTo>
                    <a:pt x="3350" y="924"/>
                  </a:lnTo>
                  <a:lnTo>
                    <a:pt x="3350" y="908"/>
                  </a:lnTo>
                  <a:lnTo>
                    <a:pt x="3351" y="889"/>
                  </a:lnTo>
                  <a:lnTo>
                    <a:pt x="3352" y="866"/>
                  </a:lnTo>
                  <a:lnTo>
                    <a:pt x="3357" y="813"/>
                  </a:lnTo>
                  <a:lnTo>
                    <a:pt x="3361" y="783"/>
                  </a:lnTo>
                  <a:lnTo>
                    <a:pt x="3365" y="751"/>
                  </a:lnTo>
                  <a:lnTo>
                    <a:pt x="3374" y="682"/>
                  </a:lnTo>
                  <a:lnTo>
                    <a:pt x="3384" y="608"/>
                  </a:lnTo>
                  <a:lnTo>
                    <a:pt x="3395" y="532"/>
                  </a:lnTo>
                  <a:lnTo>
                    <a:pt x="3419" y="383"/>
                  </a:lnTo>
                  <a:lnTo>
                    <a:pt x="3440" y="254"/>
                  </a:lnTo>
                  <a:lnTo>
                    <a:pt x="3461" y="128"/>
                  </a:lnTo>
                  <a:lnTo>
                    <a:pt x="3462" y="127"/>
                  </a:lnTo>
                  <a:lnTo>
                    <a:pt x="3462" y="122"/>
                  </a:lnTo>
                  <a:lnTo>
                    <a:pt x="3463" y="118"/>
                  </a:lnTo>
                  <a:lnTo>
                    <a:pt x="3463" y="110"/>
                  </a:lnTo>
                  <a:lnTo>
                    <a:pt x="3462" y="106"/>
                  </a:lnTo>
                  <a:lnTo>
                    <a:pt x="3461" y="102"/>
                  </a:lnTo>
                  <a:lnTo>
                    <a:pt x="3461" y="98"/>
                  </a:lnTo>
                  <a:lnTo>
                    <a:pt x="3459" y="95"/>
                  </a:lnTo>
                  <a:lnTo>
                    <a:pt x="3456" y="88"/>
                  </a:lnTo>
                  <a:lnTo>
                    <a:pt x="3452" y="82"/>
                  </a:lnTo>
                  <a:lnTo>
                    <a:pt x="3447" y="76"/>
                  </a:lnTo>
                  <a:lnTo>
                    <a:pt x="3441" y="70"/>
                  </a:lnTo>
                  <a:lnTo>
                    <a:pt x="3435" y="65"/>
                  </a:lnTo>
                  <a:lnTo>
                    <a:pt x="3432" y="63"/>
                  </a:lnTo>
                  <a:lnTo>
                    <a:pt x="3428" y="61"/>
                  </a:lnTo>
                  <a:lnTo>
                    <a:pt x="3420" y="57"/>
                  </a:lnTo>
                  <a:lnTo>
                    <a:pt x="3412" y="53"/>
                  </a:lnTo>
                  <a:lnTo>
                    <a:pt x="3404" y="49"/>
                  </a:lnTo>
                  <a:lnTo>
                    <a:pt x="3395" y="46"/>
                  </a:lnTo>
                  <a:lnTo>
                    <a:pt x="3376" y="41"/>
                  </a:lnTo>
                  <a:lnTo>
                    <a:pt x="3357" y="36"/>
                  </a:lnTo>
                  <a:lnTo>
                    <a:pt x="3337" y="33"/>
                  </a:lnTo>
                  <a:lnTo>
                    <a:pt x="3317" y="30"/>
                  </a:lnTo>
                  <a:lnTo>
                    <a:pt x="3299" y="29"/>
                  </a:lnTo>
                  <a:lnTo>
                    <a:pt x="3282" y="28"/>
                  </a:lnTo>
                  <a:lnTo>
                    <a:pt x="3267" y="27"/>
                  </a:lnTo>
                  <a:lnTo>
                    <a:pt x="3244" y="27"/>
                  </a:lnTo>
                  <a:close/>
                  <a:moveTo>
                    <a:pt x="929" y="821"/>
                  </a:moveTo>
                  <a:lnTo>
                    <a:pt x="923" y="888"/>
                  </a:lnTo>
                  <a:lnTo>
                    <a:pt x="917" y="950"/>
                  </a:lnTo>
                  <a:lnTo>
                    <a:pt x="910" y="1009"/>
                  </a:lnTo>
                  <a:lnTo>
                    <a:pt x="904" y="1063"/>
                  </a:lnTo>
                  <a:lnTo>
                    <a:pt x="897" y="1114"/>
                  </a:lnTo>
                  <a:lnTo>
                    <a:pt x="890" y="1160"/>
                  </a:lnTo>
                  <a:lnTo>
                    <a:pt x="882" y="1202"/>
                  </a:lnTo>
                  <a:lnTo>
                    <a:pt x="875" y="1240"/>
                  </a:lnTo>
                  <a:lnTo>
                    <a:pt x="868" y="1275"/>
                  </a:lnTo>
                  <a:lnTo>
                    <a:pt x="861" y="1306"/>
                  </a:lnTo>
                  <a:lnTo>
                    <a:pt x="854" y="1333"/>
                  </a:lnTo>
                  <a:lnTo>
                    <a:pt x="847" y="1357"/>
                  </a:lnTo>
                  <a:lnTo>
                    <a:pt x="843" y="1368"/>
                  </a:lnTo>
                  <a:lnTo>
                    <a:pt x="840" y="1378"/>
                  </a:lnTo>
                  <a:lnTo>
                    <a:pt x="833" y="1395"/>
                  </a:lnTo>
                  <a:lnTo>
                    <a:pt x="830" y="1403"/>
                  </a:lnTo>
                  <a:lnTo>
                    <a:pt x="826" y="1410"/>
                  </a:lnTo>
                  <a:lnTo>
                    <a:pt x="823" y="1415"/>
                  </a:lnTo>
                  <a:lnTo>
                    <a:pt x="820" y="1421"/>
                  </a:lnTo>
                  <a:lnTo>
                    <a:pt x="809" y="1437"/>
                  </a:lnTo>
                  <a:lnTo>
                    <a:pt x="798" y="1452"/>
                  </a:lnTo>
                  <a:lnTo>
                    <a:pt x="791" y="1460"/>
                  </a:lnTo>
                  <a:lnTo>
                    <a:pt x="785" y="1467"/>
                  </a:lnTo>
                  <a:lnTo>
                    <a:pt x="779" y="1473"/>
                  </a:lnTo>
                  <a:lnTo>
                    <a:pt x="773" y="1480"/>
                  </a:lnTo>
                  <a:lnTo>
                    <a:pt x="766" y="1486"/>
                  </a:lnTo>
                  <a:lnTo>
                    <a:pt x="760" y="1492"/>
                  </a:lnTo>
                  <a:lnTo>
                    <a:pt x="746" y="1503"/>
                  </a:lnTo>
                  <a:lnTo>
                    <a:pt x="732" y="1513"/>
                  </a:lnTo>
                  <a:lnTo>
                    <a:pt x="724" y="1517"/>
                  </a:lnTo>
                  <a:lnTo>
                    <a:pt x="717" y="1522"/>
                  </a:lnTo>
                  <a:lnTo>
                    <a:pt x="701" y="1529"/>
                  </a:lnTo>
                  <a:lnTo>
                    <a:pt x="694" y="1533"/>
                  </a:lnTo>
                  <a:lnTo>
                    <a:pt x="686" y="1536"/>
                  </a:lnTo>
                  <a:lnTo>
                    <a:pt x="669" y="1542"/>
                  </a:lnTo>
                  <a:lnTo>
                    <a:pt x="661" y="1544"/>
                  </a:lnTo>
                  <a:lnTo>
                    <a:pt x="652" y="1546"/>
                  </a:lnTo>
                  <a:lnTo>
                    <a:pt x="635" y="1550"/>
                  </a:lnTo>
                  <a:lnTo>
                    <a:pt x="616" y="1552"/>
                  </a:lnTo>
                  <a:lnTo>
                    <a:pt x="598" y="1554"/>
                  </a:lnTo>
                  <a:lnTo>
                    <a:pt x="578" y="1554"/>
                  </a:lnTo>
                  <a:lnTo>
                    <a:pt x="565" y="1554"/>
                  </a:lnTo>
                  <a:lnTo>
                    <a:pt x="549" y="1552"/>
                  </a:lnTo>
                  <a:lnTo>
                    <a:pt x="541" y="1550"/>
                  </a:lnTo>
                  <a:lnTo>
                    <a:pt x="533" y="1548"/>
                  </a:lnTo>
                  <a:lnTo>
                    <a:pt x="515" y="1543"/>
                  </a:lnTo>
                  <a:lnTo>
                    <a:pt x="506" y="1540"/>
                  </a:lnTo>
                  <a:lnTo>
                    <a:pt x="496" y="1536"/>
                  </a:lnTo>
                  <a:lnTo>
                    <a:pt x="478" y="1527"/>
                  </a:lnTo>
                  <a:lnTo>
                    <a:pt x="468" y="1522"/>
                  </a:lnTo>
                  <a:lnTo>
                    <a:pt x="459" y="1516"/>
                  </a:lnTo>
                  <a:lnTo>
                    <a:pt x="450" y="1509"/>
                  </a:lnTo>
                  <a:lnTo>
                    <a:pt x="441" y="1503"/>
                  </a:lnTo>
                  <a:lnTo>
                    <a:pt x="432" y="1495"/>
                  </a:lnTo>
                  <a:lnTo>
                    <a:pt x="423" y="1487"/>
                  </a:lnTo>
                  <a:lnTo>
                    <a:pt x="415" y="1478"/>
                  </a:lnTo>
                  <a:lnTo>
                    <a:pt x="407" y="1469"/>
                  </a:lnTo>
                  <a:lnTo>
                    <a:pt x="399" y="1459"/>
                  </a:lnTo>
                  <a:lnTo>
                    <a:pt x="392" y="1448"/>
                  </a:lnTo>
                  <a:lnTo>
                    <a:pt x="385" y="1436"/>
                  </a:lnTo>
                  <a:lnTo>
                    <a:pt x="379" y="1424"/>
                  </a:lnTo>
                  <a:lnTo>
                    <a:pt x="373" y="1411"/>
                  </a:lnTo>
                  <a:lnTo>
                    <a:pt x="368" y="1398"/>
                  </a:lnTo>
                  <a:lnTo>
                    <a:pt x="364" y="1383"/>
                  </a:lnTo>
                  <a:lnTo>
                    <a:pt x="360" y="1368"/>
                  </a:lnTo>
                  <a:lnTo>
                    <a:pt x="357" y="1352"/>
                  </a:lnTo>
                  <a:lnTo>
                    <a:pt x="355" y="1335"/>
                  </a:lnTo>
                  <a:lnTo>
                    <a:pt x="353" y="1317"/>
                  </a:lnTo>
                  <a:lnTo>
                    <a:pt x="353" y="1299"/>
                  </a:lnTo>
                  <a:lnTo>
                    <a:pt x="354" y="1281"/>
                  </a:lnTo>
                  <a:lnTo>
                    <a:pt x="356" y="1264"/>
                  </a:lnTo>
                  <a:lnTo>
                    <a:pt x="360" y="1246"/>
                  </a:lnTo>
                  <a:lnTo>
                    <a:pt x="365" y="1227"/>
                  </a:lnTo>
                  <a:lnTo>
                    <a:pt x="372" y="1209"/>
                  </a:lnTo>
                  <a:lnTo>
                    <a:pt x="380" y="1189"/>
                  </a:lnTo>
                  <a:lnTo>
                    <a:pt x="390" y="1170"/>
                  </a:lnTo>
                  <a:lnTo>
                    <a:pt x="401" y="1150"/>
                  </a:lnTo>
                  <a:lnTo>
                    <a:pt x="414" y="1130"/>
                  </a:lnTo>
                  <a:lnTo>
                    <a:pt x="428" y="1109"/>
                  </a:lnTo>
                  <a:lnTo>
                    <a:pt x="444" y="1088"/>
                  </a:lnTo>
                  <a:lnTo>
                    <a:pt x="452" y="1077"/>
                  </a:lnTo>
                  <a:lnTo>
                    <a:pt x="461" y="1066"/>
                  </a:lnTo>
                  <a:lnTo>
                    <a:pt x="470" y="1055"/>
                  </a:lnTo>
                  <a:lnTo>
                    <a:pt x="479" y="1044"/>
                  </a:lnTo>
                  <a:lnTo>
                    <a:pt x="499" y="1022"/>
                  </a:lnTo>
                  <a:lnTo>
                    <a:pt x="520" y="1000"/>
                  </a:lnTo>
                  <a:lnTo>
                    <a:pt x="542" y="977"/>
                  </a:lnTo>
                  <a:lnTo>
                    <a:pt x="551" y="978"/>
                  </a:lnTo>
                  <a:lnTo>
                    <a:pt x="573" y="977"/>
                  </a:lnTo>
                  <a:lnTo>
                    <a:pt x="585" y="976"/>
                  </a:lnTo>
                  <a:lnTo>
                    <a:pt x="596" y="974"/>
                  </a:lnTo>
                  <a:lnTo>
                    <a:pt x="608" y="972"/>
                  </a:lnTo>
                  <a:lnTo>
                    <a:pt x="619" y="970"/>
                  </a:lnTo>
                  <a:lnTo>
                    <a:pt x="643" y="963"/>
                  </a:lnTo>
                  <a:lnTo>
                    <a:pt x="654" y="959"/>
                  </a:lnTo>
                  <a:lnTo>
                    <a:pt x="666" y="954"/>
                  </a:lnTo>
                  <a:lnTo>
                    <a:pt x="678" y="949"/>
                  </a:lnTo>
                  <a:lnTo>
                    <a:pt x="690" y="944"/>
                  </a:lnTo>
                  <a:lnTo>
                    <a:pt x="702" y="937"/>
                  </a:lnTo>
                  <a:lnTo>
                    <a:pt x="714" y="931"/>
                  </a:lnTo>
                  <a:lnTo>
                    <a:pt x="726" y="924"/>
                  </a:lnTo>
                  <a:lnTo>
                    <a:pt x="738" y="916"/>
                  </a:lnTo>
                  <a:lnTo>
                    <a:pt x="762" y="900"/>
                  </a:lnTo>
                  <a:lnTo>
                    <a:pt x="786" y="881"/>
                  </a:lnTo>
                  <a:lnTo>
                    <a:pt x="799" y="871"/>
                  </a:lnTo>
                  <a:lnTo>
                    <a:pt x="811" y="861"/>
                  </a:lnTo>
                  <a:lnTo>
                    <a:pt x="836" y="839"/>
                  </a:lnTo>
                  <a:lnTo>
                    <a:pt x="861" y="814"/>
                  </a:lnTo>
                  <a:lnTo>
                    <a:pt x="886" y="788"/>
                  </a:lnTo>
                  <a:lnTo>
                    <a:pt x="899" y="774"/>
                  </a:lnTo>
                  <a:lnTo>
                    <a:pt x="912" y="760"/>
                  </a:lnTo>
                  <a:lnTo>
                    <a:pt x="925" y="745"/>
                  </a:lnTo>
                  <a:lnTo>
                    <a:pt x="938" y="729"/>
                  </a:lnTo>
                  <a:lnTo>
                    <a:pt x="929" y="821"/>
                  </a:lnTo>
                  <a:close/>
                  <a:moveTo>
                    <a:pt x="987" y="304"/>
                  </a:moveTo>
                  <a:lnTo>
                    <a:pt x="986" y="316"/>
                  </a:lnTo>
                  <a:lnTo>
                    <a:pt x="984" y="328"/>
                  </a:lnTo>
                  <a:lnTo>
                    <a:pt x="979" y="352"/>
                  </a:lnTo>
                  <a:lnTo>
                    <a:pt x="973" y="376"/>
                  </a:lnTo>
                  <a:lnTo>
                    <a:pt x="967" y="399"/>
                  </a:lnTo>
                  <a:lnTo>
                    <a:pt x="959" y="423"/>
                  </a:lnTo>
                  <a:lnTo>
                    <a:pt x="950" y="445"/>
                  </a:lnTo>
                  <a:lnTo>
                    <a:pt x="941" y="468"/>
                  </a:lnTo>
                  <a:lnTo>
                    <a:pt x="930" y="490"/>
                  </a:lnTo>
                  <a:lnTo>
                    <a:pt x="924" y="501"/>
                  </a:lnTo>
                  <a:lnTo>
                    <a:pt x="918" y="512"/>
                  </a:lnTo>
                  <a:lnTo>
                    <a:pt x="906" y="534"/>
                  </a:lnTo>
                  <a:lnTo>
                    <a:pt x="899" y="544"/>
                  </a:lnTo>
                  <a:lnTo>
                    <a:pt x="892" y="555"/>
                  </a:lnTo>
                  <a:lnTo>
                    <a:pt x="877" y="576"/>
                  </a:lnTo>
                  <a:lnTo>
                    <a:pt x="862" y="596"/>
                  </a:lnTo>
                  <a:lnTo>
                    <a:pt x="845" y="616"/>
                  </a:lnTo>
                  <a:lnTo>
                    <a:pt x="828" y="636"/>
                  </a:lnTo>
                  <a:lnTo>
                    <a:pt x="810" y="656"/>
                  </a:lnTo>
                  <a:lnTo>
                    <a:pt x="793" y="672"/>
                  </a:lnTo>
                  <a:lnTo>
                    <a:pt x="778" y="687"/>
                  </a:lnTo>
                  <a:lnTo>
                    <a:pt x="763" y="699"/>
                  </a:lnTo>
                  <a:lnTo>
                    <a:pt x="750" y="711"/>
                  </a:lnTo>
                  <a:lnTo>
                    <a:pt x="737" y="721"/>
                  </a:lnTo>
                  <a:lnTo>
                    <a:pt x="725" y="729"/>
                  </a:lnTo>
                  <a:lnTo>
                    <a:pt x="714" y="736"/>
                  </a:lnTo>
                  <a:lnTo>
                    <a:pt x="703" y="743"/>
                  </a:lnTo>
                  <a:lnTo>
                    <a:pt x="694" y="748"/>
                  </a:lnTo>
                  <a:lnTo>
                    <a:pt x="685" y="752"/>
                  </a:lnTo>
                  <a:lnTo>
                    <a:pt x="677" y="755"/>
                  </a:lnTo>
                  <a:lnTo>
                    <a:pt x="670" y="757"/>
                  </a:lnTo>
                  <a:lnTo>
                    <a:pt x="663" y="759"/>
                  </a:lnTo>
                  <a:lnTo>
                    <a:pt x="657" y="760"/>
                  </a:lnTo>
                  <a:lnTo>
                    <a:pt x="648" y="761"/>
                  </a:lnTo>
                  <a:lnTo>
                    <a:pt x="644" y="760"/>
                  </a:lnTo>
                  <a:lnTo>
                    <a:pt x="641" y="759"/>
                  </a:lnTo>
                  <a:lnTo>
                    <a:pt x="639" y="756"/>
                  </a:lnTo>
                  <a:lnTo>
                    <a:pt x="636" y="753"/>
                  </a:lnTo>
                  <a:lnTo>
                    <a:pt x="634" y="749"/>
                  </a:lnTo>
                  <a:lnTo>
                    <a:pt x="633" y="744"/>
                  </a:lnTo>
                  <a:lnTo>
                    <a:pt x="630" y="734"/>
                  </a:lnTo>
                  <a:lnTo>
                    <a:pt x="629" y="729"/>
                  </a:lnTo>
                  <a:lnTo>
                    <a:pt x="629" y="723"/>
                  </a:lnTo>
                  <a:lnTo>
                    <a:pt x="628" y="712"/>
                  </a:lnTo>
                  <a:lnTo>
                    <a:pt x="628" y="692"/>
                  </a:lnTo>
                  <a:lnTo>
                    <a:pt x="629" y="667"/>
                  </a:lnTo>
                  <a:lnTo>
                    <a:pt x="630" y="641"/>
                  </a:lnTo>
                  <a:lnTo>
                    <a:pt x="632" y="616"/>
                  </a:lnTo>
                  <a:lnTo>
                    <a:pt x="635" y="592"/>
                  </a:lnTo>
                  <a:lnTo>
                    <a:pt x="638" y="568"/>
                  </a:lnTo>
                  <a:lnTo>
                    <a:pt x="642" y="545"/>
                  </a:lnTo>
                  <a:lnTo>
                    <a:pt x="647" y="522"/>
                  </a:lnTo>
                  <a:lnTo>
                    <a:pt x="649" y="510"/>
                  </a:lnTo>
                  <a:lnTo>
                    <a:pt x="652" y="499"/>
                  </a:lnTo>
                  <a:lnTo>
                    <a:pt x="657" y="478"/>
                  </a:lnTo>
                  <a:lnTo>
                    <a:pt x="664" y="456"/>
                  </a:lnTo>
                  <a:lnTo>
                    <a:pt x="671" y="436"/>
                  </a:lnTo>
                  <a:lnTo>
                    <a:pt x="678" y="415"/>
                  </a:lnTo>
                  <a:lnTo>
                    <a:pt x="682" y="406"/>
                  </a:lnTo>
                  <a:lnTo>
                    <a:pt x="687" y="396"/>
                  </a:lnTo>
                  <a:lnTo>
                    <a:pt x="695" y="377"/>
                  </a:lnTo>
                  <a:lnTo>
                    <a:pt x="705" y="358"/>
                  </a:lnTo>
                  <a:lnTo>
                    <a:pt x="715" y="341"/>
                  </a:lnTo>
                  <a:lnTo>
                    <a:pt x="724" y="325"/>
                  </a:lnTo>
                  <a:lnTo>
                    <a:pt x="734" y="311"/>
                  </a:lnTo>
                  <a:lnTo>
                    <a:pt x="744" y="297"/>
                  </a:lnTo>
                  <a:lnTo>
                    <a:pt x="748" y="291"/>
                  </a:lnTo>
                  <a:lnTo>
                    <a:pt x="753" y="285"/>
                  </a:lnTo>
                  <a:lnTo>
                    <a:pt x="763" y="274"/>
                  </a:lnTo>
                  <a:lnTo>
                    <a:pt x="774" y="263"/>
                  </a:lnTo>
                  <a:lnTo>
                    <a:pt x="784" y="254"/>
                  </a:lnTo>
                  <a:lnTo>
                    <a:pt x="795" y="246"/>
                  </a:lnTo>
                  <a:lnTo>
                    <a:pt x="805" y="238"/>
                  </a:lnTo>
                  <a:lnTo>
                    <a:pt x="816" y="232"/>
                  </a:lnTo>
                  <a:lnTo>
                    <a:pt x="827" y="227"/>
                  </a:lnTo>
                  <a:lnTo>
                    <a:pt x="838" y="222"/>
                  </a:lnTo>
                  <a:lnTo>
                    <a:pt x="850" y="219"/>
                  </a:lnTo>
                  <a:lnTo>
                    <a:pt x="861" y="216"/>
                  </a:lnTo>
                  <a:lnTo>
                    <a:pt x="873" y="214"/>
                  </a:lnTo>
                  <a:lnTo>
                    <a:pt x="885" y="213"/>
                  </a:lnTo>
                  <a:lnTo>
                    <a:pt x="901" y="213"/>
                  </a:lnTo>
                  <a:lnTo>
                    <a:pt x="917" y="214"/>
                  </a:lnTo>
                  <a:lnTo>
                    <a:pt x="933" y="215"/>
                  </a:lnTo>
                  <a:lnTo>
                    <a:pt x="948" y="217"/>
                  </a:lnTo>
                  <a:lnTo>
                    <a:pt x="962" y="220"/>
                  </a:lnTo>
                  <a:lnTo>
                    <a:pt x="975" y="223"/>
                  </a:lnTo>
                  <a:lnTo>
                    <a:pt x="998" y="229"/>
                  </a:lnTo>
                  <a:lnTo>
                    <a:pt x="991" y="277"/>
                  </a:lnTo>
                  <a:lnTo>
                    <a:pt x="987" y="304"/>
                  </a:lnTo>
                  <a:close/>
                  <a:moveTo>
                    <a:pt x="3204" y="299"/>
                  </a:moveTo>
                  <a:lnTo>
                    <a:pt x="3200" y="325"/>
                  </a:lnTo>
                  <a:lnTo>
                    <a:pt x="3195" y="350"/>
                  </a:lnTo>
                  <a:lnTo>
                    <a:pt x="3192" y="362"/>
                  </a:lnTo>
                  <a:lnTo>
                    <a:pt x="3189" y="374"/>
                  </a:lnTo>
                  <a:lnTo>
                    <a:pt x="3182" y="399"/>
                  </a:lnTo>
                  <a:lnTo>
                    <a:pt x="3174" y="422"/>
                  </a:lnTo>
                  <a:lnTo>
                    <a:pt x="3165" y="446"/>
                  </a:lnTo>
                  <a:lnTo>
                    <a:pt x="3156" y="469"/>
                  </a:lnTo>
                  <a:lnTo>
                    <a:pt x="3145" y="491"/>
                  </a:lnTo>
                  <a:lnTo>
                    <a:pt x="3134" y="513"/>
                  </a:lnTo>
                  <a:lnTo>
                    <a:pt x="3122" y="535"/>
                  </a:lnTo>
                  <a:lnTo>
                    <a:pt x="3109" y="557"/>
                  </a:lnTo>
                  <a:lnTo>
                    <a:pt x="3095" y="577"/>
                  </a:lnTo>
                  <a:lnTo>
                    <a:pt x="3080" y="598"/>
                  </a:lnTo>
                  <a:lnTo>
                    <a:pt x="3072" y="608"/>
                  </a:lnTo>
                  <a:lnTo>
                    <a:pt x="3064" y="618"/>
                  </a:lnTo>
                  <a:lnTo>
                    <a:pt x="3056" y="628"/>
                  </a:lnTo>
                  <a:lnTo>
                    <a:pt x="3048" y="638"/>
                  </a:lnTo>
                  <a:lnTo>
                    <a:pt x="3031" y="657"/>
                  </a:lnTo>
                  <a:lnTo>
                    <a:pt x="3015" y="673"/>
                  </a:lnTo>
                  <a:lnTo>
                    <a:pt x="3000" y="688"/>
                  </a:lnTo>
                  <a:lnTo>
                    <a:pt x="2986" y="701"/>
                  </a:lnTo>
                  <a:lnTo>
                    <a:pt x="2972" y="712"/>
                  </a:lnTo>
                  <a:lnTo>
                    <a:pt x="2960" y="722"/>
                  </a:lnTo>
                  <a:lnTo>
                    <a:pt x="2948" y="731"/>
                  </a:lnTo>
                  <a:lnTo>
                    <a:pt x="2937" y="738"/>
                  </a:lnTo>
                  <a:lnTo>
                    <a:pt x="2927" y="744"/>
                  </a:lnTo>
                  <a:lnTo>
                    <a:pt x="2917" y="749"/>
                  </a:lnTo>
                  <a:lnTo>
                    <a:pt x="2909" y="754"/>
                  </a:lnTo>
                  <a:lnTo>
                    <a:pt x="2901" y="757"/>
                  </a:lnTo>
                  <a:lnTo>
                    <a:pt x="2893" y="759"/>
                  </a:lnTo>
                  <a:lnTo>
                    <a:pt x="2887" y="761"/>
                  </a:lnTo>
                  <a:lnTo>
                    <a:pt x="2881" y="762"/>
                  </a:lnTo>
                  <a:lnTo>
                    <a:pt x="2871" y="763"/>
                  </a:lnTo>
                  <a:lnTo>
                    <a:pt x="2868" y="762"/>
                  </a:lnTo>
                  <a:lnTo>
                    <a:pt x="2865" y="761"/>
                  </a:lnTo>
                  <a:lnTo>
                    <a:pt x="2862" y="759"/>
                  </a:lnTo>
                  <a:lnTo>
                    <a:pt x="2860" y="756"/>
                  </a:lnTo>
                  <a:lnTo>
                    <a:pt x="2858" y="752"/>
                  </a:lnTo>
                  <a:lnTo>
                    <a:pt x="2856" y="748"/>
                  </a:lnTo>
                  <a:lnTo>
                    <a:pt x="2853" y="738"/>
                  </a:lnTo>
                  <a:lnTo>
                    <a:pt x="2852" y="733"/>
                  </a:lnTo>
                  <a:lnTo>
                    <a:pt x="2852" y="727"/>
                  </a:lnTo>
                  <a:lnTo>
                    <a:pt x="2850" y="716"/>
                  </a:lnTo>
                  <a:lnTo>
                    <a:pt x="2850" y="695"/>
                  </a:lnTo>
                  <a:lnTo>
                    <a:pt x="2850" y="669"/>
                  </a:lnTo>
                  <a:lnTo>
                    <a:pt x="2851" y="643"/>
                  </a:lnTo>
                  <a:lnTo>
                    <a:pt x="2853" y="618"/>
                  </a:lnTo>
                  <a:lnTo>
                    <a:pt x="2855" y="593"/>
                  </a:lnTo>
                  <a:lnTo>
                    <a:pt x="2858" y="569"/>
                  </a:lnTo>
                  <a:lnTo>
                    <a:pt x="2862" y="546"/>
                  </a:lnTo>
                  <a:lnTo>
                    <a:pt x="2866" y="523"/>
                  </a:lnTo>
                  <a:lnTo>
                    <a:pt x="2871" y="501"/>
                  </a:lnTo>
                  <a:lnTo>
                    <a:pt x="2876" y="479"/>
                  </a:lnTo>
                  <a:lnTo>
                    <a:pt x="2882" y="457"/>
                  </a:lnTo>
                  <a:lnTo>
                    <a:pt x="2889" y="437"/>
                  </a:lnTo>
                  <a:lnTo>
                    <a:pt x="2896" y="416"/>
                  </a:lnTo>
                  <a:lnTo>
                    <a:pt x="2903" y="397"/>
                  </a:lnTo>
                  <a:lnTo>
                    <a:pt x="2911" y="378"/>
                  </a:lnTo>
                  <a:lnTo>
                    <a:pt x="2920" y="359"/>
                  </a:lnTo>
                  <a:lnTo>
                    <a:pt x="2929" y="341"/>
                  </a:lnTo>
                  <a:lnTo>
                    <a:pt x="2938" y="325"/>
                  </a:lnTo>
                  <a:lnTo>
                    <a:pt x="2942" y="318"/>
                  </a:lnTo>
                  <a:lnTo>
                    <a:pt x="2947" y="311"/>
                  </a:lnTo>
                  <a:lnTo>
                    <a:pt x="2955" y="298"/>
                  </a:lnTo>
                  <a:lnTo>
                    <a:pt x="2965" y="286"/>
                  </a:lnTo>
                  <a:lnTo>
                    <a:pt x="2974" y="276"/>
                  </a:lnTo>
                  <a:lnTo>
                    <a:pt x="2983" y="266"/>
                  </a:lnTo>
                  <a:lnTo>
                    <a:pt x="2993" y="257"/>
                  </a:lnTo>
                  <a:lnTo>
                    <a:pt x="3002" y="249"/>
                  </a:lnTo>
                  <a:lnTo>
                    <a:pt x="3012" y="241"/>
                  </a:lnTo>
                  <a:lnTo>
                    <a:pt x="3022" y="235"/>
                  </a:lnTo>
                  <a:lnTo>
                    <a:pt x="3032" y="230"/>
                  </a:lnTo>
                  <a:lnTo>
                    <a:pt x="3042" y="225"/>
                  </a:lnTo>
                  <a:lnTo>
                    <a:pt x="3052" y="221"/>
                  </a:lnTo>
                  <a:lnTo>
                    <a:pt x="3062" y="217"/>
                  </a:lnTo>
                  <a:lnTo>
                    <a:pt x="3071" y="214"/>
                  </a:lnTo>
                  <a:lnTo>
                    <a:pt x="3081" y="212"/>
                  </a:lnTo>
                  <a:lnTo>
                    <a:pt x="3101" y="209"/>
                  </a:lnTo>
                  <a:lnTo>
                    <a:pt x="3110" y="208"/>
                  </a:lnTo>
                  <a:lnTo>
                    <a:pt x="3120" y="208"/>
                  </a:lnTo>
                  <a:lnTo>
                    <a:pt x="3129" y="208"/>
                  </a:lnTo>
                  <a:lnTo>
                    <a:pt x="3139" y="208"/>
                  </a:lnTo>
                  <a:lnTo>
                    <a:pt x="3156" y="209"/>
                  </a:lnTo>
                  <a:lnTo>
                    <a:pt x="3165" y="210"/>
                  </a:lnTo>
                  <a:lnTo>
                    <a:pt x="3174" y="212"/>
                  </a:lnTo>
                  <a:lnTo>
                    <a:pt x="3190" y="214"/>
                  </a:lnTo>
                  <a:lnTo>
                    <a:pt x="3219" y="219"/>
                  </a:lnTo>
                  <a:lnTo>
                    <a:pt x="3217" y="230"/>
                  </a:lnTo>
                  <a:lnTo>
                    <a:pt x="3215" y="242"/>
                  </a:lnTo>
                  <a:lnTo>
                    <a:pt x="3211" y="268"/>
                  </a:lnTo>
                  <a:lnTo>
                    <a:pt x="3204" y="29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E6C01E30-0B41-4B67-ABA0-35DDD84D47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463" y="2379977"/>
              <a:ext cx="173166" cy="244721"/>
            </a:xfrm>
            <a:custGeom>
              <a:avLst/>
              <a:gdLst>
                <a:gd name="T0" fmla="*/ 698 w 901"/>
                <a:gd name="T1" fmla="*/ 227 h 1274"/>
                <a:gd name="T2" fmla="*/ 760 w 901"/>
                <a:gd name="T3" fmla="*/ 277 h 1274"/>
                <a:gd name="T4" fmla="*/ 813 w 901"/>
                <a:gd name="T5" fmla="*/ 288 h 1274"/>
                <a:gd name="T6" fmla="*/ 855 w 901"/>
                <a:gd name="T7" fmla="*/ 274 h 1274"/>
                <a:gd name="T8" fmla="*/ 887 w 901"/>
                <a:gd name="T9" fmla="*/ 234 h 1274"/>
                <a:gd name="T10" fmla="*/ 900 w 901"/>
                <a:gd name="T11" fmla="*/ 154 h 1274"/>
                <a:gd name="T12" fmla="*/ 882 w 901"/>
                <a:gd name="T13" fmla="*/ 97 h 1274"/>
                <a:gd name="T14" fmla="*/ 837 w 901"/>
                <a:gd name="T15" fmla="*/ 54 h 1274"/>
                <a:gd name="T16" fmla="*/ 730 w 901"/>
                <a:gd name="T17" fmla="*/ 14 h 1274"/>
                <a:gd name="T18" fmla="*/ 601 w 901"/>
                <a:gd name="T19" fmla="*/ 0 h 1274"/>
                <a:gd name="T20" fmla="*/ 475 w 901"/>
                <a:gd name="T21" fmla="*/ 15 h 1274"/>
                <a:gd name="T22" fmla="*/ 367 w 901"/>
                <a:gd name="T23" fmla="*/ 57 h 1274"/>
                <a:gd name="T24" fmla="*/ 296 w 901"/>
                <a:gd name="T25" fmla="*/ 107 h 1274"/>
                <a:gd name="T26" fmla="*/ 238 w 901"/>
                <a:gd name="T27" fmla="*/ 171 h 1274"/>
                <a:gd name="T28" fmla="*/ 196 w 901"/>
                <a:gd name="T29" fmla="*/ 251 h 1274"/>
                <a:gd name="T30" fmla="*/ 179 w 901"/>
                <a:gd name="T31" fmla="*/ 341 h 1274"/>
                <a:gd name="T32" fmla="*/ 188 w 901"/>
                <a:gd name="T33" fmla="*/ 433 h 1274"/>
                <a:gd name="T34" fmla="*/ 216 w 901"/>
                <a:gd name="T35" fmla="*/ 499 h 1274"/>
                <a:gd name="T36" fmla="*/ 272 w 901"/>
                <a:gd name="T37" fmla="*/ 569 h 1274"/>
                <a:gd name="T38" fmla="*/ 398 w 901"/>
                <a:gd name="T39" fmla="*/ 682 h 1274"/>
                <a:gd name="T40" fmla="*/ 573 w 901"/>
                <a:gd name="T41" fmla="*/ 835 h 1274"/>
                <a:gd name="T42" fmla="*/ 616 w 901"/>
                <a:gd name="T43" fmla="*/ 905 h 1274"/>
                <a:gd name="T44" fmla="*/ 628 w 901"/>
                <a:gd name="T45" fmla="*/ 985 h 1274"/>
                <a:gd name="T46" fmla="*/ 616 w 901"/>
                <a:gd name="T47" fmla="*/ 1029 h 1274"/>
                <a:gd name="T48" fmla="*/ 578 w 901"/>
                <a:gd name="T49" fmla="*/ 1078 h 1274"/>
                <a:gd name="T50" fmla="*/ 517 w 901"/>
                <a:gd name="T51" fmla="*/ 1113 h 1274"/>
                <a:gd name="T52" fmla="*/ 449 w 901"/>
                <a:gd name="T53" fmla="*/ 1124 h 1274"/>
                <a:gd name="T54" fmla="*/ 371 w 901"/>
                <a:gd name="T55" fmla="*/ 1112 h 1274"/>
                <a:gd name="T56" fmla="*/ 314 w 901"/>
                <a:gd name="T57" fmla="*/ 1079 h 1274"/>
                <a:gd name="T58" fmla="*/ 259 w 901"/>
                <a:gd name="T59" fmla="*/ 1007 h 1274"/>
                <a:gd name="T60" fmla="*/ 219 w 901"/>
                <a:gd name="T61" fmla="*/ 929 h 1274"/>
                <a:gd name="T62" fmla="*/ 184 w 901"/>
                <a:gd name="T63" fmla="*/ 901 h 1274"/>
                <a:gd name="T64" fmla="*/ 131 w 901"/>
                <a:gd name="T65" fmla="*/ 888 h 1274"/>
                <a:gd name="T66" fmla="*/ 83 w 901"/>
                <a:gd name="T67" fmla="*/ 898 h 1274"/>
                <a:gd name="T68" fmla="*/ 37 w 901"/>
                <a:gd name="T69" fmla="*/ 929 h 1274"/>
                <a:gd name="T70" fmla="*/ 6 w 901"/>
                <a:gd name="T71" fmla="*/ 978 h 1274"/>
                <a:gd name="T72" fmla="*/ 3 w 901"/>
                <a:gd name="T73" fmla="*/ 1044 h 1274"/>
                <a:gd name="T74" fmla="*/ 35 w 901"/>
                <a:gd name="T75" fmla="*/ 1119 h 1274"/>
                <a:gd name="T76" fmla="*/ 90 w 901"/>
                <a:gd name="T77" fmla="*/ 1184 h 1274"/>
                <a:gd name="T78" fmla="*/ 176 w 901"/>
                <a:gd name="T79" fmla="*/ 1240 h 1274"/>
                <a:gd name="T80" fmla="*/ 271 w 901"/>
                <a:gd name="T81" fmla="*/ 1268 h 1274"/>
                <a:gd name="T82" fmla="*/ 400 w 901"/>
                <a:gd name="T83" fmla="*/ 1273 h 1274"/>
                <a:gd name="T84" fmla="*/ 539 w 901"/>
                <a:gd name="T85" fmla="*/ 1247 h 1274"/>
                <a:gd name="T86" fmla="*/ 678 w 901"/>
                <a:gd name="T87" fmla="*/ 1178 h 1274"/>
                <a:gd name="T88" fmla="*/ 772 w 901"/>
                <a:gd name="T89" fmla="*/ 1087 h 1274"/>
                <a:gd name="T90" fmla="*/ 817 w 901"/>
                <a:gd name="T91" fmla="*/ 1008 h 1274"/>
                <a:gd name="T92" fmla="*/ 839 w 901"/>
                <a:gd name="T93" fmla="*/ 920 h 1274"/>
                <a:gd name="T94" fmla="*/ 835 w 901"/>
                <a:gd name="T95" fmla="*/ 819 h 1274"/>
                <a:gd name="T96" fmla="*/ 808 w 901"/>
                <a:gd name="T97" fmla="*/ 743 h 1274"/>
                <a:gd name="T98" fmla="*/ 760 w 901"/>
                <a:gd name="T99" fmla="*/ 670 h 1274"/>
                <a:gd name="T100" fmla="*/ 670 w 901"/>
                <a:gd name="T101" fmla="*/ 582 h 1274"/>
                <a:gd name="T102" fmla="*/ 425 w 901"/>
                <a:gd name="T103" fmla="*/ 369 h 1274"/>
                <a:gd name="T104" fmla="*/ 389 w 901"/>
                <a:gd name="T105" fmla="*/ 314 h 1274"/>
                <a:gd name="T106" fmla="*/ 382 w 901"/>
                <a:gd name="T107" fmla="*/ 249 h 1274"/>
                <a:gd name="T108" fmla="*/ 407 w 901"/>
                <a:gd name="T109" fmla="*/ 198 h 1274"/>
                <a:gd name="T110" fmla="*/ 456 w 901"/>
                <a:gd name="T111" fmla="*/ 157 h 1274"/>
                <a:gd name="T112" fmla="*/ 520 w 901"/>
                <a:gd name="T113" fmla="*/ 139 h 1274"/>
                <a:gd name="T114" fmla="*/ 597 w 901"/>
                <a:gd name="T115" fmla="*/ 152 h 127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901" h="1274">
                  <a:moveTo>
                    <a:pt x="654" y="183"/>
                  </a:moveTo>
                  <a:lnTo>
                    <a:pt x="660" y="188"/>
                  </a:lnTo>
                  <a:lnTo>
                    <a:pt x="665" y="192"/>
                  </a:lnTo>
                  <a:lnTo>
                    <a:pt x="671" y="198"/>
                  </a:lnTo>
                  <a:lnTo>
                    <a:pt x="676" y="203"/>
                  </a:lnTo>
                  <a:lnTo>
                    <a:pt x="687" y="215"/>
                  </a:lnTo>
                  <a:lnTo>
                    <a:pt x="698" y="227"/>
                  </a:lnTo>
                  <a:lnTo>
                    <a:pt x="709" y="239"/>
                  </a:lnTo>
                  <a:lnTo>
                    <a:pt x="720" y="251"/>
                  </a:lnTo>
                  <a:lnTo>
                    <a:pt x="728" y="256"/>
                  </a:lnTo>
                  <a:lnTo>
                    <a:pt x="734" y="261"/>
                  </a:lnTo>
                  <a:lnTo>
                    <a:pt x="741" y="266"/>
                  </a:lnTo>
                  <a:lnTo>
                    <a:pt x="748" y="271"/>
                  </a:lnTo>
                  <a:lnTo>
                    <a:pt x="760" y="277"/>
                  </a:lnTo>
                  <a:lnTo>
                    <a:pt x="771" y="282"/>
                  </a:lnTo>
                  <a:lnTo>
                    <a:pt x="777" y="284"/>
                  </a:lnTo>
                  <a:lnTo>
                    <a:pt x="782" y="285"/>
                  </a:lnTo>
                  <a:lnTo>
                    <a:pt x="787" y="286"/>
                  </a:lnTo>
                  <a:lnTo>
                    <a:pt x="793" y="287"/>
                  </a:lnTo>
                  <a:lnTo>
                    <a:pt x="803" y="288"/>
                  </a:lnTo>
                  <a:lnTo>
                    <a:pt x="813" y="288"/>
                  </a:lnTo>
                  <a:lnTo>
                    <a:pt x="822" y="287"/>
                  </a:lnTo>
                  <a:lnTo>
                    <a:pt x="831" y="285"/>
                  </a:lnTo>
                  <a:lnTo>
                    <a:pt x="835" y="284"/>
                  </a:lnTo>
                  <a:lnTo>
                    <a:pt x="840" y="282"/>
                  </a:lnTo>
                  <a:lnTo>
                    <a:pt x="844" y="280"/>
                  </a:lnTo>
                  <a:lnTo>
                    <a:pt x="848" y="278"/>
                  </a:lnTo>
                  <a:lnTo>
                    <a:pt x="855" y="274"/>
                  </a:lnTo>
                  <a:lnTo>
                    <a:pt x="858" y="272"/>
                  </a:lnTo>
                  <a:lnTo>
                    <a:pt x="862" y="269"/>
                  </a:lnTo>
                  <a:lnTo>
                    <a:pt x="868" y="263"/>
                  </a:lnTo>
                  <a:lnTo>
                    <a:pt x="874" y="257"/>
                  </a:lnTo>
                  <a:lnTo>
                    <a:pt x="879" y="251"/>
                  </a:lnTo>
                  <a:lnTo>
                    <a:pt x="883" y="244"/>
                  </a:lnTo>
                  <a:lnTo>
                    <a:pt x="887" y="234"/>
                  </a:lnTo>
                  <a:lnTo>
                    <a:pt x="892" y="224"/>
                  </a:lnTo>
                  <a:lnTo>
                    <a:pt x="895" y="213"/>
                  </a:lnTo>
                  <a:lnTo>
                    <a:pt x="898" y="202"/>
                  </a:lnTo>
                  <a:lnTo>
                    <a:pt x="900" y="190"/>
                  </a:lnTo>
                  <a:lnTo>
                    <a:pt x="901" y="179"/>
                  </a:lnTo>
                  <a:lnTo>
                    <a:pt x="901" y="167"/>
                  </a:lnTo>
                  <a:lnTo>
                    <a:pt x="900" y="154"/>
                  </a:lnTo>
                  <a:lnTo>
                    <a:pt x="899" y="142"/>
                  </a:lnTo>
                  <a:lnTo>
                    <a:pt x="896" y="130"/>
                  </a:lnTo>
                  <a:lnTo>
                    <a:pt x="892" y="119"/>
                  </a:lnTo>
                  <a:lnTo>
                    <a:pt x="890" y="113"/>
                  </a:lnTo>
                  <a:lnTo>
                    <a:pt x="888" y="108"/>
                  </a:lnTo>
                  <a:lnTo>
                    <a:pt x="885" y="103"/>
                  </a:lnTo>
                  <a:lnTo>
                    <a:pt x="882" y="97"/>
                  </a:lnTo>
                  <a:lnTo>
                    <a:pt x="879" y="92"/>
                  </a:lnTo>
                  <a:lnTo>
                    <a:pt x="876" y="87"/>
                  </a:lnTo>
                  <a:lnTo>
                    <a:pt x="868" y="78"/>
                  </a:lnTo>
                  <a:lnTo>
                    <a:pt x="863" y="73"/>
                  </a:lnTo>
                  <a:lnTo>
                    <a:pt x="859" y="69"/>
                  </a:lnTo>
                  <a:lnTo>
                    <a:pt x="848" y="61"/>
                  </a:lnTo>
                  <a:lnTo>
                    <a:pt x="837" y="54"/>
                  </a:lnTo>
                  <a:lnTo>
                    <a:pt x="824" y="47"/>
                  </a:lnTo>
                  <a:lnTo>
                    <a:pt x="811" y="40"/>
                  </a:lnTo>
                  <a:lnTo>
                    <a:pt x="796" y="34"/>
                  </a:lnTo>
                  <a:lnTo>
                    <a:pt x="780" y="29"/>
                  </a:lnTo>
                  <a:lnTo>
                    <a:pt x="764" y="23"/>
                  </a:lnTo>
                  <a:lnTo>
                    <a:pt x="747" y="19"/>
                  </a:lnTo>
                  <a:lnTo>
                    <a:pt x="730" y="14"/>
                  </a:lnTo>
                  <a:lnTo>
                    <a:pt x="711" y="11"/>
                  </a:lnTo>
                  <a:lnTo>
                    <a:pt x="693" y="7"/>
                  </a:lnTo>
                  <a:lnTo>
                    <a:pt x="674" y="5"/>
                  </a:lnTo>
                  <a:lnTo>
                    <a:pt x="656" y="3"/>
                  </a:lnTo>
                  <a:lnTo>
                    <a:pt x="638" y="1"/>
                  </a:lnTo>
                  <a:lnTo>
                    <a:pt x="619" y="0"/>
                  </a:lnTo>
                  <a:lnTo>
                    <a:pt x="601" y="0"/>
                  </a:lnTo>
                  <a:lnTo>
                    <a:pt x="579" y="0"/>
                  </a:lnTo>
                  <a:lnTo>
                    <a:pt x="557" y="2"/>
                  </a:lnTo>
                  <a:lnTo>
                    <a:pt x="536" y="4"/>
                  </a:lnTo>
                  <a:lnTo>
                    <a:pt x="515" y="6"/>
                  </a:lnTo>
                  <a:lnTo>
                    <a:pt x="495" y="10"/>
                  </a:lnTo>
                  <a:lnTo>
                    <a:pt x="485" y="12"/>
                  </a:lnTo>
                  <a:lnTo>
                    <a:pt x="475" y="15"/>
                  </a:lnTo>
                  <a:lnTo>
                    <a:pt x="466" y="17"/>
                  </a:lnTo>
                  <a:lnTo>
                    <a:pt x="456" y="20"/>
                  </a:lnTo>
                  <a:lnTo>
                    <a:pt x="437" y="26"/>
                  </a:lnTo>
                  <a:lnTo>
                    <a:pt x="419" y="33"/>
                  </a:lnTo>
                  <a:lnTo>
                    <a:pt x="401" y="40"/>
                  </a:lnTo>
                  <a:lnTo>
                    <a:pt x="384" y="48"/>
                  </a:lnTo>
                  <a:lnTo>
                    <a:pt x="367" y="57"/>
                  </a:lnTo>
                  <a:lnTo>
                    <a:pt x="350" y="67"/>
                  </a:lnTo>
                  <a:lnTo>
                    <a:pt x="342" y="72"/>
                  </a:lnTo>
                  <a:lnTo>
                    <a:pt x="334" y="78"/>
                  </a:lnTo>
                  <a:lnTo>
                    <a:pt x="319" y="89"/>
                  </a:lnTo>
                  <a:lnTo>
                    <a:pt x="311" y="95"/>
                  </a:lnTo>
                  <a:lnTo>
                    <a:pt x="303" y="101"/>
                  </a:lnTo>
                  <a:lnTo>
                    <a:pt x="296" y="107"/>
                  </a:lnTo>
                  <a:lnTo>
                    <a:pt x="288" y="114"/>
                  </a:lnTo>
                  <a:lnTo>
                    <a:pt x="281" y="120"/>
                  </a:lnTo>
                  <a:lnTo>
                    <a:pt x="274" y="127"/>
                  </a:lnTo>
                  <a:lnTo>
                    <a:pt x="261" y="141"/>
                  </a:lnTo>
                  <a:lnTo>
                    <a:pt x="249" y="155"/>
                  </a:lnTo>
                  <a:lnTo>
                    <a:pt x="243" y="163"/>
                  </a:lnTo>
                  <a:lnTo>
                    <a:pt x="238" y="171"/>
                  </a:lnTo>
                  <a:lnTo>
                    <a:pt x="227" y="186"/>
                  </a:lnTo>
                  <a:lnTo>
                    <a:pt x="218" y="202"/>
                  </a:lnTo>
                  <a:lnTo>
                    <a:pt x="214" y="210"/>
                  </a:lnTo>
                  <a:lnTo>
                    <a:pt x="210" y="218"/>
                  </a:lnTo>
                  <a:lnTo>
                    <a:pt x="203" y="234"/>
                  </a:lnTo>
                  <a:lnTo>
                    <a:pt x="199" y="242"/>
                  </a:lnTo>
                  <a:lnTo>
                    <a:pt x="196" y="251"/>
                  </a:lnTo>
                  <a:lnTo>
                    <a:pt x="191" y="268"/>
                  </a:lnTo>
                  <a:lnTo>
                    <a:pt x="188" y="277"/>
                  </a:lnTo>
                  <a:lnTo>
                    <a:pt x="186" y="286"/>
                  </a:lnTo>
                  <a:lnTo>
                    <a:pt x="183" y="304"/>
                  </a:lnTo>
                  <a:lnTo>
                    <a:pt x="180" y="323"/>
                  </a:lnTo>
                  <a:lnTo>
                    <a:pt x="180" y="332"/>
                  </a:lnTo>
                  <a:lnTo>
                    <a:pt x="179" y="341"/>
                  </a:lnTo>
                  <a:lnTo>
                    <a:pt x="178" y="361"/>
                  </a:lnTo>
                  <a:lnTo>
                    <a:pt x="179" y="371"/>
                  </a:lnTo>
                  <a:lnTo>
                    <a:pt x="179" y="382"/>
                  </a:lnTo>
                  <a:lnTo>
                    <a:pt x="180" y="392"/>
                  </a:lnTo>
                  <a:lnTo>
                    <a:pt x="182" y="403"/>
                  </a:lnTo>
                  <a:lnTo>
                    <a:pt x="185" y="423"/>
                  </a:lnTo>
                  <a:lnTo>
                    <a:pt x="188" y="433"/>
                  </a:lnTo>
                  <a:lnTo>
                    <a:pt x="191" y="443"/>
                  </a:lnTo>
                  <a:lnTo>
                    <a:pt x="194" y="452"/>
                  </a:lnTo>
                  <a:lnTo>
                    <a:pt x="198" y="462"/>
                  </a:lnTo>
                  <a:lnTo>
                    <a:pt x="202" y="471"/>
                  </a:lnTo>
                  <a:lnTo>
                    <a:pt x="206" y="481"/>
                  </a:lnTo>
                  <a:lnTo>
                    <a:pt x="211" y="490"/>
                  </a:lnTo>
                  <a:lnTo>
                    <a:pt x="216" y="499"/>
                  </a:lnTo>
                  <a:lnTo>
                    <a:pt x="222" y="507"/>
                  </a:lnTo>
                  <a:lnTo>
                    <a:pt x="227" y="516"/>
                  </a:lnTo>
                  <a:lnTo>
                    <a:pt x="233" y="524"/>
                  </a:lnTo>
                  <a:lnTo>
                    <a:pt x="240" y="532"/>
                  </a:lnTo>
                  <a:lnTo>
                    <a:pt x="247" y="541"/>
                  </a:lnTo>
                  <a:lnTo>
                    <a:pt x="255" y="550"/>
                  </a:lnTo>
                  <a:lnTo>
                    <a:pt x="272" y="569"/>
                  </a:lnTo>
                  <a:lnTo>
                    <a:pt x="282" y="579"/>
                  </a:lnTo>
                  <a:lnTo>
                    <a:pt x="292" y="589"/>
                  </a:lnTo>
                  <a:lnTo>
                    <a:pt x="303" y="599"/>
                  </a:lnTo>
                  <a:lnTo>
                    <a:pt x="315" y="610"/>
                  </a:lnTo>
                  <a:lnTo>
                    <a:pt x="340" y="633"/>
                  </a:lnTo>
                  <a:lnTo>
                    <a:pt x="368" y="657"/>
                  </a:lnTo>
                  <a:lnTo>
                    <a:pt x="398" y="682"/>
                  </a:lnTo>
                  <a:lnTo>
                    <a:pt x="499" y="763"/>
                  </a:lnTo>
                  <a:lnTo>
                    <a:pt x="515" y="777"/>
                  </a:lnTo>
                  <a:lnTo>
                    <a:pt x="529" y="790"/>
                  </a:lnTo>
                  <a:lnTo>
                    <a:pt x="543" y="803"/>
                  </a:lnTo>
                  <a:lnTo>
                    <a:pt x="556" y="816"/>
                  </a:lnTo>
                  <a:lnTo>
                    <a:pt x="567" y="829"/>
                  </a:lnTo>
                  <a:lnTo>
                    <a:pt x="573" y="835"/>
                  </a:lnTo>
                  <a:lnTo>
                    <a:pt x="578" y="841"/>
                  </a:lnTo>
                  <a:lnTo>
                    <a:pt x="588" y="854"/>
                  </a:lnTo>
                  <a:lnTo>
                    <a:pt x="596" y="867"/>
                  </a:lnTo>
                  <a:lnTo>
                    <a:pt x="604" y="880"/>
                  </a:lnTo>
                  <a:lnTo>
                    <a:pt x="610" y="893"/>
                  </a:lnTo>
                  <a:lnTo>
                    <a:pt x="613" y="899"/>
                  </a:lnTo>
                  <a:lnTo>
                    <a:pt x="616" y="905"/>
                  </a:lnTo>
                  <a:lnTo>
                    <a:pt x="621" y="918"/>
                  </a:lnTo>
                  <a:lnTo>
                    <a:pt x="624" y="931"/>
                  </a:lnTo>
                  <a:lnTo>
                    <a:pt x="627" y="943"/>
                  </a:lnTo>
                  <a:lnTo>
                    <a:pt x="628" y="956"/>
                  </a:lnTo>
                  <a:lnTo>
                    <a:pt x="629" y="968"/>
                  </a:lnTo>
                  <a:lnTo>
                    <a:pt x="628" y="976"/>
                  </a:lnTo>
                  <a:lnTo>
                    <a:pt x="628" y="985"/>
                  </a:lnTo>
                  <a:lnTo>
                    <a:pt x="627" y="993"/>
                  </a:lnTo>
                  <a:lnTo>
                    <a:pt x="626" y="1000"/>
                  </a:lnTo>
                  <a:lnTo>
                    <a:pt x="624" y="1008"/>
                  </a:lnTo>
                  <a:lnTo>
                    <a:pt x="623" y="1012"/>
                  </a:lnTo>
                  <a:lnTo>
                    <a:pt x="622" y="1015"/>
                  </a:lnTo>
                  <a:lnTo>
                    <a:pt x="619" y="1022"/>
                  </a:lnTo>
                  <a:lnTo>
                    <a:pt x="616" y="1029"/>
                  </a:lnTo>
                  <a:lnTo>
                    <a:pt x="613" y="1036"/>
                  </a:lnTo>
                  <a:lnTo>
                    <a:pt x="609" y="1043"/>
                  </a:lnTo>
                  <a:lnTo>
                    <a:pt x="605" y="1049"/>
                  </a:lnTo>
                  <a:lnTo>
                    <a:pt x="601" y="1055"/>
                  </a:lnTo>
                  <a:lnTo>
                    <a:pt x="596" y="1061"/>
                  </a:lnTo>
                  <a:lnTo>
                    <a:pt x="590" y="1067"/>
                  </a:lnTo>
                  <a:lnTo>
                    <a:pt x="578" y="1078"/>
                  </a:lnTo>
                  <a:lnTo>
                    <a:pt x="572" y="1084"/>
                  </a:lnTo>
                  <a:lnTo>
                    <a:pt x="565" y="1089"/>
                  </a:lnTo>
                  <a:lnTo>
                    <a:pt x="550" y="1098"/>
                  </a:lnTo>
                  <a:lnTo>
                    <a:pt x="542" y="1103"/>
                  </a:lnTo>
                  <a:lnTo>
                    <a:pt x="534" y="1106"/>
                  </a:lnTo>
                  <a:lnTo>
                    <a:pt x="525" y="1110"/>
                  </a:lnTo>
                  <a:lnTo>
                    <a:pt x="517" y="1113"/>
                  </a:lnTo>
                  <a:lnTo>
                    <a:pt x="508" y="1115"/>
                  </a:lnTo>
                  <a:lnTo>
                    <a:pt x="499" y="1118"/>
                  </a:lnTo>
                  <a:lnTo>
                    <a:pt x="489" y="1120"/>
                  </a:lnTo>
                  <a:lnTo>
                    <a:pt x="480" y="1121"/>
                  </a:lnTo>
                  <a:lnTo>
                    <a:pt x="470" y="1122"/>
                  </a:lnTo>
                  <a:lnTo>
                    <a:pt x="459" y="1123"/>
                  </a:lnTo>
                  <a:lnTo>
                    <a:pt x="449" y="1124"/>
                  </a:lnTo>
                  <a:lnTo>
                    <a:pt x="438" y="1124"/>
                  </a:lnTo>
                  <a:lnTo>
                    <a:pt x="426" y="1123"/>
                  </a:lnTo>
                  <a:lnTo>
                    <a:pt x="414" y="1122"/>
                  </a:lnTo>
                  <a:lnTo>
                    <a:pt x="402" y="1120"/>
                  </a:lnTo>
                  <a:lnTo>
                    <a:pt x="391" y="1118"/>
                  </a:lnTo>
                  <a:lnTo>
                    <a:pt x="381" y="1115"/>
                  </a:lnTo>
                  <a:lnTo>
                    <a:pt x="371" y="1112"/>
                  </a:lnTo>
                  <a:lnTo>
                    <a:pt x="361" y="1109"/>
                  </a:lnTo>
                  <a:lnTo>
                    <a:pt x="352" y="1104"/>
                  </a:lnTo>
                  <a:lnTo>
                    <a:pt x="344" y="1100"/>
                  </a:lnTo>
                  <a:lnTo>
                    <a:pt x="336" y="1095"/>
                  </a:lnTo>
                  <a:lnTo>
                    <a:pt x="328" y="1090"/>
                  </a:lnTo>
                  <a:lnTo>
                    <a:pt x="321" y="1085"/>
                  </a:lnTo>
                  <a:lnTo>
                    <a:pt x="314" y="1079"/>
                  </a:lnTo>
                  <a:lnTo>
                    <a:pt x="308" y="1073"/>
                  </a:lnTo>
                  <a:lnTo>
                    <a:pt x="301" y="1067"/>
                  </a:lnTo>
                  <a:lnTo>
                    <a:pt x="296" y="1061"/>
                  </a:lnTo>
                  <a:lnTo>
                    <a:pt x="285" y="1048"/>
                  </a:lnTo>
                  <a:lnTo>
                    <a:pt x="275" y="1034"/>
                  </a:lnTo>
                  <a:lnTo>
                    <a:pt x="267" y="1021"/>
                  </a:lnTo>
                  <a:lnTo>
                    <a:pt x="259" y="1007"/>
                  </a:lnTo>
                  <a:lnTo>
                    <a:pt x="253" y="994"/>
                  </a:lnTo>
                  <a:lnTo>
                    <a:pt x="247" y="981"/>
                  </a:lnTo>
                  <a:lnTo>
                    <a:pt x="236" y="958"/>
                  </a:lnTo>
                  <a:lnTo>
                    <a:pt x="232" y="950"/>
                  </a:lnTo>
                  <a:lnTo>
                    <a:pt x="228" y="943"/>
                  </a:lnTo>
                  <a:lnTo>
                    <a:pt x="223" y="936"/>
                  </a:lnTo>
                  <a:lnTo>
                    <a:pt x="219" y="929"/>
                  </a:lnTo>
                  <a:lnTo>
                    <a:pt x="213" y="923"/>
                  </a:lnTo>
                  <a:lnTo>
                    <a:pt x="211" y="921"/>
                  </a:lnTo>
                  <a:lnTo>
                    <a:pt x="208" y="918"/>
                  </a:lnTo>
                  <a:lnTo>
                    <a:pt x="202" y="913"/>
                  </a:lnTo>
                  <a:lnTo>
                    <a:pt x="197" y="909"/>
                  </a:lnTo>
                  <a:lnTo>
                    <a:pt x="190" y="905"/>
                  </a:lnTo>
                  <a:lnTo>
                    <a:pt x="184" y="901"/>
                  </a:lnTo>
                  <a:lnTo>
                    <a:pt x="178" y="898"/>
                  </a:lnTo>
                  <a:lnTo>
                    <a:pt x="171" y="896"/>
                  </a:lnTo>
                  <a:lnTo>
                    <a:pt x="164" y="893"/>
                  </a:lnTo>
                  <a:lnTo>
                    <a:pt x="158" y="891"/>
                  </a:lnTo>
                  <a:lnTo>
                    <a:pt x="151" y="890"/>
                  </a:lnTo>
                  <a:lnTo>
                    <a:pt x="143" y="889"/>
                  </a:lnTo>
                  <a:lnTo>
                    <a:pt x="131" y="888"/>
                  </a:lnTo>
                  <a:lnTo>
                    <a:pt x="124" y="888"/>
                  </a:lnTo>
                  <a:lnTo>
                    <a:pt x="118" y="889"/>
                  </a:lnTo>
                  <a:lnTo>
                    <a:pt x="111" y="890"/>
                  </a:lnTo>
                  <a:lnTo>
                    <a:pt x="104" y="891"/>
                  </a:lnTo>
                  <a:lnTo>
                    <a:pt x="97" y="893"/>
                  </a:lnTo>
                  <a:lnTo>
                    <a:pt x="90" y="896"/>
                  </a:lnTo>
                  <a:lnTo>
                    <a:pt x="83" y="898"/>
                  </a:lnTo>
                  <a:lnTo>
                    <a:pt x="76" y="902"/>
                  </a:lnTo>
                  <a:lnTo>
                    <a:pt x="69" y="905"/>
                  </a:lnTo>
                  <a:lnTo>
                    <a:pt x="62" y="909"/>
                  </a:lnTo>
                  <a:lnTo>
                    <a:pt x="55" y="914"/>
                  </a:lnTo>
                  <a:lnTo>
                    <a:pt x="49" y="918"/>
                  </a:lnTo>
                  <a:lnTo>
                    <a:pt x="42" y="924"/>
                  </a:lnTo>
                  <a:lnTo>
                    <a:pt x="37" y="929"/>
                  </a:lnTo>
                  <a:lnTo>
                    <a:pt x="31" y="935"/>
                  </a:lnTo>
                  <a:lnTo>
                    <a:pt x="26" y="941"/>
                  </a:lnTo>
                  <a:lnTo>
                    <a:pt x="21" y="948"/>
                  </a:lnTo>
                  <a:lnTo>
                    <a:pt x="16" y="955"/>
                  </a:lnTo>
                  <a:lnTo>
                    <a:pt x="12" y="962"/>
                  </a:lnTo>
                  <a:lnTo>
                    <a:pt x="9" y="970"/>
                  </a:lnTo>
                  <a:lnTo>
                    <a:pt x="6" y="978"/>
                  </a:lnTo>
                  <a:lnTo>
                    <a:pt x="3" y="987"/>
                  </a:lnTo>
                  <a:lnTo>
                    <a:pt x="2" y="995"/>
                  </a:lnTo>
                  <a:lnTo>
                    <a:pt x="1" y="1004"/>
                  </a:lnTo>
                  <a:lnTo>
                    <a:pt x="0" y="1014"/>
                  </a:lnTo>
                  <a:lnTo>
                    <a:pt x="0" y="1024"/>
                  </a:lnTo>
                  <a:lnTo>
                    <a:pt x="1" y="1034"/>
                  </a:lnTo>
                  <a:lnTo>
                    <a:pt x="3" y="1044"/>
                  </a:lnTo>
                  <a:lnTo>
                    <a:pt x="6" y="1055"/>
                  </a:lnTo>
                  <a:lnTo>
                    <a:pt x="10" y="1066"/>
                  </a:lnTo>
                  <a:lnTo>
                    <a:pt x="14" y="1077"/>
                  </a:lnTo>
                  <a:lnTo>
                    <a:pt x="19" y="1088"/>
                  </a:lnTo>
                  <a:lnTo>
                    <a:pt x="24" y="1098"/>
                  </a:lnTo>
                  <a:lnTo>
                    <a:pt x="29" y="1109"/>
                  </a:lnTo>
                  <a:lnTo>
                    <a:pt x="35" y="1119"/>
                  </a:lnTo>
                  <a:lnTo>
                    <a:pt x="42" y="1129"/>
                  </a:lnTo>
                  <a:lnTo>
                    <a:pt x="49" y="1139"/>
                  </a:lnTo>
                  <a:lnTo>
                    <a:pt x="56" y="1148"/>
                  </a:lnTo>
                  <a:lnTo>
                    <a:pt x="64" y="1158"/>
                  </a:lnTo>
                  <a:lnTo>
                    <a:pt x="72" y="1167"/>
                  </a:lnTo>
                  <a:lnTo>
                    <a:pt x="81" y="1175"/>
                  </a:lnTo>
                  <a:lnTo>
                    <a:pt x="90" y="1184"/>
                  </a:lnTo>
                  <a:lnTo>
                    <a:pt x="99" y="1192"/>
                  </a:lnTo>
                  <a:lnTo>
                    <a:pt x="109" y="1200"/>
                  </a:lnTo>
                  <a:lnTo>
                    <a:pt x="130" y="1215"/>
                  </a:lnTo>
                  <a:lnTo>
                    <a:pt x="141" y="1221"/>
                  </a:lnTo>
                  <a:lnTo>
                    <a:pt x="152" y="1228"/>
                  </a:lnTo>
                  <a:lnTo>
                    <a:pt x="164" y="1234"/>
                  </a:lnTo>
                  <a:lnTo>
                    <a:pt x="176" y="1240"/>
                  </a:lnTo>
                  <a:lnTo>
                    <a:pt x="189" y="1245"/>
                  </a:lnTo>
                  <a:lnTo>
                    <a:pt x="202" y="1250"/>
                  </a:lnTo>
                  <a:lnTo>
                    <a:pt x="215" y="1254"/>
                  </a:lnTo>
                  <a:lnTo>
                    <a:pt x="229" y="1258"/>
                  </a:lnTo>
                  <a:lnTo>
                    <a:pt x="243" y="1262"/>
                  </a:lnTo>
                  <a:lnTo>
                    <a:pt x="257" y="1265"/>
                  </a:lnTo>
                  <a:lnTo>
                    <a:pt x="271" y="1268"/>
                  </a:lnTo>
                  <a:lnTo>
                    <a:pt x="286" y="1270"/>
                  </a:lnTo>
                  <a:lnTo>
                    <a:pt x="302" y="1272"/>
                  </a:lnTo>
                  <a:lnTo>
                    <a:pt x="317" y="1273"/>
                  </a:lnTo>
                  <a:lnTo>
                    <a:pt x="333" y="1274"/>
                  </a:lnTo>
                  <a:lnTo>
                    <a:pt x="350" y="1274"/>
                  </a:lnTo>
                  <a:lnTo>
                    <a:pt x="375" y="1274"/>
                  </a:lnTo>
                  <a:lnTo>
                    <a:pt x="400" y="1273"/>
                  </a:lnTo>
                  <a:lnTo>
                    <a:pt x="412" y="1272"/>
                  </a:lnTo>
                  <a:lnTo>
                    <a:pt x="424" y="1270"/>
                  </a:lnTo>
                  <a:lnTo>
                    <a:pt x="448" y="1267"/>
                  </a:lnTo>
                  <a:lnTo>
                    <a:pt x="472" y="1264"/>
                  </a:lnTo>
                  <a:lnTo>
                    <a:pt x="495" y="1259"/>
                  </a:lnTo>
                  <a:lnTo>
                    <a:pt x="517" y="1253"/>
                  </a:lnTo>
                  <a:lnTo>
                    <a:pt x="539" y="1247"/>
                  </a:lnTo>
                  <a:lnTo>
                    <a:pt x="561" y="1239"/>
                  </a:lnTo>
                  <a:lnTo>
                    <a:pt x="581" y="1231"/>
                  </a:lnTo>
                  <a:lnTo>
                    <a:pt x="602" y="1222"/>
                  </a:lnTo>
                  <a:lnTo>
                    <a:pt x="622" y="1212"/>
                  </a:lnTo>
                  <a:lnTo>
                    <a:pt x="641" y="1202"/>
                  </a:lnTo>
                  <a:lnTo>
                    <a:pt x="660" y="1190"/>
                  </a:lnTo>
                  <a:lnTo>
                    <a:pt x="678" y="1178"/>
                  </a:lnTo>
                  <a:lnTo>
                    <a:pt x="695" y="1164"/>
                  </a:lnTo>
                  <a:lnTo>
                    <a:pt x="713" y="1150"/>
                  </a:lnTo>
                  <a:lnTo>
                    <a:pt x="721" y="1143"/>
                  </a:lnTo>
                  <a:lnTo>
                    <a:pt x="730" y="1135"/>
                  </a:lnTo>
                  <a:lnTo>
                    <a:pt x="745" y="1120"/>
                  </a:lnTo>
                  <a:lnTo>
                    <a:pt x="759" y="1104"/>
                  </a:lnTo>
                  <a:lnTo>
                    <a:pt x="772" y="1087"/>
                  </a:lnTo>
                  <a:lnTo>
                    <a:pt x="778" y="1079"/>
                  </a:lnTo>
                  <a:lnTo>
                    <a:pt x="784" y="1071"/>
                  </a:lnTo>
                  <a:lnTo>
                    <a:pt x="795" y="1053"/>
                  </a:lnTo>
                  <a:lnTo>
                    <a:pt x="800" y="1045"/>
                  </a:lnTo>
                  <a:lnTo>
                    <a:pt x="805" y="1036"/>
                  </a:lnTo>
                  <a:lnTo>
                    <a:pt x="813" y="1017"/>
                  </a:lnTo>
                  <a:lnTo>
                    <a:pt x="817" y="1008"/>
                  </a:lnTo>
                  <a:lnTo>
                    <a:pt x="820" y="999"/>
                  </a:lnTo>
                  <a:lnTo>
                    <a:pt x="827" y="980"/>
                  </a:lnTo>
                  <a:lnTo>
                    <a:pt x="829" y="970"/>
                  </a:lnTo>
                  <a:lnTo>
                    <a:pt x="832" y="960"/>
                  </a:lnTo>
                  <a:lnTo>
                    <a:pt x="836" y="940"/>
                  </a:lnTo>
                  <a:lnTo>
                    <a:pt x="837" y="930"/>
                  </a:lnTo>
                  <a:lnTo>
                    <a:pt x="839" y="920"/>
                  </a:lnTo>
                  <a:lnTo>
                    <a:pt x="840" y="899"/>
                  </a:lnTo>
                  <a:lnTo>
                    <a:pt x="841" y="888"/>
                  </a:lnTo>
                  <a:lnTo>
                    <a:pt x="841" y="878"/>
                  </a:lnTo>
                  <a:lnTo>
                    <a:pt x="840" y="858"/>
                  </a:lnTo>
                  <a:lnTo>
                    <a:pt x="839" y="848"/>
                  </a:lnTo>
                  <a:lnTo>
                    <a:pt x="838" y="839"/>
                  </a:lnTo>
                  <a:lnTo>
                    <a:pt x="835" y="819"/>
                  </a:lnTo>
                  <a:lnTo>
                    <a:pt x="833" y="810"/>
                  </a:lnTo>
                  <a:lnTo>
                    <a:pt x="830" y="800"/>
                  </a:lnTo>
                  <a:lnTo>
                    <a:pt x="827" y="790"/>
                  </a:lnTo>
                  <a:lnTo>
                    <a:pt x="824" y="781"/>
                  </a:lnTo>
                  <a:lnTo>
                    <a:pt x="817" y="762"/>
                  </a:lnTo>
                  <a:lnTo>
                    <a:pt x="813" y="753"/>
                  </a:lnTo>
                  <a:lnTo>
                    <a:pt x="808" y="743"/>
                  </a:lnTo>
                  <a:lnTo>
                    <a:pt x="803" y="734"/>
                  </a:lnTo>
                  <a:lnTo>
                    <a:pt x="798" y="725"/>
                  </a:lnTo>
                  <a:lnTo>
                    <a:pt x="787" y="706"/>
                  </a:lnTo>
                  <a:lnTo>
                    <a:pt x="781" y="697"/>
                  </a:lnTo>
                  <a:lnTo>
                    <a:pt x="774" y="688"/>
                  </a:lnTo>
                  <a:lnTo>
                    <a:pt x="767" y="679"/>
                  </a:lnTo>
                  <a:lnTo>
                    <a:pt x="760" y="670"/>
                  </a:lnTo>
                  <a:lnTo>
                    <a:pt x="745" y="652"/>
                  </a:lnTo>
                  <a:lnTo>
                    <a:pt x="737" y="643"/>
                  </a:lnTo>
                  <a:lnTo>
                    <a:pt x="728" y="634"/>
                  </a:lnTo>
                  <a:lnTo>
                    <a:pt x="709" y="616"/>
                  </a:lnTo>
                  <a:lnTo>
                    <a:pt x="700" y="608"/>
                  </a:lnTo>
                  <a:lnTo>
                    <a:pt x="690" y="599"/>
                  </a:lnTo>
                  <a:lnTo>
                    <a:pt x="670" y="582"/>
                  </a:lnTo>
                  <a:lnTo>
                    <a:pt x="589" y="515"/>
                  </a:lnTo>
                  <a:lnTo>
                    <a:pt x="528" y="464"/>
                  </a:lnTo>
                  <a:lnTo>
                    <a:pt x="501" y="442"/>
                  </a:lnTo>
                  <a:lnTo>
                    <a:pt x="478" y="421"/>
                  </a:lnTo>
                  <a:lnTo>
                    <a:pt x="458" y="402"/>
                  </a:lnTo>
                  <a:lnTo>
                    <a:pt x="440" y="384"/>
                  </a:lnTo>
                  <a:lnTo>
                    <a:pt x="425" y="369"/>
                  </a:lnTo>
                  <a:lnTo>
                    <a:pt x="419" y="362"/>
                  </a:lnTo>
                  <a:lnTo>
                    <a:pt x="414" y="356"/>
                  </a:lnTo>
                  <a:lnTo>
                    <a:pt x="406" y="345"/>
                  </a:lnTo>
                  <a:lnTo>
                    <a:pt x="399" y="335"/>
                  </a:lnTo>
                  <a:lnTo>
                    <a:pt x="396" y="330"/>
                  </a:lnTo>
                  <a:lnTo>
                    <a:pt x="394" y="324"/>
                  </a:lnTo>
                  <a:lnTo>
                    <a:pt x="389" y="314"/>
                  </a:lnTo>
                  <a:lnTo>
                    <a:pt x="386" y="303"/>
                  </a:lnTo>
                  <a:lnTo>
                    <a:pt x="383" y="293"/>
                  </a:lnTo>
                  <a:lnTo>
                    <a:pt x="381" y="282"/>
                  </a:lnTo>
                  <a:lnTo>
                    <a:pt x="380" y="272"/>
                  </a:lnTo>
                  <a:lnTo>
                    <a:pt x="380" y="264"/>
                  </a:lnTo>
                  <a:lnTo>
                    <a:pt x="380" y="257"/>
                  </a:lnTo>
                  <a:lnTo>
                    <a:pt x="382" y="249"/>
                  </a:lnTo>
                  <a:lnTo>
                    <a:pt x="384" y="241"/>
                  </a:lnTo>
                  <a:lnTo>
                    <a:pt x="386" y="233"/>
                  </a:lnTo>
                  <a:lnTo>
                    <a:pt x="390" y="225"/>
                  </a:lnTo>
                  <a:lnTo>
                    <a:pt x="394" y="217"/>
                  </a:lnTo>
                  <a:lnTo>
                    <a:pt x="398" y="210"/>
                  </a:lnTo>
                  <a:lnTo>
                    <a:pt x="404" y="202"/>
                  </a:lnTo>
                  <a:lnTo>
                    <a:pt x="407" y="198"/>
                  </a:lnTo>
                  <a:lnTo>
                    <a:pt x="410" y="195"/>
                  </a:lnTo>
                  <a:lnTo>
                    <a:pt x="416" y="188"/>
                  </a:lnTo>
                  <a:lnTo>
                    <a:pt x="423" y="181"/>
                  </a:lnTo>
                  <a:lnTo>
                    <a:pt x="431" y="174"/>
                  </a:lnTo>
                  <a:lnTo>
                    <a:pt x="439" y="168"/>
                  </a:lnTo>
                  <a:lnTo>
                    <a:pt x="447" y="163"/>
                  </a:lnTo>
                  <a:lnTo>
                    <a:pt x="456" y="157"/>
                  </a:lnTo>
                  <a:lnTo>
                    <a:pt x="466" y="152"/>
                  </a:lnTo>
                  <a:lnTo>
                    <a:pt x="476" y="148"/>
                  </a:lnTo>
                  <a:lnTo>
                    <a:pt x="486" y="145"/>
                  </a:lnTo>
                  <a:lnTo>
                    <a:pt x="497" y="142"/>
                  </a:lnTo>
                  <a:lnTo>
                    <a:pt x="509" y="140"/>
                  </a:lnTo>
                  <a:lnTo>
                    <a:pt x="514" y="139"/>
                  </a:lnTo>
                  <a:lnTo>
                    <a:pt x="520" y="139"/>
                  </a:lnTo>
                  <a:lnTo>
                    <a:pt x="532" y="139"/>
                  </a:lnTo>
                  <a:lnTo>
                    <a:pt x="545" y="139"/>
                  </a:lnTo>
                  <a:lnTo>
                    <a:pt x="557" y="141"/>
                  </a:lnTo>
                  <a:lnTo>
                    <a:pt x="570" y="143"/>
                  </a:lnTo>
                  <a:lnTo>
                    <a:pt x="584" y="147"/>
                  </a:lnTo>
                  <a:lnTo>
                    <a:pt x="590" y="149"/>
                  </a:lnTo>
                  <a:lnTo>
                    <a:pt x="597" y="152"/>
                  </a:lnTo>
                  <a:lnTo>
                    <a:pt x="611" y="157"/>
                  </a:lnTo>
                  <a:lnTo>
                    <a:pt x="625" y="165"/>
                  </a:lnTo>
                  <a:lnTo>
                    <a:pt x="639" y="174"/>
                  </a:lnTo>
                  <a:lnTo>
                    <a:pt x="654" y="18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72F4CCD2-9308-4F01-89D2-B1ABE1B41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2887" y="2291616"/>
              <a:ext cx="522380" cy="117366"/>
            </a:xfrm>
            <a:custGeom>
              <a:avLst/>
              <a:gdLst>
                <a:gd name="T0" fmla="*/ 355 w 2718"/>
                <a:gd name="T1" fmla="*/ 506 h 611"/>
                <a:gd name="T2" fmla="*/ 571 w 2718"/>
                <a:gd name="T3" fmla="*/ 436 h 611"/>
                <a:gd name="T4" fmla="*/ 776 w 2718"/>
                <a:gd name="T5" fmla="*/ 379 h 611"/>
                <a:gd name="T6" fmla="*/ 972 w 2718"/>
                <a:gd name="T7" fmla="*/ 334 h 611"/>
                <a:gd name="T8" fmla="*/ 1141 w 2718"/>
                <a:gd name="T9" fmla="*/ 303 h 611"/>
                <a:gd name="T10" fmla="*/ 1335 w 2718"/>
                <a:gd name="T11" fmla="*/ 278 h 611"/>
                <a:gd name="T12" fmla="*/ 1516 w 2718"/>
                <a:gd name="T13" fmla="*/ 265 h 611"/>
                <a:gd name="T14" fmla="*/ 1718 w 2718"/>
                <a:gd name="T15" fmla="*/ 262 h 611"/>
                <a:gd name="T16" fmla="*/ 1875 w 2718"/>
                <a:gd name="T17" fmla="*/ 270 h 611"/>
                <a:gd name="T18" fmla="*/ 2020 w 2718"/>
                <a:gd name="T19" fmla="*/ 286 h 611"/>
                <a:gd name="T20" fmla="*/ 2153 w 2718"/>
                <a:gd name="T21" fmla="*/ 309 h 611"/>
                <a:gd name="T22" fmla="*/ 2298 w 2718"/>
                <a:gd name="T23" fmla="*/ 345 h 611"/>
                <a:gd name="T24" fmla="*/ 2427 w 2718"/>
                <a:gd name="T25" fmla="*/ 387 h 611"/>
                <a:gd name="T26" fmla="*/ 2540 w 2718"/>
                <a:gd name="T27" fmla="*/ 433 h 611"/>
                <a:gd name="T28" fmla="*/ 2666 w 2718"/>
                <a:gd name="T29" fmla="*/ 500 h 611"/>
                <a:gd name="T30" fmla="*/ 2718 w 2718"/>
                <a:gd name="T31" fmla="*/ 526 h 611"/>
                <a:gd name="T32" fmla="*/ 2713 w 2718"/>
                <a:gd name="T33" fmla="*/ 509 h 611"/>
                <a:gd name="T34" fmla="*/ 2693 w 2718"/>
                <a:gd name="T35" fmla="*/ 478 h 611"/>
                <a:gd name="T36" fmla="*/ 2658 w 2718"/>
                <a:gd name="T37" fmla="*/ 440 h 611"/>
                <a:gd name="T38" fmla="*/ 2589 w 2718"/>
                <a:gd name="T39" fmla="*/ 383 h 611"/>
                <a:gd name="T40" fmla="*/ 2496 w 2718"/>
                <a:gd name="T41" fmla="*/ 323 h 611"/>
                <a:gd name="T42" fmla="*/ 2380 w 2718"/>
                <a:gd name="T43" fmla="*/ 262 h 611"/>
                <a:gd name="T44" fmla="*/ 2242 w 2718"/>
                <a:gd name="T45" fmla="*/ 204 h 611"/>
                <a:gd name="T46" fmla="*/ 2083 w 2718"/>
                <a:gd name="T47" fmla="*/ 153 h 611"/>
                <a:gd name="T48" fmla="*/ 1917 w 2718"/>
                <a:gd name="T49" fmla="*/ 115 h 611"/>
                <a:gd name="T50" fmla="*/ 1784 w 2718"/>
                <a:gd name="T51" fmla="*/ 97 h 611"/>
                <a:gd name="T52" fmla="*/ 1648 w 2718"/>
                <a:gd name="T53" fmla="*/ 87 h 611"/>
                <a:gd name="T54" fmla="*/ 1478 w 2718"/>
                <a:gd name="T55" fmla="*/ 87 h 611"/>
                <a:gd name="T56" fmla="*/ 1343 w 2718"/>
                <a:gd name="T57" fmla="*/ 96 h 611"/>
                <a:gd name="T58" fmla="*/ 1177 w 2718"/>
                <a:gd name="T59" fmla="*/ 114 h 611"/>
                <a:gd name="T60" fmla="*/ 1047 w 2718"/>
                <a:gd name="T61" fmla="*/ 135 h 611"/>
                <a:gd name="T62" fmla="*/ 893 w 2718"/>
                <a:gd name="T63" fmla="*/ 165 h 611"/>
                <a:gd name="T64" fmla="*/ 667 w 2718"/>
                <a:gd name="T65" fmla="*/ 220 h 611"/>
                <a:gd name="T66" fmla="*/ 477 w 2718"/>
                <a:gd name="T67" fmla="*/ 277 h 611"/>
                <a:gd name="T68" fmla="*/ 278 w 2718"/>
                <a:gd name="T69" fmla="*/ 345 h 611"/>
                <a:gd name="T70" fmla="*/ 252 w 2718"/>
                <a:gd name="T71" fmla="*/ 269 h 611"/>
                <a:gd name="T72" fmla="*/ 265 w 2718"/>
                <a:gd name="T73" fmla="*/ 153 h 611"/>
                <a:gd name="T74" fmla="*/ 263 w 2718"/>
                <a:gd name="T75" fmla="*/ 99 h 611"/>
                <a:gd name="T76" fmla="*/ 254 w 2718"/>
                <a:gd name="T77" fmla="*/ 62 h 611"/>
                <a:gd name="T78" fmla="*/ 237 w 2718"/>
                <a:gd name="T79" fmla="*/ 30 h 611"/>
                <a:gd name="T80" fmla="*/ 217 w 2718"/>
                <a:gd name="T81" fmla="*/ 12 h 611"/>
                <a:gd name="T82" fmla="*/ 192 w 2718"/>
                <a:gd name="T83" fmla="*/ 3 h 611"/>
                <a:gd name="T84" fmla="*/ 163 w 2718"/>
                <a:gd name="T85" fmla="*/ 1 h 611"/>
                <a:gd name="T86" fmla="*/ 132 w 2718"/>
                <a:gd name="T87" fmla="*/ 6 h 611"/>
                <a:gd name="T88" fmla="*/ 103 w 2718"/>
                <a:gd name="T89" fmla="*/ 20 h 611"/>
                <a:gd name="T90" fmla="*/ 76 w 2718"/>
                <a:gd name="T91" fmla="*/ 44 h 611"/>
                <a:gd name="T92" fmla="*/ 56 w 2718"/>
                <a:gd name="T93" fmla="*/ 79 h 611"/>
                <a:gd name="T94" fmla="*/ 43 w 2718"/>
                <a:gd name="T95" fmla="*/ 126 h 611"/>
                <a:gd name="T96" fmla="*/ 26 w 2718"/>
                <a:gd name="T97" fmla="*/ 308 h 611"/>
                <a:gd name="T98" fmla="*/ 0 w 2718"/>
                <a:gd name="T99" fmla="*/ 527 h 611"/>
                <a:gd name="T100" fmla="*/ 3 w 2718"/>
                <a:gd name="T101" fmla="*/ 570 h 611"/>
                <a:gd name="T102" fmla="*/ 14 w 2718"/>
                <a:gd name="T103" fmla="*/ 596 h 611"/>
                <a:gd name="T104" fmla="*/ 34 w 2718"/>
                <a:gd name="T105" fmla="*/ 609 h 611"/>
                <a:gd name="T106" fmla="*/ 61 w 2718"/>
                <a:gd name="T107" fmla="*/ 610 h 611"/>
                <a:gd name="T108" fmla="*/ 110 w 2718"/>
                <a:gd name="T109" fmla="*/ 598 h 611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718" h="611">
                  <a:moveTo>
                    <a:pt x="187" y="568"/>
                  </a:moveTo>
                  <a:lnTo>
                    <a:pt x="244" y="546"/>
                  </a:lnTo>
                  <a:lnTo>
                    <a:pt x="300" y="526"/>
                  </a:lnTo>
                  <a:lnTo>
                    <a:pt x="355" y="506"/>
                  </a:lnTo>
                  <a:lnTo>
                    <a:pt x="410" y="487"/>
                  </a:lnTo>
                  <a:lnTo>
                    <a:pt x="464" y="469"/>
                  </a:lnTo>
                  <a:lnTo>
                    <a:pt x="518" y="452"/>
                  </a:lnTo>
                  <a:lnTo>
                    <a:pt x="571" y="436"/>
                  </a:lnTo>
                  <a:lnTo>
                    <a:pt x="623" y="420"/>
                  </a:lnTo>
                  <a:lnTo>
                    <a:pt x="675" y="406"/>
                  </a:lnTo>
                  <a:lnTo>
                    <a:pt x="726" y="392"/>
                  </a:lnTo>
                  <a:lnTo>
                    <a:pt x="776" y="379"/>
                  </a:lnTo>
                  <a:lnTo>
                    <a:pt x="826" y="366"/>
                  </a:lnTo>
                  <a:lnTo>
                    <a:pt x="876" y="355"/>
                  </a:lnTo>
                  <a:lnTo>
                    <a:pt x="924" y="344"/>
                  </a:lnTo>
                  <a:lnTo>
                    <a:pt x="972" y="334"/>
                  </a:lnTo>
                  <a:lnTo>
                    <a:pt x="1020" y="325"/>
                  </a:lnTo>
                  <a:lnTo>
                    <a:pt x="1061" y="317"/>
                  </a:lnTo>
                  <a:lnTo>
                    <a:pt x="1101" y="310"/>
                  </a:lnTo>
                  <a:lnTo>
                    <a:pt x="1141" y="303"/>
                  </a:lnTo>
                  <a:lnTo>
                    <a:pt x="1181" y="297"/>
                  </a:lnTo>
                  <a:lnTo>
                    <a:pt x="1259" y="287"/>
                  </a:lnTo>
                  <a:lnTo>
                    <a:pt x="1297" y="282"/>
                  </a:lnTo>
                  <a:lnTo>
                    <a:pt x="1335" y="278"/>
                  </a:lnTo>
                  <a:lnTo>
                    <a:pt x="1409" y="271"/>
                  </a:lnTo>
                  <a:lnTo>
                    <a:pt x="1445" y="269"/>
                  </a:lnTo>
                  <a:lnTo>
                    <a:pt x="1481" y="266"/>
                  </a:lnTo>
                  <a:lnTo>
                    <a:pt x="1516" y="265"/>
                  </a:lnTo>
                  <a:lnTo>
                    <a:pt x="1551" y="263"/>
                  </a:lnTo>
                  <a:lnTo>
                    <a:pt x="1619" y="262"/>
                  </a:lnTo>
                  <a:lnTo>
                    <a:pt x="1686" y="261"/>
                  </a:lnTo>
                  <a:lnTo>
                    <a:pt x="1718" y="262"/>
                  </a:lnTo>
                  <a:lnTo>
                    <a:pt x="1751" y="263"/>
                  </a:lnTo>
                  <a:lnTo>
                    <a:pt x="1814" y="266"/>
                  </a:lnTo>
                  <a:lnTo>
                    <a:pt x="1844" y="268"/>
                  </a:lnTo>
                  <a:lnTo>
                    <a:pt x="1875" y="270"/>
                  </a:lnTo>
                  <a:lnTo>
                    <a:pt x="1934" y="276"/>
                  </a:lnTo>
                  <a:lnTo>
                    <a:pt x="1963" y="279"/>
                  </a:lnTo>
                  <a:lnTo>
                    <a:pt x="1992" y="282"/>
                  </a:lnTo>
                  <a:lnTo>
                    <a:pt x="2020" y="286"/>
                  </a:lnTo>
                  <a:lnTo>
                    <a:pt x="2047" y="290"/>
                  </a:lnTo>
                  <a:lnTo>
                    <a:pt x="2074" y="295"/>
                  </a:lnTo>
                  <a:lnTo>
                    <a:pt x="2101" y="299"/>
                  </a:lnTo>
                  <a:lnTo>
                    <a:pt x="2153" y="309"/>
                  </a:lnTo>
                  <a:lnTo>
                    <a:pt x="2203" y="320"/>
                  </a:lnTo>
                  <a:lnTo>
                    <a:pt x="2252" y="332"/>
                  </a:lnTo>
                  <a:lnTo>
                    <a:pt x="2275" y="338"/>
                  </a:lnTo>
                  <a:lnTo>
                    <a:pt x="2298" y="345"/>
                  </a:lnTo>
                  <a:lnTo>
                    <a:pt x="2343" y="358"/>
                  </a:lnTo>
                  <a:lnTo>
                    <a:pt x="2365" y="365"/>
                  </a:lnTo>
                  <a:lnTo>
                    <a:pt x="2386" y="372"/>
                  </a:lnTo>
                  <a:lnTo>
                    <a:pt x="2427" y="387"/>
                  </a:lnTo>
                  <a:lnTo>
                    <a:pt x="2467" y="402"/>
                  </a:lnTo>
                  <a:lnTo>
                    <a:pt x="2504" y="417"/>
                  </a:lnTo>
                  <a:lnTo>
                    <a:pt x="2522" y="425"/>
                  </a:lnTo>
                  <a:lnTo>
                    <a:pt x="2540" y="433"/>
                  </a:lnTo>
                  <a:lnTo>
                    <a:pt x="2574" y="450"/>
                  </a:lnTo>
                  <a:lnTo>
                    <a:pt x="2606" y="466"/>
                  </a:lnTo>
                  <a:lnTo>
                    <a:pt x="2638" y="483"/>
                  </a:lnTo>
                  <a:lnTo>
                    <a:pt x="2666" y="500"/>
                  </a:lnTo>
                  <a:lnTo>
                    <a:pt x="2680" y="508"/>
                  </a:lnTo>
                  <a:lnTo>
                    <a:pt x="2693" y="517"/>
                  </a:lnTo>
                  <a:lnTo>
                    <a:pt x="2718" y="534"/>
                  </a:lnTo>
                  <a:lnTo>
                    <a:pt x="2718" y="526"/>
                  </a:lnTo>
                  <a:lnTo>
                    <a:pt x="2717" y="523"/>
                  </a:lnTo>
                  <a:lnTo>
                    <a:pt x="2716" y="518"/>
                  </a:lnTo>
                  <a:lnTo>
                    <a:pt x="2715" y="514"/>
                  </a:lnTo>
                  <a:lnTo>
                    <a:pt x="2713" y="509"/>
                  </a:lnTo>
                  <a:lnTo>
                    <a:pt x="2710" y="505"/>
                  </a:lnTo>
                  <a:lnTo>
                    <a:pt x="2708" y="499"/>
                  </a:lnTo>
                  <a:lnTo>
                    <a:pt x="2701" y="489"/>
                  </a:lnTo>
                  <a:lnTo>
                    <a:pt x="2693" y="478"/>
                  </a:lnTo>
                  <a:lnTo>
                    <a:pt x="2683" y="466"/>
                  </a:lnTo>
                  <a:lnTo>
                    <a:pt x="2671" y="453"/>
                  </a:lnTo>
                  <a:lnTo>
                    <a:pt x="2665" y="447"/>
                  </a:lnTo>
                  <a:lnTo>
                    <a:pt x="2658" y="440"/>
                  </a:lnTo>
                  <a:lnTo>
                    <a:pt x="2643" y="426"/>
                  </a:lnTo>
                  <a:lnTo>
                    <a:pt x="2627" y="412"/>
                  </a:lnTo>
                  <a:lnTo>
                    <a:pt x="2608" y="398"/>
                  </a:lnTo>
                  <a:lnTo>
                    <a:pt x="2589" y="383"/>
                  </a:lnTo>
                  <a:lnTo>
                    <a:pt x="2568" y="368"/>
                  </a:lnTo>
                  <a:lnTo>
                    <a:pt x="2545" y="353"/>
                  </a:lnTo>
                  <a:lnTo>
                    <a:pt x="2521" y="338"/>
                  </a:lnTo>
                  <a:lnTo>
                    <a:pt x="2496" y="323"/>
                  </a:lnTo>
                  <a:lnTo>
                    <a:pt x="2469" y="307"/>
                  </a:lnTo>
                  <a:lnTo>
                    <a:pt x="2441" y="292"/>
                  </a:lnTo>
                  <a:lnTo>
                    <a:pt x="2411" y="277"/>
                  </a:lnTo>
                  <a:lnTo>
                    <a:pt x="2380" y="262"/>
                  </a:lnTo>
                  <a:lnTo>
                    <a:pt x="2348" y="247"/>
                  </a:lnTo>
                  <a:lnTo>
                    <a:pt x="2314" y="232"/>
                  </a:lnTo>
                  <a:lnTo>
                    <a:pt x="2279" y="218"/>
                  </a:lnTo>
                  <a:lnTo>
                    <a:pt x="2242" y="204"/>
                  </a:lnTo>
                  <a:lnTo>
                    <a:pt x="2204" y="190"/>
                  </a:lnTo>
                  <a:lnTo>
                    <a:pt x="2165" y="177"/>
                  </a:lnTo>
                  <a:lnTo>
                    <a:pt x="2125" y="165"/>
                  </a:lnTo>
                  <a:lnTo>
                    <a:pt x="2083" y="153"/>
                  </a:lnTo>
                  <a:lnTo>
                    <a:pt x="2040" y="142"/>
                  </a:lnTo>
                  <a:lnTo>
                    <a:pt x="1996" y="131"/>
                  </a:lnTo>
                  <a:lnTo>
                    <a:pt x="1950" y="122"/>
                  </a:lnTo>
                  <a:lnTo>
                    <a:pt x="1917" y="115"/>
                  </a:lnTo>
                  <a:lnTo>
                    <a:pt x="1884" y="110"/>
                  </a:lnTo>
                  <a:lnTo>
                    <a:pt x="1851" y="105"/>
                  </a:lnTo>
                  <a:lnTo>
                    <a:pt x="1817" y="100"/>
                  </a:lnTo>
                  <a:lnTo>
                    <a:pt x="1784" y="97"/>
                  </a:lnTo>
                  <a:lnTo>
                    <a:pt x="1750" y="93"/>
                  </a:lnTo>
                  <a:lnTo>
                    <a:pt x="1716" y="91"/>
                  </a:lnTo>
                  <a:lnTo>
                    <a:pt x="1682" y="89"/>
                  </a:lnTo>
                  <a:lnTo>
                    <a:pt x="1648" y="87"/>
                  </a:lnTo>
                  <a:lnTo>
                    <a:pt x="1614" y="86"/>
                  </a:lnTo>
                  <a:lnTo>
                    <a:pt x="1580" y="86"/>
                  </a:lnTo>
                  <a:lnTo>
                    <a:pt x="1546" y="86"/>
                  </a:lnTo>
                  <a:lnTo>
                    <a:pt x="1478" y="87"/>
                  </a:lnTo>
                  <a:lnTo>
                    <a:pt x="1444" y="89"/>
                  </a:lnTo>
                  <a:lnTo>
                    <a:pt x="1410" y="91"/>
                  </a:lnTo>
                  <a:lnTo>
                    <a:pt x="1377" y="93"/>
                  </a:lnTo>
                  <a:lnTo>
                    <a:pt x="1343" y="96"/>
                  </a:lnTo>
                  <a:lnTo>
                    <a:pt x="1309" y="99"/>
                  </a:lnTo>
                  <a:lnTo>
                    <a:pt x="1276" y="102"/>
                  </a:lnTo>
                  <a:lnTo>
                    <a:pt x="1210" y="110"/>
                  </a:lnTo>
                  <a:lnTo>
                    <a:pt x="1177" y="114"/>
                  </a:lnTo>
                  <a:lnTo>
                    <a:pt x="1143" y="119"/>
                  </a:lnTo>
                  <a:lnTo>
                    <a:pt x="1111" y="124"/>
                  </a:lnTo>
                  <a:lnTo>
                    <a:pt x="1079" y="129"/>
                  </a:lnTo>
                  <a:lnTo>
                    <a:pt x="1047" y="135"/>
                  </a:lnTo>
                  <a:lnTo>
                    <a:pt x="1015" y="140"/>
                  </a:lnTo>
                  <a:lnTo>
                    <a:pt x="984" y="146"/>
                  </a:lnTo>
                  <a:lnTo>
                    <a:pt x="953" y="152"/>
                  </a:lnTo>
                  <a:lnTo>
                    <a:pt x="893" y="165"/>
                  </a:lnTo>
                  <a:lnTo>
                    <a:pt x="833" y="178"/>
                  </a:lnTo>
                  <a:lnTo>
                    <a:pt x="776" y="192"/>
                  </a:lnTo>
                  <a:lnTo>
                    <a:pt x="721" y="206"/>
                  </a:lnTo>
                  <a:lnTo>
                    <a:pt x="667" y="220"/>
                  </a:lnTo>
                  <a:lnTo>
                    <a:pt x="616" y="235"/>
                  </a:lnTo>
                  <a:lnTo>
                    <a:pt x="567" y="249"/>
                  </a:lnTo>
                  <a:lnTo>
                    <a:pt x="520" y="263"/>
                  </a:lnTo>
                  <a:lnTo>
                    <a:pt x="477" y="277"/>
                  </a:lnTo>
                  <a:lnTo>
                    <a:pt x="436" y="290"/>
                  </a:lnTo>
                  <a:lnTo>
                    <a:pt x="397" y="303"/>
                  </a:lnTo>
                  <a:lnTo>
                    <a:pt x="331" y="326"/>
                  </a:lnTo>
                  <a:lnTo>
                    <a:pt x="278" y="345"/>
                  </a:lnTo>
                  <a:lnTo>
                    <a:pt x="239" y="360"/>
                  </a:lnTo>
                  <a:lnTo>
                    <a:pt x="242" y="338"/>
                  </a:lnTo>
                  <a:lnTo>
                    <a:pt x="245" y="316"/>
                  </a:lnTo>
                  <a:lnTo>
                    <a:pt x="252" y="269"/>
                  </a:lnTo>
                  <a:lnTo>
                    <a:pt x="259" y="222"/>
                  </a:lnTo>
                  <a:lnTo>
                    <a:pt x="262" y="199"/>
                  </a:lnTo>
                  <a:lnTo>
                    <a:pt x="264" y="175"/>
                  </a:lnTo>
                  <a:lnTo>
                    <a:pt x="265" y="153"/>
                  </a:lnTo>
                  <a:lnTo>
                    <a:pt x="266" y="131"/>
                  </a:lnTo>
                  <a:lnTo>
                    <a:pt x="265" y="120"/>
                  </a:lnTo>
                  <a:lnTo>
                    <a:pt x="264" y="110"/>
                  </a:lnTo>
                  <a:lnTo>
                    <a:pt x="263" y="99"/>
                  </a:lnTo>
                  <a:lnTo>
                    <a:pt x="262" y="89"/>
                  </a:lnTo>
                  <a:lnTo>
                    <a:pt x="260" y="80"/>
                  </a:lnTo>
                  <a:lnTo>
                    <a:pt x="257" y="71"/>
                  </a:lnTo>
                  <a:lnTo>
                    <a:pt x="254" y="62"/>
                  </a:lnTo>
                  <a:lnTo>
                    <a:pt x="251" y="53"/>
                  </a:lnTo>
                  <a:lnTo>
                    <a:pt x="247" y="45"/>
                  </a:lnTo>
                  <a:lnTo>
                    <a:pt x="242" y="37"/>
                  </a:lnTo>
                  <a:lnTo>
                    <a:pt x="237" y="30"/>
                  </a:lnTo>
                  <a:lnTo>
                    <a:pt x="231" y="23"/>
                  </a:lnTo>
                  <a:lnTo>
                    <a:pt x="227" y="19"/>
                  </a:lnTo>
                  <a:lnTo>
                    <a:pt x="222" y="16"/>
                  </a:lnTo>
                  <a:lnTo>
                    <a:pt x="217" y="12"/>
                  </a:lnTo>
                  <a:lnTo>
                    <a:pt x="211" y="9"/>
                  </a:lnTo>
                  <a:lnTo>
                    <a:pt x="205" y="7"/>
                  </a:lnTo>
                  <a:lnTo>
                    <a:pt x="199" y="5"/>
                  </a:lnTo>
                  <a:lnTo>
                    <a:pt x="192" y="3"/>
                  </a:lnTo>
                  <a:lnTo>
                    <a:pt x="185" y="2"/>
                  </a:lnTo>
                  <a:lnTo>
                    <a:pt x="178" y="1"/>
                  </a:lnTo>
                  <a:lnTo>
                    <a:pt x="171" y="0"/>
                  </a:lnTo>
                  <a:lnTo>
                    <a:pt x="163" y="1"/>
                  </a:lnTo>
                  <a:lnTo>
                    <a:pt x="155" y="1"/>
                  </a:lnTo>
                  <a:lnTo>
                    <a:pt x="148" y="2"/>
                  </a:lnTo>
                  <a:lnTo>
                    <a:pt x="140" y="4"/>
                  </a:lnTo>
                  <a:lnTo>
                    <a:pt x="132" y="6"/>
                  </a:lnTo>
                  <a:lnTo>
                    <a:pt x="125" y="9"/>
                  </a:lnTo>
                  <a:lnTo>
                    <a:pt x="117" y="12"/>
                  </a:lnTo>
                  <a:lnTo>
                    <a:pt x="110" y="16"/>
                  </a:lnTo>
                  <a:lnTo>
                    <a:pt x="103" y="20"/>
                  </a:lnTo>
                  <a:lnTo>
                    <a:pt x="96" y="25"/>
                  </a:lnTo>
                  <a:lnTo>
                    <a:pt x="89" y="31"/>
                  </a:lnTo>
                  <a:lnTo>
                    <a:pt x="82" y="37"/>
                  </a:lnTo>
                  <a:lnTo>
                    <a:pt x="76" y="44"/>
                  </a:lnTo>
                  <a:lnTo>
                    <a:pt x="70" y="52"/>
                  </a:lnTo>
                  <a:lnTo>
                    <a:pt x="65" y="60"/>
                  </a:lnTo>
                  <a:lnTo>
                    <a:pt x="60" y="69"/>
                  </a:lnTo>
                  <a:lnTo>
                    <a:pt x="56" y="79"/>
                  </a:lnTo>
                  <a:lnTo>
                    <a:pt x="52" y="89"/>
                  </a:lnTo>
                  <a:lnTo>
                    <a:pt x="48" y="101"/>
                  </a:lnTo>
                  <a:lnTo>
                    <a:pt x="46" y="113"/>
                  </a:lnTo>
                  <a:lnTo>
                    <a:pt x="43" y="126"/>
                  </a:lnTo>
                  <a:lnTo>
                    <a:pt x="42" y="139"/>
                  </a:lnTo>
                  <a:lnTo>
                    <a:pt x="39" y="180"/>
                  </a:lnTo>
                  <a:lnTo>
                    <a:pt x="35" y="221"/>
                  </a:lnTo>
                  <a:lnTo>
                    <a:pt x="26" y="308"/>
                  </a:lnTo>
                  <a:lnTo>
                    <a:pt x="15" y="401"/>
                  </a:lnTo>
                  <a:lnTo>
                    <a:pt x="3" y="498"/>
                  </a:lnTo>
                  <a:lnTo>
                    <a:pt x="1" y="513"/>
                  </a:lnTo>
                  <a:lnTo>
                    <a:pt x="0" y="527"/>
                  </a:lnTo>
                  <a:lnTo>
                    <a:pt x="0" y="539"/>
                  </a:lnTo>
                  <a:lnTo>
                    <a:pt x="0" y="551"/>
                  </a:lnTo>
                  <a:lnTo>
                    <a:pt x="1" y="561"/>
                  </a:lnTo>
                  <a:lnTo>
                    <a:pt x="3" y="570"/>
                  </a:lnTo>
                  <a:lnTo>
                    <a:pt x="5" y="578"/>
                  </a:lnTo>
                  <a:lnTo>
                    <a:pt x="7" y="585"/>
                  </a:lnTo>
                  <a:lnTo>
                    <a:pt x="11" y="591"/>
                  </a:lnTo>
                  <a:lnTo>
                    <a:pt x="14" y="596"/>
                  </a:lnTo>
                  <a:lnTo>
                    <a:pt x="19" y="601"/>
                  </a:lnTo>
                  <a:lnTo>
                    <a:pt x="23" y="604"/>
                  </a:lnTo>
                  <a:lnTo>
                    <a:pt x="29" y="607"/>
                  </a:lnTo>
                  <a:lnTo>
                    <a:pt x="34" y="609"/>
                  </a:lnTo>
                  <a:lnTo>
                    <a:pt x="40" y="610"/>
                  </a:lnTo>
                  <a:lnTo>
                    <a:pt x="47" y="611"/>
                  </a:lnTo>
                  <a:lnTo>
                    <a:pt x="54" y="611"/>
                  </a:lnTo>
                  <a:lnTo>
                    <a:pt x="61" y="610"/>
                  </a:lnTo>
                  <a:lnTo>
                    <a:pt x="68" y="609"/>
                  </a:lnTo>
                  <a:lnTo>
                    <a:pt x="76" y="608"/>
                  </a:lnTo>
                  <a:lnTo>
                    <a:pt x="93" y="603"/>
                  </a:lnTo>
                  <a:lnTo>
                    <a:pt x="110" y="598"/>
                  </a:lnTo>
                  <a:lnTo>
                    <a:pt x="129" y="591"/>
                  </a:lnTo>
                  <a:lnTo>
                    <a:pt x="148" y="583"/>
                  </a:lnTo>
                  <a:lnTo>
                    <a:pt x="187" y="568"/>
                  </a:lnTo>
                  <a:close/>
                </a:path>
              </a:pathLst>
            </a:custGeom>
            <a:solidFill>
              <a:srgbClr val="FF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79A22F-6783-47CE-BB9D-7A42D7190E9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09067" y="6057875"/>
            <a:ext cx="6986693" cy="5461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9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05315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IGMA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8B19790-FD74-4B0D-B53A-3E174560B4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79657" y="6377611"/>
            <a:ext cx="585267" cy="341405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849DC93-5CBB-4C76-8CD4-2BCE47B9D203}"/>
              </a:ext>
            </a:extLst>
          </p:cNvPr>
          <p:cNvSpPr/>
          <p:nvPr/>
        </p:nvSpPr>
        <p:spPr>
          <a:xfrm>
            <a:off x="0" y="6762804"/>
            <a:ext cx="12192000" cy="106704"/>
          </a:xfrm>
          <a:prstGeom prst="rect">
            <a:avLst/>
          </a:prstGeom>
          <a:solidFill>
            <a:srgbClr val="D500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2400"/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58D22A4B-7949-41FA-A1DE-3A0686E6F6A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671421" y="1"/>
            <a:ext cx="520579" cy="366183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ysClr val="windowText" lastClr="000000"/>
                </a:solidFill>
              </a:defRPr>
            </a:lvl1pPr>
          </a:lstStyle>
          <a:p>
            <a:fld id="{95E63616-A2E2-49CD-8B48-1F006743AC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5014791-4FA1-4A5D-893F-79607C3EBC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392" y="132618"/>
            <a:ext cx="8260899" cy="853879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ES_tradnl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A60B6C6-8585-4655-AE49-8DA2FDC747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7392" y="1165496"/>
            <a:ext cx="11548005" cy="516137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FFCB06"/>
              </a:buClr>
              <a:defRPr sz="2133"/>
            </a:lvl1pPr>
            <a:lvl2pPr>
              <a:buClr>
                <a:srgbClr val="FFCB06"/>
              </a:buClr>
              <a:defRPr sz="2133"/>
            </a:lvl2pPr>
            <a:lvl3pPr>
              <a:buClr>
                <a:srgbClr val="FFCB06"/>
              </a:buClr>
              <a:defRPr sz="2133"/>
            </a:lvl3pPr>
            <a:lvl4pPr>
              <a:buClr>
                <a:srgbClr val="FFCB06"/>
              </a:buClr>
              <a:defRPr sz="2133"/>
            </a:lvl4pPr>
            <a:lvl5pPr>
              <a:buClr>
                <a:srgbClr val="FFCB06"/>
              </a:buClr>
              <a:defRPr sz="2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_trad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F75C786-728D-49F7-8B27-BB74C5F940C6}"/>
              </a:ext>
            </a:extLst>
          </p:cNvPr>
          <p:cNvSpPr/>
          <p:nvPr/>
        </p:nvSpPr>
        <p:spPr>
          <a:xfrm>
            <a:off x="467577" y="990641"/>
            <a:ext cx="1199984" cy="93953"/>
          </a:xfrm>
          <a:prstGeom prst="rect">
            <a:avLst/>
          </a:prstGeom>
          <a:solidFill>
            <a:srgbClr val="D50032"/>
          </a:solidFill>
          <a:ln w="2857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</p:spTree>
    <p:extLst>
      <p:ext uri="{BB962C8B-B14F-4D97-AF65-F5344CB8AC3E}">
        <p14:creationId xmlns:p14="http://schemas.microsoft.com/office/powerpoint/2010/main" val="90877738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4_SIGMA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46D9076B-2B00-46BE-8102-7CCEC9936D6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671421" y="-11509"/>
            <a:ext cx="520579" cy="366183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tx1"/>
                </a:solidFill>
              </a:defRPr>
            </a:lvl1pPr>
          </a:lstStyle>
          <a:p>
            <a:fld id="{95E63616-A2E2-49CD-8B48-1F006743AC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9102026-6E32-4BB2-829F-26194ED551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86000" y="134400"/>
            <a:ext cx="5799667" cy="85440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2933"/>
            </a:lvl1pPr>
          </a:lstStyle>
          <a:p>
            <a:r>
              <a:rPr lang="es-ES_tradnl"/>
              <a:t>Agenda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CBDD2E9-39B6-4C39-B5DE-3EB15B91FD55}"/>
              </a:ext>
            </a:extLst>
          </p:cNvPr>
          <p:cNvSpPr/>
          <p:nvPr/>
        </p:nvSpPr>
        <p:spPr>
          <a:xfrm>
            <a:off x="6207977" y="984862"/>
            <a:ext cx="1199984" cy="93953"/>
          </a:xfrm>
          <a:prstGeom prst="rect">
            <a:avLst/>
          </a:prstGeom>
          <a:solidFill>
            <a:srgbClr val="D50032"/>
          </a:solidFill>
          <a:ln w="2857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78E82A3-6AA3-4FA3-941D-D1A838374936}"/>
              </a:ext>
            </a:extLst>
          </p:cNvPr>
          <p:cNvSpPr/>
          <p:nvPr/>
        </p:nvSpPr>
        <p:spPr>
          <a:xfrm rot="16200000">
            <a:off x="2460091" y="3347687"/>
            <a:ext cx="6857999" cy="139607"/>
          </a:xfrm>
          <a:prstGeom prst="rect">
            <a:avLst/>
          </a:prstGeom>
          <a:solidFill>
            <a:srgbClr val="D500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24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8FF6CF-AEAE-4D3A-9633-8A787A51740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86000" y="1270821"/>
            <a:ext cx="5799667" cy="2705100"/>
          </a:xfrm>
          <a:prstGeom prst="rect">
            <a:avLst/>
          </a:prstGeom>
        </p:spPr>
        <p:txBody>
          <a:bodyPr/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2667"/>
            </a:lvl4pPr>
            <a:lvl5pPr>
              <a:defRPr sz="26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80591BE-25FF-4E43-9F96-FC845D7CDE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79657" y="6377611"/>
            <a:ext cx="585267" cy="341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506111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SIGMA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7392" y="132618"/>
            <a:ext cx="8260899" cy="853879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ES_tradn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7392" y="1259842"/>
            <a:ext cx="7739968" cy="471644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FFCB06"/>
              </a:buClr>
              <a:defRPr sz="2133">
                <a:solidFill>
                  <a:schemeClr val="tx1"/>
                </a:solidFill>
              </a:defRPr>
            </a:lvl1pPr>
            <a:lvl2pPr>
              <a:buClr>
                <a:srgbClr val="FFCB06"/>
              </a:buClr>
              <a:defRPr sz="2133">
                <a:solidFill>
                  <a:schemeClr val="tx1"/>
                </a:solidFill>
              </a:defRPr>
            </a:lvl2pPr>
            <a:lvl3pPr>
              <a:buClr>
                <a:srgbClr val="FFCB06"/>
              </a:buClr>
              <a:defRPr sz="2133">
                <a:solidFill>
                  <a:schemeClr val="tx1"/>
                </a:solidFill>
              </a:defRPr>
            </a:lvl3pPr>
            <a:lvl4pPr>
              <a:buClr>
                <a:srgbClr val="FFCB06"/>
              </a:buClr>
              <a:defRPr sz="2133">
                <a:solidFill>
                  <a:schemeClr val="tx1"/>
                </a:solidFill>
              </a:defRPr>
            </a:lvl4pPr>
            <a:lvl5pPr>
              <a:buClr>
                <a:srgbClr val="FFCB06"/>
              </a:buCl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_tradnl"/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46D9076B-2B00-46BE-8102-7CCEC9936D6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671421" y="-11049"/>
            <a:ext cx="520579" cy="366183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</a:defRPr>
            </a:lvl1pPr>
          </a:lstStyle>
          <a:p>
            <a:fld id="{95E63616-A2E2-49CD-8B48-1F006743AC2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51974CF-29F4-472C-AA0F-160FF624E129}"/>
              </a:ext>
            </a:extLst>
          </p:cNvPr>
          <p:cNvSpPr/>
          <p:nvPr/>
        </p:nvSpPr>
        <p:spPr>
          <a:xfrm>
            <a:off x="467577" y="990641"/>
            <a:ext cx="1199984" cy="93953"/>
          </a:xfrm>
          <a:prstGeom prst="rect">
            <a:avLst/>
          </a:prstGeom>
          <a:solidFill>
            <a:srgbClr val="D50032"/>
          </a:solidFill>
          <a:ln w="2857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24" name="Rectangle 11">
            <a:extLst>
              <a:ext uri="{FF2B5EF4-FFF2-40B4-BE49-F238E27FC236}">
                <a16:creationId xmlns:a16="http://schemas.microsoft.com/office/drawing/2014/main" id="{5BC86791-D930-48A8-8004-458556B2D81A}"/>
              </a:ext>
            </a:extLst>
          </p:cNvPr>
          <p:cNvSpPr/>
          <p:nvPr/>
        </p:nvSpPr>
        <p:spPr>
          <a:xfrm rot="17273848">
            <a:off x="5380082" y="3341881"/>
            <a:ext cx="7313172" cy="205928"/>
          </a:xfrm>
          <a:custGeom>
            <a:avLst/>
            <a:gdLst>
              <a:gd name="connsiteX0" fmla="*/ 0 w 5584361"/>
              <a:gd name="connsiteY0" fmla="*/ 0 h 159515"/>
              <a:gd name="connsiteX1" fmla="*/ 5584361 w 5584361"/>
              <a:gd name="connsiteY1" fmla="*/ 0 h 159515"/>
              <a:gd name="connsiteX2" fmla="*/ 5584361 w 5584361"/>
              <a:gd name="connsiteY2" fmla="*/ 159515 h 159515"/>
              <a:gd name="connsiteX3" fmla="*/ 0 w 5584361"/>
              <a:gd name="connsiteY3" fmla="*/ 159515 h 159515"/>
              <a:gd name="connsiteX4" fmla="*/ 0 w 5584361"/>
              <a:gd name="connsiteY4" fmla="*/ 0 h 159515"/>
              <a:gd name="connsiteX0" fmla="*/ 0 w 5584361"/>
              <a:gd name="connsiteY0" fmla="*/ 2438 h 161953"/>
              <a:gd name="connsiteX1" fmla="*/ 5493819 w 5584361"/>
              <a:gd name="connsiteY1" fmla="*/ 0 h 161953"/>
              <a:gd name="connsiteX2" fmla="*/ 5584361 w 5584361"/>
              <a:gd name="connsiteY2" fmla="*/ 161953 h 161953"/>
              <a:gd name="connsiteX3" fmla="*/ 0 w 5584361"/>
              <a:gd name="connsiteY3" fmla="*/ 161953 h 161953"/>
              <a:gd name="connsiteX4" fmla="*/ 0 w 5584361"/>
              <a:gd name="connsiteY4" fmla="*/ 2438 h 161953"/>
              <a:gd name="connsiteX0" fmla="*/ 0 w 5508163"/>
              <a:gd name="connsiteY0" fmla="*/ 2438 h 161953"/>
              <a:gd name="connsiteX1" fmla="*/ 5493819 w 5508163"/>
              <a:gd name="connsiteY1" fmla="*/ 0 h 161953"/>
              <a:gd name="connsiteX2" fmla="*/ 5508163 w 5508163"/>
              <a:gd name="connsiteY2" fmla="*/ 154882 h 161953"/>
              <a:gd name="connsiteX3" fmla="*/ 0 w 5508163"/>
              <a:gd name="connsiteY3" fmla="*/ 161953 h 161953"/>
              <a:gd name="connsiteX4" fmla="*/ 0 w 5508163"/>
              <a:gd name="connsiteY4" fmla="*/ 2438 h 161953"/>
              <a:gd name="connsiteX0" fmla="*/ 0 w 5508163"/>
              <a:gd name="connsiteY0" fmla="*/ 0 h 159515"/>
              <a:gd name="connsiteX1" fmla="*/ 5477323 w 5508163"/>
              <a:gd name="connsiteY1" fmla="*/ 2889 h 159515"/>
              <a:gd name="connsiteX2" fmla="*/ 5508163 w 5508163"/>
              <a:gd name="connsiteY2" fmla="*/ 152444 h 159515"/>
              <a:gd name="connsiteX3" fmla="*/ 0 w 5508163"/>
              <a:gd name="connsiteY3" fmla="*/ 159515 h 159515"/>
              <a:gd name="connsiteX4" fmla="*/ 0 w 5508163"/>
              <a:gd name="connsiteY4" fmla="*/ 0 h 159515"/>
              <a:gd name="connsiteX0" fmla="*/ 0 w 5520534"/>
              <a:gd name="connsiteY0" fmla="*/ 0 h 159515"/>
              <a:gd name="connsiteX1" fmla="*/ 5477323 w 5520534"/>
              <a:gd name="connsiteY1" fmla="*/ 2889 h 159515"/>
              <a:gd name="connsiteX2" fmla="*/ 5520534 w 5520534"/>
              <a:gd name="connsiteY2" fmla="*/ 148449 h 159515"/>
              <a:gd name="connsiteX3" fmla="*/ 0 w 5520534"/>
              <a:gd name="connsiteY3" fmla="*/ 159515 h 159515"/>
              <a:gd name="connsiteX4" fmla="*/ 0 w 5520534"/>
              <a:gd name="connsiteY4" fmla="*/ 0 h 159515"/>
              <a:gd name="connsiteX0" fmla="*/ 0 w 5520534"/>
              <a:gd name="connsiteY0" fmla="*/ 0 h 152039"/>
              <a:gd name="connsiteX1" fmla="*/ 5477323 w 5520534"/>
              <a:gd name="connsiteY1" fmla="*/ 2889 h 152039"/>
              <a:gd name="connsiteX2" fmla="*/ 5520534 w 5520534"/>
              <a:gd name="connsiteY2" fmla="*/ 148449 h 152039"/>
              <a:gd name="connsiteX3" fmla="*/ 79558 w 5520534"/>
              <a:gd name="connsiteY3" fmla="*/ 152039 h 152039"/>
              <a:gd name="connsiteX4" fmla="*/ 0 w 5520534"/>
              <a:gd name="connsiteY4" fmla="*/ 0 h 152039"/>
              <a:gd name="connsiteX0" fmla="*/ 0 w 5484879"/>
              <a:gd name="connsiteY0" fmla="*/ 0 h 154446"/>
              <a:gd name="connsiteX1" fmla="*/ 5441668 w 5484879"/>
              <a:gd name="connsiteY1" fmla="*/ 5296 h 154446"/>
              <a:gd name="connsiteX2" fmla="*/ 5484879 w 5484879"/>
              <a:gd name="connsiteY2" fmla="*/ 150856 h 154446"/>
              <a:gd name="connsiteX3" fmla="*/ 43903 w 5484879"/>
              <a:gd name="connsiteY3" fmla="*/ 154446 h 154446"/>
              <a:gd name="connsiteX4" fmla="*/ 0 w 5484879"/>
              <a:gd name="connsiteY4" fmla="*/ 0 h 154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84879" h="154446">
                <a:moveTo>
                  <a:pt x="0" y="0"/>
                </a:moveTo>
                <a:lnTo>
                  <a:pt x="5441668" y="5296"/>
                </a:lnTo>
                <a:lnTo>
                  <a:pt x="5484879" y="150856"/>
                </a:lnTo>
                <a:lnTo>
                  <a:pt x="43903" y="154446"/>
                </a:lnTo>
                <a:lnTo>
                  <a:pt x="0" y="0"/>
                </a:lnTo>
                <a:close/>
              </a:path>
            </a:pathLst>
          </a:custGeom>
          <a:solidFill>
            <a:srgbClr val="D500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2400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94A5112-0E32-4A73-8A4D-DC16EDDA84A9}"/>
              </a:ext>
            </a:extLst>
          </p:cNvPr>
          <p:cNvGrpSpPr>
            <a:grpSpLocks noChangeAspect="1"/>
          </p:cNvGrpSpPr>
          <p:nvPr/>
        </p:nvGrpSpPr>
        <p:grpSpPr>
          <a:xfrm>
            <a:off x="11470709" y="6377611"/>
            <a:ext cx="589936" cy="336000"/>
            <a:chOff x="1188944" y="2513316"/>
            <a:chExt cx="1814513" cy="1033463"/>
          </a:xfrm>
          <a:solidFill>
            <a:schemeClr val="bg1"/>
          </a:solidFill>
        </p:grpSpPr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101FCAAB-8868-46EC-9A60-E8FF881D2E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54942" y="2833656"/>
              <a:ext cx="1448515" cy="713123"/>
            </a:xfrm>
            <a:custGeom>
              <a:avLst/>
              <a:gdLst>
                <a:gd name="T0" fmla="*/ 2937 w 3463"/>
                <a:gd name="T1" fmla="*/ 123 h 1703"/>
                <a:gd name="T2" fmla="*/ 2655 w 3463"/>
                <a:gd name="T3" fmla="*/ 476 h 1703"/>
                <a:gd name="T4" fmla="*/ 2529 w 3463"/>
                <a:gd name="T5" fmla="*/ 752 h 1703"/>
                <a:gd name="T6" fmla="*/ 2571 w 3463"/>
                <a:gd name="T7" fmla="*/ 266 h 1703"/>
                <a:gd name="T8" fmla="*/ 2529 w 3463"/>
                <a:gd name="T9" fmla="*/ 44 h 1703"/>
                <a:gd name="T10" fmla="*/ 2296 w 3463"/>
                <a:gd name="T11" fmla="*/ 64 h 1703"/>
                <a:gd name="T12" fmla="*/ 2102 w 3463"/>
                <a:gd name="T13" fmla="*/ 101 h 1703"/>
                <a:gd name="T14" fmla="*/ 1962 w 3463"/>
                <a:gd name="T15" fmla="*/ 15 h 1703"/>
                <a:gd name="T16" fmla="*/ 1673 w 3463"/>
                <a:gd name="T17" fmla="*/ 210 h 1703"/>
                <a:gd name="T18" fmla="*/ 1605 w 3463"/>
                <a:gd name="T19" fmla="*/ 37 h 1703"/>
                <a:gd name="T20" fmla="*/ 1447 w 3463"/>
                <a:gd name="T21" fmla="*/ 60 h 1703"/>
                <a:gd name="T22" fmla="*/ 1235 w 3463"/>
                <a:gd name="T23" fmla="*/ 79 h 1703"/>
                <a:gd name="T24" fmla="*/ 1019 w 3463"/>
                <a:gd name="T25" fmla="*/ 31 h 1703"/>
                <a:gd name="T26" fmla="*/ 703 w 3463"/>
                <a:gd name="T27" fmla="*/ 139 h 1703"/>
                <a:gd name="T28" fmla="*/ 437 w 3463"/>
                <a:gd name="T29" fmla="*/ 471 h 1703"/>
                <a:gd name="T30" fmla="*/ 271 w 3463"/>
                <a:gd name="T31" fmla="*/ 734 h 1703"/>
                <a:gd name="T32" fmla="*/ 307 w 3463"/>
                <a:gd name="T33" fmla="*/ 221 h 1703"/>
                <a:gd name="T34" fmla="*/ 261 w 3463"/>
                <a:gd name="T35" fmla="*/ 17 h 1703"/>
                <a:gd name="T36" fmla="*/ 105 w 3463"/>
                <a:gd name="T37" fmla="*/ 30 h 1703"/>
                <a:gd name="T38" fmla="*/ 21 w 3463"/>
                <a:gd name="T39" fmla="*/ 927 h 1703"/>
                <a:gd name="T40" fmla="*/ 185 w 3463"/>
                <a:gd name="T41" fmla="*/ 961 h 1703"/>
                <a:gd name="T42" fmla="*/ 393 w 3463"/>
                <a:gd name="T43" fmla="*/ 839 h 1703"/>
                <a:gd name="T44" fmla="*/ 223 w 3463"/>
                <a:gd name="T45" fmla="*/ 1153 h 1703"/>
                <a:gd name="T46" fmla="*/ 140 w 3463"/>
                <a:gd name="T47" fmla="*/ 1447 h 1703"/>
                <a:gd name="T48" fmla="*/ 283 w 3463"/>
                <a:gd name="T49" fmla="*/ 1659 h 1703"/>
                <a:gd name="T50" fmla="*/ 629 w 3463"/>
                <a:gd name="T51" fmla="*/ 1676 h 1703"/>
                <a:gd name="T52" fmla="*/ 963 w 3463"/>
                <a:gd name="T53" fmla="*/ 1455 h 1703"/>
                <a:gd name="T54" fmla="*/ 1128 w 3463"/>
                <a:gd name="T55" fmla="*/ 1112 h 1703"/>
                <a:gd name="T56" fmla="*/ 1403 w 3463"/>
                <a:gd name="T57" fmla="*/ 251 h 1703"/>
                <a:gd name="T58" fmla="*/ 1401 w 3463"/>
                <a:gd name="T59" fmla="*/ 955 h 1703"/>
                <a:gd name="T60" fmla="*/ 1556 w 3463"/>
                <a:gd name="T61" fmla="*/ 963 h 1703"/>
                <a:gd name="T62" fmla="*/ 1633 w 3463"/>
                <a:gd name="T63" fmla="*/ 552 h 1703"/>
                <a:gd name="T64" fmla="*/ 1846 w 3463"/>
                <a:gd name="T65" fmla="*/ 233 h 1703"/>
                <a:gd name="T66" fmla="*/ 1874 w 3463"/>
                <a:gd name="T67" fmla="*/ 338 h 1703"/>
                <a:gd name="T68" fmla="*/ 1867 w 3463"/>
                <a:gd name="T69" fmla="*/ 962 h 1703"/>
                <a:gd name="T70" fmla="*/ 2040 w 3463"/>
                <a:gd name="T71" fmla="*/ 947 h 1703"/>
                <a:gd name="T72" fmla="*/ 2125 w 3463"/>
                <a:gd name="T73" fmla="*/ 476 h 1703"/>
                <a:gd name="T74" fmla="*/ 2330 w 3463"/>
                <a:gd name="T75" fmla="*/ 229 h 1703"/>
                <a:gd name="T76" fmla="*/ 2278 w 3463"/>
                <a:gd name="T77" fmla="*/ 756 h 1703"/>
                <a:gd name="T78" fmla="*/ 2335 w 3463"/>
                <a:gd name="T79" fmla="*/ 975 h 1703"/>
                <a:gd name="T80" fmla="*/ 2562 w 3463"/>
                <a:gd name="T81" fmla="*/ 909 h 1703"/>
                <a:gd name="T82" fmla="*/ 2691 w 3463"/>
                <a:gd name="T83" fmla="*/ 966 h 1703"/>
                <a:gd name="T84" fmla="*/ 2940 w 3463"/>
                <a:gd name="T85" fmla="*/ 936 h 1703"/>
                <a:gd name="T86" fmla="*/ 3135 w 3463"/>
                <a:gd name="T87" fmla="*/ 907 h 1703"/>
                <a:gd name="T88" fmla="*/ 3243 w 3463"/>
                <a:gd name="T89" fmla="*/ 991 h 1703"/>
                <a:gd name="T90" fmla="*/ 3351 w 3463"/>
                <a:gd name="T91" fmla="*/ 889 h 1703"/>
                <a:gd name="T92" fmla="*/ 3452 w 3463"/>
                <a:gd name="T93" fmla="*/ 82 h 1703"/>
                <a:gd name="T94" fmla="*/ 917 w 3463"/>
                <a:gd name="T95" fmla="*/ 950 h 1703"/>
                <a:gd name="T96" fmla="*/ 791 w 3463"/>
                <a:gd name="T97" fmla="*/ 1460 h 1703"/>
                <a:gd name="T98" fmla="*/ 565 w 3463"/>
                <a:gd name="T99" fmla="*/ 1554 h 1703"/>
                <a:gd name="T100" fmla="*/ 373 w 3463"/>
                <a:gd name="T101" fmla="*/ 1411 h 1703"/>
                <a:gd name="T102" fmla="*/ 461 w 3463"/>
                <a:gd name="T103" fmla="*/ 1066 h 1703"/>
                <a:gd name="T104" fmla="*/ 738 w 3463"/>
                <a:gd name="T105" fmla="*/ 916 h 1703"/>
                <a:gd name="T106" fmla="*/ 950 w 3463"/>
                <a:gd name="T107" fmla="*/ 445 h 1703"/>
                <a:gd name="T108" fmla="*/ 703 w 3463"/>
                <a:gd name="T109" fmla="*/ 743 h 1703"/>
                <a:gd name="T110" fmla="*/ 630 w 3463"/>
                <a:gd name="T111" fmla="*/ 641 h 1703"/>
                <a:gd name="T112" fmla="*/ 748 w 3463"/>
                <a:gd name="T113" fmla="*/ 291 h 1703"/>
                <a:gd name="T114" fmla="*/ 998 w 3463"/>
                <a:gd name="T115" fmla="*/ 229 h 1703"/>
                <a:gd name="T116" fmla="*/ 3056 w 3463"/>
                <a:gd name="T117" fmla="*/ 628 h 1703"/>
                <a:gd name="T118" fmla="*/ 2862 w 3463"/>
                <a:gd name="T119" fmla="*/ 759 h 1703"/>
                <a:gd name="T120" fmla="*/ 2896 w 3463"/>
                <a:gd name="T121" fmla="*/ 416 h 1703"/>
                <a:gd name="T122" fmla="*/ 3071 w 3463"/>
                <a:gd name="T123" fmla="*/ 214 h 1703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463"/>
                <a:gd name="T187" fmla="*/ 0 h 1703"/>
                <a:gd name="T188" fmla="*/ 3463 w 3463"/>
                <a:gd name="T189" fmla="*/ 1703 h 1703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463" h="1703">
                  <a:moveTo>
                    <a:pt x="3244" y="27"/>
                  </a:moveTo>
                  <a:lnTo>
                    <a:pt x="3228" y="28"/>
                  </a:lnTo>
                  <a:lnTo>
                    <a:pt x="3212" y="29"/>
                  </a:lnTo>
                  <a:lnTo>
                    <a:pt x="3197" y="30"/>
                  </a:lnTo>
                  <a:lnTo>
                    <a:pt x="3181" y="32"/>
                  </a:lnTo>
                  <a:lnTo>
                    <a:pt x="3166" y="34"/>
                  </a:lnTo>
                  <a:lnTo>
                    <a:pt x="3151" y="37"/>
                  </a:lnTo>
                  <a:lnTo>
                    <a:pt x="3135" y="40"/>
                  </a:lnTo>
                  <a:lnTo>
                    <a:pt x="3120" y="43"/>
                  </a:lnTo>
                  <a:lnTo>
                    <a:pt x="3106" y="47"/>
                  </a:lnTo>
                  <a:lnTo>
                    <a:pt x="3091" y="51"/>
                  </a:lnTo>
                  <a:lnTo>
                    <a:pt x="3076" y="55"/>
                  </a:lnTo>
                  <a:lnTo>
                    <a:pt x="3062" y="60"/>
                  </a:lnTo>
                  <a:lnTo>
                    <a:pt x="3033" y="71"/>
                  </a:lnTo>
                  <a:lnTo>
                    <a:pt x="3019" y="78"/>
                  </a:lnTo>
                  <a:lnTo>
                    <a:pt x="3005" y="84"/>
                  </a:lnTo>
                  <a:lnTo>
                    <a:pt x="2991" y="91"/>
                  </a:lnTo>
                  <a:lnTo>
                    <a:pt x="2977" y="98"/>
                  </a:lnTo>
                  <a:lnTo>
                    <a:pt x="2950" y="114"/>
                  </a:lnTo>
                  <a:lnTo>
                    <a:pt x="2937" y="123"/>
                  </a:lnTo>
                  <a:lnTo>
                    <a:pt x="2924" y="132"/>
                  </a:lnTo>
                  <a:lnTo>
                    <a:pt x="2911" y="141"/>
                  </a:lnTo>
                  <a:lnTo>
                    <a:pt x="2898" y="150"/>
                  </a:lnTo>
                  <a:lnTo>
                    <a:pt x="2885" y="160"/>
                  </a:lnTo>
                  <a:lnTo>
                    <a:pt x="2873" y="171"/>
                  </a:lnTo>
                  <a:lnTo>
                    <a:pt x="2848" y="193"/>
                  </a:lnTo>
                  <a:lnTo>
                    <a:pt x="2836" y="205"/>
                  </a:lnTo>
                  <a:lnTo>
                    <a:pt x="2824" y="217"/>
                  </a:lnTo>
                  <a:lnTo>
                    <a:pt x="2800" y="242"/>
                  </a:lnTo>
                  <a:lnTo>
                    <a:pt x="2783" y="261"/>
                  </a:lnTo>
                  <a:lnTo>
                    <a:pt x="2767" y="281"/>
                  </a:lnTo>
                  <a:lnTo>
                    <a:pt x="2751" y="302"/>
                  </a:lnTo>
                  <a:lnTo>
                    <a:pt x="2737" y="322"/>
                  </a:lnTo>
                  <a:lnTo>
                    <a:pt x="2722" y="343"/>
                  </a:lnTo>
                  <a:lnTo>
                    <a:pt x="2709" y="364"/>
                  </a:lnTo>
                  <a:lnTo>
                    <a:pt x="2696" y="386"/>
                  </a:lnTo>
                  <a:lnTo>
                    <a:pt x="2685" y="408"/>
                  </a:lnTo>
                  <a:lnTo>
                    <a:pt x="2674" y="430"/>
                  </a:lnTo>
                  <a:lnTo>
                    <a:pt x="2664" y="453"/>
                  </a:lnTo>
                  <a:lnTo>
                    <a:pt x="2655" y="476"/>
                  </a:lnTo>
                  <a:lnTo>
                    <a:pt x="2647" y="499"/>
                  </a:lnTo>
                  <a:lnTo>
                    <a:pt x="2643" y="511"/>
                  </a:lnTo>
                  <a:lnTo>
                    <a:pt x="2639" y="523"/>
                  </a:lnTo>
                  <a:lnTo>
                    <a:pt x="2632" y="547"/>
                  </a:lnTo>
                  <a:lnTo>
                    <a:pt x="2627" y="571"/>
                  </a:lnTo>
                  <a:lnTo>
                    <a:pt x="2621" y="596"/>
                  </a:lnTo>
                  <a:lnTo>
                    <a:pt x="2618" y="608"/>
                  </a:lnTo>
                  <a:lnTo>
                    <a:pt x="2612" y="625"/>
                  </a:lnTo>
                  <a:lnTo>
                    <a:pt x="2604" y="645"/>
                  </a:lnTo>
                  <a:lnTo>
                    <a:pt x="2600" y="656"/>
                  </a:lnTo>
                  <a:lnTo>
                    <a:pt x="2594" y="667"/>
                  </a:lnTo>
                  <a:lnTo>
                    <a:pt x="2588" y="678"/>
                  </a:lnTo>
                  <a:lnTo>
                    <a:pt x="2582" y="690"/>
                  </a:lnTo>
                  <a:lnTo>
                    <a:pt x="2575" y="701"/>
                  </a:lnTo>
                  <a:lnTo>
                    <a:pt x="2567" y="712"/>
                  </a:lnTo>
                  <a:lnTo>
                    <a:pt x="2558" y="723"/>
                  </a:lnTo>
                  <a:lnTo>
                    <a:pt x="2549" y="734"/>
                  </a:lnTo>
                  <a:lnTo>
                    <a:pt x="2544" y="739"/>
                  </a:lnTo>
                  <a:lnTo>
                    <a:pt x="2539" y="743"/>
                  </a:lnTo>
                  <a:lnTo>
                    <a:pt x="2529" y="752"/>
                  </a:lnTo>
                  <a:lnTo>
                    <a:pt x="2525" y="755"/>
                  </a:lnTo>
                  <a:lnTo>
                    <a:pt x="2522" y="757"/>
                  </a:lnTo>
                  <a:lnTo>
                    <a:pt x="2520" y="758"/>
                  </a:lnTo>
                  <a:lnTo>
                    <a:pt x="2517" y="759"/>
                  </a:lnTo>
                  <a:lnTo>
                    <a:pt x="2515" y="759"/>
                  </a:lnTo>
                  <a:lnTo>
                    <a:pt x="2513" y="759"/>
                  </a:lnTo>
                  <a:lnTo>
                    <a:pt x="2512" y="759"/>
                  </a:lnTo>
                  <a:lnTo>
                    <a:pt x="2510" y="758"/>
                  </a:lnTo>
                  <a:lnTo>
                    <a:pt x="2508" y="756"/>
                  </a:lnTo>
                  <a:lnTo>
                    <a:pt x="2507" y="754"/>
                  </a:lnTo>
                  <a:lnTo>
                    <a:pt x="2506" y="751"/>
                  </a:lnTo>
                  <a:lnTo>
                    <a:pt x="2506" y="748"/>
                  </a:lnTo>
                  <a:lnTo>
                    <a:pt x="2505" y="738"/>
                  </a:lnTo>
                  <a:lnTo>
                    <a:pt x="2506" y="729"/>
                  </a:lnTo>
                  <a:lnTo>
                    <a:pt x="2509" y="711"/>
                  </a:lnTo>
                  <a:lnTo>
                    <a:pt x="2516" y="658"/>
                  </a:lnTo>
                  <a:lnTo>
                    <a:pt x="2537" y="508"/>
                  </a:lnTo>
                  <a:lnTo>
                    <a:pt x="2566" y="300"/>
                  </a:lnTo>
                  <a:lnTo>
                    <a:pt x="2569" y="283"/>
                  </a:lnTo>
                  <a:lnTo>
                    <a:pt x="2571" y="266"/>
                  </a:lnTo>
                  <a:lnTo>
                    <a:pt x="2574" y="234"/>
                  </a:lnTo>
                  <a:lnTo>
                    <a:pt x="2576" y="218"/>
                  </a:lnTo>
                  <a:lnTo>
                    <a:pt x="2576" y="204"/>
                  </a:lnTo>
                  <a:lnTo>
                    <a:pt x="2577" y="176"/>
                  </a:lnTo>
                  <a:lnTo>
                    <a:pt x="2577" y="163"/>
                  </a:lnTo>
                  <a:lnTo>
                    <a:pt x="2576" y="150"/>
                  </a:lnTo>
                  <a:lnTo>
                    <a:pt x="2575" y="138"/>
                  </a:lnTo>
                  <a:lnTo>
                    <a:pt x="2573" y="127"/>
                  </a:lnTo>
                  <a:lnTo>
                    <a:pt x="2571" y="117"/>
                  </a:lnTo>
                  <a:lnTo>
                    <a:pt x="2568" y="107"/>
                  </a:lnTo>
                  <a:lnTo>
                    <a:pt x="2565" y="98"/>
                  </a:lnTo>
                  <a:lnTo>
                    <a:pt x="2562" y="89"/>
                  </a:lnTo>
                  <a:lnTo>
                    <a:pt x="2558" y="81"/>
                  </a:lnTo>
                  <a:lnTo>
                    <a:pt x="2554" y="74"/>
                  </a:lnTo>
                  <a:lnTo>
                    <a:pt x="2551" y="70"/>
                  </a:lnTo>
                  <a:lnTo>
                    <a:pt x="2549" y="67"/>
                  </a:lnTo>
                  <a:lnTo>
                    <a:pt x="2545" y="60"/>
                  </a:lnTo>
                  <a:lnTo>
                    <a:pt x="2540" y="55"/>
                  </a:lnTo>
                  <a:lnTo>
                    <a:pt x="2535" y="49"/>
                  </a:lnTo>
                  <a:lnTo>
                    <a:pt x="2529" y="44"/>
                  </a:lnTo>
                  <a:lnTo>
                    <a:pt x="2524" y="40"/>
                  </a:lnTo>
                  <a:lnTo>
                    <a:pt x="2513" y="33"/>
                  </a:lnTo>
                  <a:lnTo>
                    <a:pt x="2507" y="29"/>
                  </a:lnTo>
                  <a:lnTo>
                    <a:pt x="2502" y="27"/>
                  </a:lnTo>
                  <a:lnTo>
                    <a:pt x="2490" y="22"/>
                  </a:lnTo>
                  <a:lnTo>
                    <a:pt x="2479" y="19"/>
                  </a:lnTo>
                  <a:lnTo>
                    <a:pt x="2468" y="16"/>
                  </a:lnTo>
                  <a:lnTo>
                    <a:pt x="2458" y="15"/>
                  </a:lnTo>
                  <a:lnTo>
                    <a:pt x="2448" y="14"/>
                  </a:lnTo>
                  <a:lnTo>
                    <a:pt x="2440" y="14"/>
                  </a:lnTo>
                  <a:lnTo>
                    <a:pt x="2426" y="14"/>
                  </a:lnTo>
                  <a:lnTo>
                    <a:pt x="2412" y="16"/>
                  </a:lnTo>
                  <a:lnTo>
                    <a:pt x="2398" y="18"/>
                  </a:lnTo>
                  <a:lnTo>
                    <a:pt x="2384" y="22"/>
                  </a:lnTo>
                  <a:lnTo>
                    <a:pt x="2370" y="26"/>
                  </a:lnTo>
                  <a:lnTo>
                    <a:pt x="2355" y="32"/>
                  </a:lnTo>
                  <a:lnTo>
                    <a:pt x="2340" y="38"/>
                  </a:lnTo>
                  <a:lnTo>
                    <a:pt x="2326" y="46"/>
                  </a:lnTo>
                  <a:lnTo>
                    <a:pt x="2311" y="54"/>
                  </a:lnTo>
                  <a:lnTo>
                    <a:pt x="2296" y="64"/>
                  </a:lnTo>
                  <a:lnTo>
                    <a:pt x="2280" y="74"/>
                  </a:lnTo>
                  <a:lnTo>
                    <a:pt x="2265" y="86"/>
                  </a:lnTo>
                  <a:lnTo>
                    <a:pt x="2249" y="98"/>
                  </a:lnTo>
                  <a:lnTo>
                    <a:pt x="2234" y="112"/>
                  </a:lnTo>
                  <a:lnTo>
                    <a:pt x="2218" y="126"/>
                  </a:lnTo>
                  <a:lnTo>
                    <a:pt x="2202" y="142"/>
                  </a:lnTo>
                  <a:lnTo>
                    <a:pt x="2189" y="155"/>
                  </a:lnTo>
                  <a:lnTo>
                    <a:pt x="2177" y="168"/>
                  </a:lnTo>
                  <a:lnTo>
                    <a:pt x="2165" y="181"/>
                  </a:lnTo>
                  <a:lnTo>
                    <a:pt x="2153" y="195"/>
                  </a:lnTo>
                  <a:lnTo>
                    <a:pt x="2130" y="224"/>
                  </a:lnTo>
                  <a:lnTo>
                    <a:pt x="2108" y="253"/>
                  </a:lnTo>
                  <a:lnTo>
                    <a:pt x="2113" y="182"/>
                  </a:lnTo>
                  <a:lnTo>
                    <a:pt x="2113" y="168"/>
                  </a:lnTo>
                  <a:lnTo>
                    <a:pt x="2112" y="155"/>
                  </a:lnTo>
                  <a:lnTo>
                    <a:pt x="2111" y="143"/>
                  </a:lnTo>
                  <a:lnTo>
                    <a:pt x="2109" y="131"/>
                  </a:lnTo>
                  <a:lnTo>
                    <a:pt x="2107" y="120"/>
                  </a:lnTo>
                  <a:lnTo>
                    <a:pt x="2105" y="110"/>
                  </a:lnTo>
                  <a:lnTo>
                    <a:pt x="2102" y="101"/>
                  </a:lnTo>
                  <a:lnTo>
                    <a:pt x="2098" y="92"/>
                  </a:lnTo>
                  <a:lnTo>
                    <a:pt x="2095" y="83"/>
                  </a:lnTo>
                  <a:lnTo>
                    <a:pt x="2091" y="76"/>
                  </a:lnTo>
                  <a:lnTo>
                    <a:pt x="2087" y="69"/>
                  </a:lnTo>
                  <a:lnTo>
                    <a:pt x="2082" y="62"/>
                  </a:lnTo>
                  <a:lnTo>
                    <a:pt x="2078" y="56"/>
                  </a:lnTo>
                  <a:lnTo>
                    <a:pt x="2073" y="51"/>
                  </a:lnTo>
                  <a:lnTo>
                    <a:pt x="2068" y="46"/>
                  </a:lnTo>
                  <a:lnTo>
                    <a:pt x="2062" y="41"/>
                  </a:lnTo>
                  <a:lnTo>
                    <a:pt x="2057" y="37"/>
                  </a:lnTo>
                  <a:lnTo>
                    <a:pt x="2052" y="33"/>
                  </a:lnTo>
                  <a:lnTo>
                    <a:pt x="2041" y="27"/>
                  </a:lnTo>
                  <a:lnTo>
                    <a:pt x="2035" y="24"/>
                  </a:lnTo>
                  <a:lnTo>
                    <a:pt x="2030" y="22"/>
                  </a:lnTo>
                  <a:lnTo>
                    <a:pt x="2019" y="19"/>
                  </a:lnTo>
                  <a:lnTo>
                    <a:pt x="2009" y="16"/>
                  </a:lnTo>
                  <a:lnTo>
                    <a:pt x="1999" y="15"/>
                  </a:lnTo>
                  <a:lnTo>
                    <a:pt x="1990" y="14"/>
                  </a:lnTo>
                  <a:lnTo>
                    <a:pt x="1982" y="14"/>
                  </a:lnTo>
                  <a:lnTo>
                    <a:pt x="1962" y="15"/>
                  </a:lnTo>
                  <a:lnTo>
                    <a:pt x="1952" y="16"/>
                  </a:lnTo>
                  <a:lnTo>
                    <a:pt x="1941" y="17"/>
                  </a:lnTo>
                  <a:lnTo>
                    <a:pt x="1931" y="19"/>
                  </a:lnTo>
                  <a:lnTo>
                    <a:pt x="1921" y="22"/>
                  </a:lnTo>
                  <a:lnTo>
                    <a:pt x="1901" y="28"/>
                  </a:lnTo>
                  <a:lnTo>
                    <a:pt x="1891" y="31"/>
                  </a:lnTo>
                  <a:lnTo>
                    <a:pt x="1880" y="36"/>
                  </a:lnTo>
                  <a:lnTo>
                    <a:pt x="1870" y="40"/>
                  </a:lnTo>
                  <a:lnTo>
                    <a:pt x="1860" y="45"/>
                  </a:lnTo>
                  <a:lnTo>
                    <a:pt x="1839" y="57"/>
                  </a:lnTo>
                  <a:lnTo>
                    <a:pt x="1819" y="70"/>
                  </a:lnTo>
                  <a:lnTo>
                    <a:pt x="1798" y="85"/>
                  </a:lnTo>
                  <a:lnTo>
                    <a:pt x="1778" y="101"/>
                  </a:lnTo>
                  <a:lnTo>
                    <a:pt x="1767" y="110"/>
                  </a:lnTo>
                  <a:lnTo>
                    <a:pt x="1757" y="119"/>
                  </a:lnTo>
                  <a:lnTo>
                    <a:pt x="1746" y="129"/>
                  </a:lnTo>
                  <a:lnTo>
                    <a:pt x="1736" y="140"/>
                  </a:lnTo>
                  <a:lnTo>
                    <a:pt x="1715" y="161"/>
                  </a:lnTo>
                  <a:lnTo>
                    <a:pt x="1694" y="185"/>
                  </a:lnTo>
                  <a:lnTo>
                    <a:pt x="1673" y="210"/>
                  </a:lnTo>
                  <a:lnTo>
                    <a:pt x="1662" y="224"/>
                  </a:lnTo>
                  <a:lnTo>
                    <a:pt x="1651" y="238"/>
                  </a:lnTo>
                  <a:lnTo>
                    <a:pt x="1652" y="232"/>
                  </a:lnTo>
                  <a:lnTo>
                    <a:pt x="1657" y="160"/>
                  </a:lnTo>
                  <a:lnTo>
                    <a:pt x="1656" y="148"/>
                  </a:lnTo>
                  <a:lnTo>
                    <a:pt x="1656" y="136"/>
                  </a:lnTo>
                  <a:lnTo>
                    <a:pt x="1654" y="125"/>
                  </a:lnTo>
                  <a:lnTo>
                    <a:pt x="1653" y="115"/>
                  </a:lnTo>
                  <a:lnTo>
                    <a:pt x="1650" y="105"/>
                  </a:lnTo>
                  <a:lnTo>
                    <a:pt x="1648" y="96"/>
                  </a:lnTo>
                  <a:lnTo>
                    <a:pt x="1645" y="88"/>
                  </a:lnTo>
                  <a:lnTo>
                    <a:pt x="1641" y="80"/>
                  </a:lnTo>
                  <a:lnTo>
                    <a:pt x="1638" y="73"/>
                  </a:lnTo>
                  <a:lnTo>
                    <a:pt x="1634" y="66"/>
                  </a:lnTo>
                  <a:lnTo>
                    <a:pt x="1629" y="60"/>
                  </a:lnTo>
                  <a:lnTo>
                    <a:pt x="1625" y="55"/>
                  </a:lnTo>
                  <a:lnTo>
                    <a:pt x="1620" y="49"/>
                  </a:lnTo>
                  <a:lnTo>
                    <a:pt x="1615" y="45"/>
                  </a:lnTo>
                  <a:lnTo>
                    <a:pt x="1610" y="41"/>
                  </a:lnTo>
                  <a:lnTo>
                    <a:pt x="1605" y="37"/>
                  </a:lnTo>
                  <a:lnTo>
                    <a:pt x="1600" y="33"/>
                  </a:lnTo>
                  <a:lnTo>
                    <a:pt x="1595" y="30"/>
                  </a:lnTo>
                  <a:lnTo>
                    <a:pt x="1589" y="28"/>
                  </a:lnTo>
                  <a:lnTo>
                    <a:pt x="1584" y="25"/>
                  </a:lnTo>
                  <a:lnTo>
                    <a:pt x="1574" y="22"/>
                  </a:lnTo>
                  <a:lnTo>
                    <a:pt x="1568" y="20"/>
                  </a:lnTo>
                  <a:lnTo>
                    <a:pt x="1563" y="19"/>
                  </a:lnTo>
                  <a:lnTo>
                    <a:pt x="1554" y="17"/>
                  </a:lnTo>
                  <a:lnTo>
                    <a:pt x="1545" y="17"/>
                  </a:lnTo>
                  <a:lnTo>
                    <a:pt x="1531" y="16"/>
                  </a:lnTo>
                  <a:lnTo>
                    <a:pt x="1526" y="17"/>
                  </a:lnTo>
                  <a:lnTo>
                    <a:pt x="1520" y="19"/>
                  </a:lnTo>
                  <a:lnTo>
                    <a:pt x="1514" y="21"/>
                  </a:lnTo>
                  <a:lnTo>
                    <a:pt x="1507" y="24"/>
                  </a:lnTo>
                  <a:lnTo>
                    <a:pt x="1500" y="27"/>
                  </a:lnTo>
                  <a:lnTo>
                    <a:pt x="1492" y="31"/>
                  </a:lnTo>
                  <a:lnTo>
                    <a:pt x="1475" y="41"/>
                  </a:lnTo>
                  <a:lnTo>
                    <a:pt x="1466" y="47"/>
                  </a:lnTo>
                  <a:lnTo>
                    <a:pt x="1456" y="53"/>
                  </a:lnTo>
                  <a:lnTo>
                    <a:pt x="1447" y="60"/>
                  </a:lnTo>
                  <a:lnTo>
                    <a:pt x="1436" y="67"/>
                  </a:lnTo>
                  <a:lnTo>
                    <a:pt x="1416" y="83"/>
                  </a:lnTo>
                  <a:lnTo>
                    <a:pt x="1394" y="100"/>
                  </a:lnTo>
                  <a:lnTo>
                    <a:pt x="1372" y="118"/>
                  </a:lnTo>
                  <a:lnTo>
                    <a:pt x="1349" y="137"/>
                  </a:lnTo>
                  <a:lnTo>
                    <a:pt x="1305" y="177"/>
                  </a:lnTo>
                  <a:lnTo>
                    <a:pt x="1282" y="197"/>
                  </a:lnTo>
                  <a:lnTo>
                    <a:pt x="1261" y="217"/>
                  </a:lnTo>
                  <a:lnTo>
                    <a:pt x="1241" y="236"/>
                  </a:lnTo>
                  <a:lnTo>
                    <a:pt x="1222" y="255"/>
                  </a:lnTo>
                  <a:lnTo>
                    <a:pt x="1239" y="130"/>
                  </a:lnTo>
                  <a:lnTo>
                    <a:pt x="1240" y="123"/>
                  </a:lnTo>
                  <a:lnTo>
                    <a:pt x="1241" y="117"/>
                  </a:lnTo>
                  <a:lnTo>
                    <a:pt x="1241" y="111"/>
                  </a:lnTo>
                  <a:lnTo>
                    <a:pt x="1241" y="105"/>
                  </a:lnTo>
                  <a:lnTo>
                    <a:pt x="1241" y="99"/>
                  </a:lnTo>
                  <a:lnTo>
                    <a:pt x="1240" y="94"/>
                  </a:lnTo>
                  <a:lnTo>
                    <a:pt x="1239" y="89"/>
                  </a:lnTo>
                  <a:lnTo>
                    <a:pt x="1237" y="84"/>
                  </a:lnTo>
                  <a:lnTo>
                    <a:pt x="1235" y="79"/>
                  </a:lnTo>
                  <a:lnTo>
                    <a:pt x="1233" y="75"/>
                  </a:lnTo>
                  <a:lnTo>
                    <a:pt x="1230" y="70"/>
                  </a:lnTo>
                  <a:lnTo>
                    <a:pt x="1226" y="66"/>
                  </a:lnTo>
                  <a:lnTo>
                    <a:pt x="1223" y="62"/>
                  </a:lnTo>
                  <a:lnTo>
                    <a:pt x="1218" y="59"/>
                  </a:lnTo>
                  <a:lnTo>
                    <a:pt x="1213" y="55"/>
                  </a:lnTo>
                  <a:lnTo>
                    <a:pt x="1208" y="52"/>
                  </a:lnTo>
                  <a:lnTo>
                    <a:pt x="1196" y="47"/>
                  </a:lnTo>
                  <a:lnTo>
                    <a:pt x="1190" y="44"/>
                  </a:lnTo>
                  <a:lnTo>
                    <a:pt x="1182" y="42"/>
                  </a:lnTo>
                  <a:lnTo>
                    <a:pt x="1166" y="38"/>
                  </a:lnTo>
                  <a:lnTo>
                    <a:pt x="1148" y="35"/>
                  </a:lnTo>
                  <a:lnTo>
                    <a:pt x="1128" y="32"/>
                  </a:lnTo>
                  <a:lnTo>
                    <a:pt x="1117" y="31"/>
                  </a:lnTo>
                  <a:lnTo>
                    <a:pt x="1105" y="31"/>
                  </a:lnTo>
                  <a:lnTo>
                    <a:pt x="1093" y="30"/>
                  </a:lnTo>
                  <a:lnTo>
                    <a:pt x="1080" y="30"/>
                  </a:lnTo>
                  <a:lnTo>
                    <a:pt x="1052" y="30"/>
                  </a:lnTo>
                  <a:lnTo>
                    <a:pt x="1036" y="30"/>
                  </a:lnTo>
                  <a:lnTo>
                    <a:pt x="1019" y="31"/>
                  </a:lnTo>
                  <a:lnTo>
                    <a:pt x="1003" y="32"/>
                  </a:lnTo>
                  <a:lnTo>
                    <a:pt x="987" y="33"/>
                  </a:lnTo>
                  <a:lnTo>
                    <a:pt x="971" y="35"/>
                  </a:lnTo>
                  <a:lnTo>
                    <a:pt x="955" y="38"/>
                  </a:lnTo>
                  <a:lnTo>
                    <a:pt x="923" y="44"/>
                  </a:lnTo>
                  <a:lnTo>
                    <a:pt x="908" y="47"/>
                  </a:lnTo>
                  <a:lnTo>
                    <a:pt x="892" y="51"/>
                  </a:lnTo>
                  <a:lnTo>
                    <a:pt x="877" y="55"/>
                  </a:lnTo>
                  <a:lnTo>
                    <a:pt x="862" y="60"/>
                  </a:lnTo>
                  <a:lnTo>
                    <a:pt x="847" y="65"/>
                  </a:lnTo>
                  <a:lnTo>
                    <a:pt x="832" y="71"/>
                  </a:lnTo>
                  <a:lnTo>
                    <a:pt x="817" y="77"/>
                  </a:lnTo>
                  <a:lnTo>
                    <a:pt x="802" y="83"/>
                  </a:lnTo>
                  <a:lnTo>
                    <a:pt x="788" y="90"/>
                  </a:lnTo>
                  <a:lnTo>
                    <a:pt x="773" y="97"/>
                  </a:lnTo>
                  <a:lnTo>
                    <a:pt x="759" y="105"/>
                  </a:lnTo>
                  <a:lnTo>
                    <a:pt x="745" y="113"/>
                  </a:lnTo>
                  <a:lnTo>
                    <a:pt x="731" y="121"/>
                  </a:lnTo>
                  <a:lnTo>
                    <a:pt x="717" y="130"/>
                  </a:lnTo>
                  <a:lnTo>
                    <a:pt x="703" y="139"/>
                  </a:lnTo>
                  <a:lnTo>
                    <a:pt x="690" y="149"/>
                  </a:lnTo>
                  <a:lnTo>
                    <a:pt x="676" y="159"/>
                  </a:lnTo>
                  <a:lnTo>
                    <a:pt x="663" y="170"/>
                  </a:lnTo>
                  <a:lnTo>
                    <a:pt x="637" y="192"/>
                  </a:lnTo>
                  <a:lnTo>
                    <a:pt x="624" y="204"/>
                  </a:lnTo>
                  <a:lnTo>
                    <a:pt x="611" y="216"/>
                  </a:lnTo>
                  <a:lnTo>
                    <a:pt x="598" y="228"/>
                  </a:lnTo>
                  <a:lnTo>
                    <a:pt x="586" y="241"/>
                  </a:lnTo>
                  <a:lnTo>
                    <a:pt x="570" y="259"/>
                  </a:lnTo>
                  <a:lnTo>
                    <a:pt x="555" y="277"/>
                  </a:lnTo>
                  <a:lnTo>
                    <a:pt x="540" y="295"/>
                  </a:lnTo>
                  <a:lnTo>
                    <a:pt x="526" y="314"/>
                  </a:lnTo>
                  <a:lnTo>
                    <a:pt x="512" y="332"/>
                  </a:lnTo>
                  <a:lnTo>
                    <a:pt x="500" y="351"/>
                  </a:lnTo>
                  <a:lnTo>
                    <a:pt x="488" y="371"/>
                  </a:lnTo>
                  <a:lnTo>
                    <a:pt x="476" y="390"/>
                  </a:lnTo>
                  <a:lnTo>
                    <a:pt x="465" y="410"/>
                  </a:lnTo>
                  <a:lnTo>
                    <a:pt x="455" y="430"/>
                  </a:lnTo>
                  <a:lnTo>
                    <a:pt x="446" y="451"/>
                  </a:lnTo>
                  <a:lnTo>
                    <a:pt x="437" y="471"/>
                  </a:lnTo>
                  <a:lnTo>
                    <a:pt x="429" y="492"/>
                  </a:lnTo>
                  <a:lnTo>
                    <a:pt x="421" y="513"/>
                  </a:lnTo>
                  <a:lnTo>
                    <a:pt x="418" y="524"/>
                  </a:lnTo>
                  <a:lnTo>
                    <a:pt x="415" y="535"/>
                  </a:lnTo>
                  <a:lnTo>
                    <a:pt x="408" y="557"/>
                  </a:lnTo>
                  <a:lnTo>
                    <a:pt x="397" y="580"/>
                  </a:lnTo>
                  <a:lnTo>
                    <a:pt x="383" y="606"/>
                  </a:lnTo>
                  <a:lnTo>
                    <a:pt x="375" y="619"/>
                  </a:lnTo>
                  <a:lnTo>
                    <a:pt x="367" y="632"/>
                  </a:lnTo>
                  <a:lnTo>
                    <a:pt x="358" y="645"/>
                  </a:lnTo>
                  <a:lnTo>
                    <a:pt x="349" y="658"/>
                  </a:lnTo>
                  <a:lnTo>
                    <a:pt x="340" y="670"/>
                  </a:lnTo>
                  <a:lnTo>
                    <a:pt x="329" y="683"/>
                  </a:lnTo>
                  <a:lnTo>
                    <a:pt x="319" y="694"/>
                  </a:lnTo>
                  <a:lnTo>
                    <a:pt x="313" y="700"/>
                  </a:lnTo>
                  <a:lnTo>
                    <a:pt x="308" y="705"/>
                  </a:lnTo>
                  <a:lnTo>
                    <a:pt x="296" y="716"/>
                  </a:lnTo>
                  <a:lnTo>
                    <a:pt x="284" y="725"/>
                  </a:lnTo>
                  <a:lnTo>
                    <a:pt x="278" y="730"/>
                  </a:lnTo>
                  <a:lnTo>
                    <a:pt x="271" y="734"/>
                  </a:lnTo>
                  <a:lnTo>
                    <a:pt x="265" y="738"/>
                  </a:lnTo>
                  <a:lnTo>
                    <a:pt x="258" y="741"/>
                  </a:lnTo>
                  <a:lnTo>
                    <a:pt x="255" y="743"/>
                  </a:lnTo>
                  <a:lnTo>
                    <a:pt x="251" y="743"/>
                  </a:lnTo>
                  <a:lnTo>
                    <a:pt x="248" y="743"/>
                  </a:lnTo>
                  <a:lnTo>
                    <a:pt x="246" y="742"/>
                  </a:lnTo>
                  <a:lnTo>
                    <a:pt x="244" y="741"/>
                  </a:lnTo>
                  <a:lnTo>
                    <a:pt x="242" y="740"/>
                  </a:lnTo>
                  <a:lnTo>
                    <a:pt x="241" y="738"/>
                  </a:lnTo>
                  <a:lnTo>
                    <a:pt x="240" y="736"/>
                  </a:lnTo>
                  <a:lnTo>
                    <a:pt x="239" y="733"/>
                  </a:lnTo>
                  <a:lnTo>
                    <a:pt x="238" y="729"/>
                  </a:lnTo>
                  <a:lnTo>
                    <a:pt x="238" y="725"/>
                  </a:lnTo>
                  <a:lnTo>
                    <a:pt x="238" y="719"/>
                  </a:lnTo>
                  <a:lnTo>
                    <a:pt x="239" y="714"/>
                  </a:lnTo>
                  <a:lnTo>
                    <a:pt x="259" y="575"/>
                  </a:lnTo>
                  <a:lnTo>
                    <a:pt x="286" y="391"/>
                  </a:lnTo>
                  <a:lnTo>
                    <a:pt x="298" y="301"/>
                  </a:lnTo>
                  <a:lnTo>
                    <a:pt x="303" y="259"/>
                  </a:lnTo>
                  <a:lnTo>
                    <a:pt x="307" y="221"/>
                  </a:lnTo>
                  <a:lnTo>
                    <a:pt x="311" y="188"/>
                  </a:lnTo>
                  <a:lnTo>
                    <a:pt x="313" y="161"/>
                  </a:lnTo>
                  <a:lnTo>
                    <a:pt x="314" y="149"/>
                  </a:lnTo>
                  <a:lnTo>
                    <a:pt x="314" y="140"/>
                  </a:lnTo>
                  <a:lnTo>
                    <a:pt x="314" y="132"/>
                  </a:lnTo>
                  <a:lnTo>
                    <a:pt x="314" y="127"/>
                  </a:lnTo>
                  <a:lnTo>
                    <a:pt x="312" y="114"/>
                  </a:lnTo>
                  <a:lnTo>
                    <a:pt x="310" y="98"/>
                  </a:lnTo>
                  <a:lnTo>
                    <a:pt x="305" y="79"/>
                  </a:lnTo>
                  <a:lnTo>
                    <a:pt x="302" y="69"/>
                  </a:lnTo>
                  <a:lnTo>
                    <a:pt x="300" y="65"/>
                  </a:lnTo>
                  <a:lnTo>
                    <a:pt x="298" y="60"/>
                  </a:lnTo>
                  <a:lnTo>
                    <a:pt x="293" y="50"/>
                  </a:lnTo>
                  <a:lnTo>
                    <a:pt x="287" y="41"/>
                  </a:lnTo>
                  <a:lnTo>
                    <a:pt x="283" y="37"/>
                  </a:lnTo>
                  <a:lnTo>
                    <a:pt x="279" y="32"/>
                  </a:lnTo>
                  <a:lnTo>
                    <a:pt x="275" y="28"/>
                  </a:lnTo>
                  <a:lnTo>
                    <a:pt x="271" y="24"/>
                  </a:lnTo>
                  <a:lnTo>
                    <a:pt x="266" y="21"/>
                  </a:lnTo>
                  <a:lnTo>
                    <a:pt x="261" y="17"/>
                  </a:lnTo>
                  <a:lnTo>
                    <a:pt x="256" y="14"/>
                  </a:lnTo>
                  <a:lnTo>
                    <a:pt x="250" y="11"/>
                  </a:lnTo>
                  <a:lnTo>
                    <a:pt x="243" y="9"/>
                  </a:lnTo>
                  <a:lnTo>
                    <a:pt x="237" y="6"/>
                  </a:lnTo>
                  <a:lnTo>
                    <a:pt x="230" y="4"/>
                  </a:lnTo>
                  <a:lnTo>
                    <a:pt x="222" y="3"/>
                  </a:lnTo>
                  <a:lnTo>
                    <a:pt x="212" y="1"/>
                  </a:lnTo>
                  <a:lnTo>
                    <a:pt x="203" y="1"/>
                  </a:lnTo>
                  <a:lnTo>
                    <a:pt x="193" y="0"/>
                  </a:lnTo>
                  <a:lnTo>
                    <a:pt x="184" y="1"/>
                  </a:lnTo>
                  <a:lnTo>
                    <a:pt x="175" y="2"/>
                  </a:lnTo>
                  <a:lnTo>
                    <a:pt x="167" y="3"/>
                  </a:lnTo>
                  <a:lnTo>
                    <a:pt x="159" y="5"/>
                  </a:lnTo>
                  <a:lnTo>
                    <a:pt x="151" y="7"/>
                  </a:lnTo>
                  <a:lnTo>
                    <a:pt x="137" y="12"/>
                  </a:lnTo>
                  <a:lnTo>
                    <a:pt x="130" y="15"/>
                  </a:lnTo>
                  <a:lnTo>
                    <a:pt x="124" y="18"/>
                  </a:lnTo>
                  <a:lnTo>
                    <a:pt x="118" y="21"/>
                  </a:lnTo>
                  <a:lnTo>
                    <a:pt x="113" y="24"/>
                  </a:lnTo>
                  <a:lnTo>
                    <a:pt x="105" y="30"/>
                  </a:lnTo>
                  <a:lnTo>
                    <a:pt x="105" y="35"/>
                  </a:lnTo>
                  <a:lnTo>
                    <a:pt x="105" y="44"/>
                  </a:lnTo>
                  <a:lnTo>
                    <a:pt x="103" y="72"/>
                  </a:lnTo>
                  <a:lnTo>
                    <a:pt x="99" y="113"/>
                  </a:lnTo>
                  <a:lnTo>
                    <a:pt x="93" y="165"/>
                  </a:lnTo>
                  <a:lnTo>
                    <a:pt x="76" y="293"/>
                  </a:lnTo>
                  <a:lnTo>
                    <a:pt x="56" y="439"/>
                  </a:lnTo>
                  <a:lnTo>
                    <a:pt x="18" y="710"/>
                  </a:lnTo>
                  <a:lnTo>
                    <a:pt x="5" y="801"/>
                  </a:lnTo>
                  <a:lnTo>
                    <a:pt x="1" y="829"/>
                  </a:lnTo>
                  <a:lnTo>
                    <a:pt x="0" y="840"/>
                  </a:lnTo>
                  <a:lnTo>
                    <a:pt x="0" y="852"/>
                  </a:lnTo>
                  <a:lnTo>
                    <a:pt x="1" y="862"/>
                  </a:lnTo>
                  <a:lnTo>
                    <a:pt x="2" y="872"/>
                  </a:lnTo>
                  <a:lnTo>
                    <a:pt x="4" y="882"/>
                  </a:lnTo>
                  <a:lnTo>
                    <a:pt x="6" y="891"/>
                  </a:lnTo>
                  <a:lnTo>
                    <a:pt x="8" y="899"/>
                  </a:lnTo>
                  <a:lnTo>
                    <a:pt x="14" y="914"/>
                  </a:lnTo>
                  <a:lnTo>
                    <a:pt x="17" y="921"/>
                  </a:lnTo>
                  <a:lnTo>
                    <a:pt x="21" y="927"/>
                  </a:lnTo>
                  <a:lnTo>
                    <a:pt x="25" y="933"/>
                  </a:lnTo>
                  <a:lnTo>
                    <a:pt x="29" y="938"/>
                  </a:lnTo>
                  <a:lnTo>
                    <a:pt x="33" y="943"/>
                  </a:lnTo>
                  <a:lnTo>
                    <a:pt x="37" y="947"/>
                  </a:lnTo>
                  <a:lnTo>
                    <a:pt x="42" y="951"/>
                  </a:lnTo>
                  <a:lnTo>
                    <a:pt x="47" y="955"/>
                  </a:lnTo>
                  <a:lnTo>
                    <a:pt x="56" y="961"/>
                  </a:lnTo>
                  <a:lnTo>
                    <a:pt x="66" y="965"/>
                  </a:lnTo>
                  <a:lnTo>
                    <a:pt x="71" y="967"/>
                  </a:lnTo>
                  <a:lnTo>
                    <a:pt x="75" y="969"/>
                  </a:lnTo>
                  <a:lnTo>
                    <a:pt x="80" y="970"/>
                  </a:lnTo>
                  <a:lnTo>
                    <a:pt x="84" y="972"/>
                  </a:lnTo>
                  <a:lnTo>
                    <a:pt x="93" y="973"/>
                  </a:lnTo>
                  <a:lnTo>
                    <a:pt x="101" y="974"/>
                  </a:lnTo>
                  <a:lnTo>
                    <a:pt x="113" y="975"/>
                  </a:lnTo>
                  <a:lnTo>
                    <a:pt x="128" y="974"/>
                  </a:lnTo>
                  <a:lnTo>
                    <a:pt x="142" y="973"/>
                  </a:lnTo>
                  <a:lnTo>
                    <a:pt x="156" y="970"/>
                  </a:lnTo>
                  <a:lnTo>
                    <a:pt x="171" y="966"/>
                  </a:lnTo>
                  <a:lnTo>
                    <a:pt x="185" y="961"/>
                  </a:lnTo>
                  <a:lnTo>
                    <a:pt x="199" y="955"/>
                  </a:lnTo>
                  <a:lnTo>
                    <a:pt x="214" y="947"/>
                  </a:lnTo>
                  <a:lnTo>
                    <a:pt x="228" y="939"/>
                  </a:lnTo>
                  <a:lnTo>
                    <a:pt x="242" y="929"/>
                  </a:lnTo>
                  <a:lnTo>
                    <a:pt x="250" y="924"/>
                  </a:lnTo>
                  <a:lnTo>
                    <a:pt x="257" y="918"/>
                  </a:lnTo>
                  <a:lnTo>
                    <a:pt x="272" y="906"/>
                  </a:lnTo>
                  <a:lnTo>
                    <a:pt x="286" y="893"/>
                  </a:lnTo>
                  <a:lnTo>
                    <a:pt x="294" y="886"/>
                  </a:lnTo>
                  <a:lnTo>
                    <a:pt x="301" y="878"/>
                  </a:lnTo>
                  <a:lnTo>
                    <a:pt x="316" y="863"/>
                  </a:lnTo>
                  <a:lnTo>
                    <a:pt x="331" y="846"/>
                  </a:lnTo>
                  <a:lnTo>
                    <a:pt x="346" y="828"/>
                  </a:lnTo>
                  <a:lnTo>
                    <a:pt x="367" y="802"/>
                  </a:lnTo>
                  <a:lnTo>
                    <a:pt x="384" y="780"/>
                  </a:lnTo>
                  <a:lnTo>
                    <a:pt x="386" y="800"/>
                  </a:lnTo>
                  <a:lnTo>
                    <a:pt x="387" y="810"/>
                  </a:lnTo>
                  <a:lnTo>
                    <a:pt x="389" y="820"/>
                  </a:lnTo>
                  <a:lnTo>
                    <a:pt x="391" y="829"/>
                  </a:lnTo>
                  <a:lnTo>
                    <a:pt x="393" y="839"/>
                  </a:lnTo>
                  <a:lnTo>
                    <a:pt x="396" y="848"/>
                  </a:lnTo>
                  <a:lnTo>
                    <a:pt x="400" y="858"/>
                  </a:lnTo>
                  <a:lnTo>
                    <a:pt x="403" y="867"/>
                  </a:lnTo>
                  <a:lnTo>
                    <a:pt x="408" y="877"/>
                  </a:lnTo>
                  <a:lnTo>
                    <a:pt x="413" y="886"/>
                  </a:lnTo>
                  <a:lnTo>
                    <a:pt x="418" y="895"/>
                  </a:lnTo>
                  <a:lnTo>
                    <a:pt x="425" y="904"/>
                  </a:lnTo>
                  <a:lnTo>
                    <a:pt x="432" y="913"/>
                  </a:lnTo>
                  <a:lnTo>
                    <a:pt x="439" y="921"/>
                  </a:lnTo>
                  <a:lnTo>
                    <a:pt x="447" y="930"/>
                  </a:lnTo>
                  <a:lnTo>
                    <a:pt x="413" y="959"/>
                  </a:lnTo>
                  <a:lnTo>
                    <a:pt x="380" y="987"/>
                  </a:lnTo>
                  <a:lnTo>
                    <a:pt x="349" y="1015"/>
                  </a:lnTo>
                  <a:lnTo>
                    <a:pt x="320" y="1042"/>
                  </a:lnTo>
                  <a:lnTo>
                    <a:pt x="293" y="1070"/>
                  </a:lnTo>
                  <a:lnTo>
                    <a:pt x="267" y="1098"/>
                  </a:lnTo>
                  <a:lnTo>
                    <a:pt x="255" y="1112"/>
                  </a:lnTo>
                  <a:lnTo>
                    <a:pt x="244" y="1125"/>
                  </a:lnTo>
                  <a:lnTo>
                    <a:pt x="233" y="1139"/>
                  </a:lnTo>
                  <a:lnTo>
                    <a:pt x="223" y="1153"/>
                  </a:lnTo>
                  <a:lnTo>
                    <a:pt x="213" y="1167"/>
                  </a:lnTo>
                  <a:lnTo>
                    <a:pt x="203" y="1180"/>
                  </a:lnTo>
                  <a:lnTo>
                    <a:pt x="194" y="1194"/>
                  </a:lnTo>
                  <a:lnTo>
                    <a:pt x="186" y="1208"/>
                  </a:lnTo>
                  <a:lnTo>
                    <a:pt x="179" y="1222"/>
                  </a:lnTo>
                  <a:lnTo>
                    <a:pt x="171" y="1236"/>
                  </a:lnTo>
                  <a:lnTo>
                    <a:pt x="165" y="1250"/>
                  </a:lnTo>
                  <a:lnTo>
                    <a:pt x="159" y="1264"/>
                  </a:lnTo>
                  <a:lnTo>
                    <a:pt x="154" y="1278"/>
                  </a:lnTo>
                  <a:lnTo>
                    <a:pt x="149" y="1293"/>
                  </a:lnTo>
                  <a:lnTo>
                    <a:pt x="145" y="1307"/>
                  </a:lnTo>
                  <a:lnTo>
                    <a:pt x="142" y="1322"/>
                  </a:lnTo>
                  <a:lnTo>
                    <a:pt x="139" y="1336"/>
                  </a:lnTo>
                  <a:lnTo>
                    <a:pt x="137" y="1351"/>
                  </a:lnTo>
                  <a:lnTo>
                    <a:pt x="136" y="1366"/>
                  </a:lnTo>
                  <a:lnTo>
                    <a:pt x="135" y="1381"/>
                  </a:lnTo>
                  <a:lnTo>
                    <a:pt x="135" y="1398"/>
                  </a:lnTo>
                  <a:lnTo>
                    <a:pt x="136" y="1415"/>
                  </a:lnTo>
                  <a:lnTo>
                    <a:pt x="137" y="1431"/>
                  </a:lnTo>
                  <a:lnTo>
                    <a:pt x="140" y="1447"/>
                  </a:lnTo>
                  <a:lnTo>
                    <a:pt x="141" y="1454"/>
                  </a:lnTo>
                  <a:lnTo>
                    <a:pt x="143" y="1462"/>
                  </a:lnTo>
                  <a:lnTo>
                    <a:pt x="146" y="1477"/>
                  </a:lnTo>
                  <a:lnTo>
                    <a:pt x="151" y="1492"/>
                  </a:lnTo>
                  <a:lnTo>
                    <a:pt x="156" y="1507"/>
                  </a:lnTo>
                  <a:lnTo>
                    <a:pt x="161" y="1521"/>
                  </a:lnTo>
                  <a:lnTo>
                    <a:pt x="168" y="1534"/>
                  </a:lnTo>
                  <a:lnTo>
                    <a:pt x="175" y="1548"/>
                  </a:lnTo>
                  <a:lnTo>
                    <a:pt x="183" y="1561"/>
                  </a:lnTo>
                  <a:lnTo>
                    <a:pt x="192" y="1574"/>
                  </a:lnTo>
                  <a:lnTo>
                    <a:pt x="201" y="1586"/>
                  </a:lnTo>
                  <a:lnTo>
                    <a:pt x="211" y="1598"/>
                  </a:lnTo>
                  <a:lnTo>
                    <a:pt x="222" y="1610"/>
                  </a:lnTo>
                  <a:lnTo>
                    <a:pt x="234" y="1621"/>
                  </a:lnTo>
                  <a:lnTo>
                    <a:pt x="245" y="1631"/>
                  </a:lnTo>
                  <a:lnTo>
                    <a:pt x="251" y="1636"/>
                  </a:lnTo>
                  <a:lnTo>
                    <a:pt x="258" y="1641"/>
                  </a:lnTo>
                  <a:lnTo>
                    <a:pt x="270" y="1650"/>
                  </a:lnTo>
                  <a:lnTo>
                    <a:pt x="277" y="1654"/>
                  </a:lnTo>
                  <a:lnTo>
                    <a:pt x="283" y="1659"/>
                  </a:lnTo>
                  <a:lnTo>
                    <a:pt x="297" y="1666"/>
                  </a:lnTo>
                  <a:lnTo>
                    <a:pt x="310" y="1673"/>
                  </a:lnTo>
                  <a:lnTo>
                    <a:pt x="324" y="1679"/>
                  </a:lnTo>
                  <a:lnTo>
                    <a:pt x="339" y="1685"/>
                  </a:lnTo>
                  <a:lnTo>
                    <a:pt x="354" y="1690"/>
                  </a:lnTo>
                  <a:lnTo>
                    <a:pt x="369" y="1694"/>
                  </a:lnTo>
                  <a:lnTo>
                    <a:pt x="385" y="1697"/>
                  </a:lnTo>
                  <a:lnTo>
                    <a:pt x="401" y="1700"/>
                  </a:lnTo>
                  <a:lnTo>
                    <a:pt x="417" y="1702"/>
                  </a:lnTo>
                  <a:lnTo>
                    <a:pt x="434" y="1703"/>
                  </a:lnTo>
                  <a:lnTo>
                    <a:pt x="451" y="1703"/>
                  </a:lnTo>
                  <a:lnTo>
                    <a:pt x="483" y="1702"/>
                  </a:lnTo>
                  <a:lnTo>
                    <a:pt x="500" y="1701"/>
                  </a:lnTo>
                  <a:lnTo>
                    <a:pt x="516" y="1700"/>
                  </a:lnTo>
                  <a:lnTo>
                    <a:pt x="548" y="1695"/>
                  </a:lnTo>
                  <a:lnTo>
                    <a:pt x="565" y="1692"/>
                  </a:lnTo>
                  <a:lnTo>
                    <a:pt x="581" y="1689"/>
                  </a:lnTo>
                  <a:lnTo>
                    <a:pt x="597" y="1685"/>
                  </a:lnTo>
                  <a:lnTo>
                    <a:pt x="613" y="1681"/>
                  </a:lnTo>
                  <a:lnTo>
                    <a:pt x="629" y="1676"/>
                  </a:lnTo>
                  <a:lnTo>
                    <a:pt x="645" y="1671"/>
                  </a:lnTo>
                  <a:lnTo>
                    <a:pt x="676" y="1659"/>
                  </a:lnTo>
                  <a:lnTo>
                    <a:pt x="692" y="1652"/>
                  </a:lnTo>
                  <a:lnTo>
                    <a:pt x="708" y="1645"/>
                  </a:lnTo>
                  <a:lnTo>
                    <a:pt x="723" y="1637"/>
                  </a:lnTo>
                  <a:lnTo>
                    <a:pt x="739" y="1629"/>
                  </a:lnTo>
                  <a:lnTo>
                    <a:pt x="754" y="1621"/>
                  </a:lnTo>
                  <a:lnTo>
                    <a:pt x="770" y="1612"/>
                  </a:lnTo>
                  <a:lnTo>
                    <a:pt x="785" y="1602"/>
                  </a:lnTo>
                  <a:lnTo>
                    <a:pt x="800" y="1592"/>
                  </a:lnTo>
                  <a:lnTo>
                    <a:pt x="816" y="1582"/>
                  </a:lnTo>
                  <a:lnTo>
                    <a:pt x="831" y="1571"/>
                  </a:lnTo>
                  <a:lnTo>
                    <a:pt x="846" y="1560"/>
                  </a:lnTo>
                  <a:lnTo>
                    <a:pt x="861" y="1548"/>
                  </a:lnTo>
                  <a:lnTo>
                    <a:pt x="891" y="1523"/>
                  </a:lnTo>
                  <a:lnTo>
                    <a:pt x="906" y="1510"/>
                  </a:lnTo>
                  <a:lnTo>
                    <a:pt x="921" y="1497"/>
                  </a:lnTo>
                  <a:lnTo>
                    <a:pt x="935" y="1483"/>
                  </a:lnTo>
                  <a:lnTo>
                    <a:pt x="950" y="1468"/>
                  </a:lnTo>
                  <a:lnTo>
                    <a:pt x="963" y="1455"/>
                  </a:lnTo>
                  <a:lnTo>
                    <a:pt x="975" y="1442"/>
                  </a:lnTo>
                  <a:lnTo>
                    <a:pt x="986" y="1428"/>
                  </a:lnTo>
                  <a:lnTo>
                    <a:pt x="998" y="1414"/>
                  </a:lnTo>
                  <a:lnTo>
                    <a:pt x="1008" y="1400"/>
                  </a:lnTo>
                  <a:lnTo>
                    <a:pt x="1018" y="1385"/>
                  </a:lnTo>
                  <a:lnTo>
                    <a:pt x="1028" y="1371"/>
                  </a:lnTo>
                  <a:lnTo>
                    <a:pt x="1037" y="1356"/>
                  </a:lnTo>
                  <a:lnTo>
                    <a:pt x="1046" y="1341"/>
                  </a:lnTo>
                  <a:lnTo>
                    <a:pt x="1055" y="1325"/>
                  </a:lnTo>
                  <a:lnTo>
                    <a:pt x="1063" y="1310"/>
                  </a:lnTo>
                  <a:lnTo>
                    <a:pt x="1070" y="1294"/>
                  </a:lnTo>
                  <a:lnTo>
                    <a:pt x="1078" y="1278"/>
                  </a:lnTo>
                  <a:lnTo>
                    <a:pt x="1085" y="1262"/>
                  </a:lnTo>
                  <a:lnTo>
                    <a:pt x="1098" y="1230"/>
                  </a:lnTo>
                  <a:lnTo>
                    <a:pt x="1103" y="1213"/>
                  </a:lnTo>
                  <a:lnTo>
                    <a:pt x="1109" y="1195"/>
                  </a:lnTo>
                  <a:lnTo>
                    <a:pt x="1114" y="1176"/>
                  </a:lnTo>
                  <a:lnTo>
                    <a:pt x="1119" y="1156"/>
                  </a:lnTo>
                  <a:lnTo>
                    <a:pt x="1123" y="1135"/>
                  </a:lnTo>
                  <a:lnTo>
                    <a:pt x="1128" y="1112"/>
                  </a:lnTo>
                  <a:lnTo>
                    <a:pt x="1135" y="1064"/>
                  </a:lnTo>
                  <a:lnTo>
                    <a:pt x="1142" y="1014"/>
                  </a:lnTo>
                  <a:lnTo>
                    <a:pt x="1149" y="961"/>
                  </a:lnTo>
                  <a:lnTo>
                    <a:pt x="1155" y="905"/>
                  </a:lnTo>
                  <a:lnTo>
                    <a:pt x="1161" y="849"/>
                  </a:lnTo>
                  <a:lnTo>
                    <a:pt x="1168" y="768"/>
                  </a:lnTo>
                  <a:lnTo>
                    <a:pt x="1174" y="692"/>
                  </a:lnTo>
                  <a:lnTo>
                    <a:pt x="1186" y="561"/>
                  </a:lnTo>
                  <a:lnTo>
                    <a:pt x="1194" y="471"/>
                  </a:lnTo>
                  <a:lnTo>
                    <a:pt x="1198" y="438"/>
                  </a:lnTo>
                  <a:lnTo>
                    <a:pt x="1213" y="419"/>
                  </a:lnTo>
                  <a:lnTo>
                    <a:pt x="1222" y="409"/>
                  </a:lnTo>
                  <a:lnTo>
                    <a:pt x="1231" y="399"/>
                  </a:lnTo>
                  <a:lnTo>
                    <a:pt x="1253" y="377"/>
                  </a:lnTo>
                  <a:lnTo>
                    <a:pt x="1279" y="352"/>
                  </a:lnTo>
                  <a:lnTo>
                    <a:pt x="1294" y="339"/>
                  </a:lnTo>
                  <a:lnTo>
                    <a:pt x="1310" y="326"/>
                  </a:lnTo>
                  <a:lnTo>
                    <a:pt x="1343" y="298"/>
                  </a:lnTo>
                  <a:lnTo>
                    <a:pt x="1382" y="267"/>
                  </a:lnTo>
                  <a:lnTo>
                    <a:pt x="1403" y="251"/>
                  </a:lnTo>
                  <a:lnTo>
                    <a:pt x="1425" y="235"/>
                  </a:lnTo>
                  <a:lnTo>
                    <a:pt x="1426" y="235"/>
                  </a:lnTo>
                  <a:lnTo>
                    <a:pt x="1420" y="320"/>
                  </a:lnTo>
                  <a:lnTo>
                    <a:pt x="1414" y="367"/>
                  </a:lnTo>
                  <a:lnTo>
                    <a:pt x="1368" y="781"/>
                  </a:lnTo>
                  <a:lnTo>
                    <a:pt x="1364" y="825"/>
                  </a:lnTo>
                  <a:lnTo>
                    <a:pt x="1363" y="843"/>
                  </a:lnTo>
                  <a:lnTo>
                    <a:pt x="1363" y="856"/>
                  </a:lnTo>
                  <a:lnTo>
                    <a:pt x="1363" y="869"/>
                  </a:lnTo>
                  <a:lnTo>
                    <a:pt x="1364" y="877"/>
                  </a:lnTo>
                  <a:lnTo>
                    <a:pt x="1365" y="885"/>
                  </a:lnTo>
                  <a:lnTo>
                    <a:pt x="1367" y="894"/>
                  </a:lnTo>
                  <a:lnTo>
                    <a:pt x="1370" y="904"/>
                  </a:lnTo>
                  <a:lnTo>
                    <a:pt x="1371" y="909"/>
                  </a:lnTo>
                  <a:lnTo>
                    <a:pt x="1373" y="914"/>
                  </a:lnTo>
                  <a:lnTo>
                    <a:pt x="1378" y="923"/>
                  </a:lnTo>
                  <a:lnTo>
                    <a:pt x="1383" y="933"/>
                  </a:lnTo>
                  <a:lnTo>
                    <a:pt x="1389" y="942"/>
                  </a:lnTo>
                  <a:lnTo>
                    <a:pt x="1396" y="950"/>
                  </a:lnTo>
                  <a:lnTo>
                    <a:pt x="1401" y="955"/>
                  </a:lnTo>
                  <a:lnTo>
                    <a:pt x="1405" y="958"/>
                  </a:lnTo>
                  <a:lnTo>
                    <a:pt x="1410" y="962"/>
                  </a:lnTo>
                  <a:lnTo>
                    <a:pt x="1415" y="966"/>
                  </a:lnTo>
                  <a:lnTo>
                    <a:pt x="1421" y="969"/>
                  </a:lnTo>
                  <a:lnTo>
                    <a:pt x="1427" y="972"/>
                  </a:lnTo>
                  <a:lnTo>
                    <a:pt x="1433" y="974"/>
                  </a:lnTo>
                  <a:lnTo>
                    <a:pt x="1439" y="976"/>
                  </a:lnTo>
                  <a:lnTo>
                    <a:pt x="1447" y="978"/>
                  </a:lnTo>
                  <a:lnTo>
                    <a:pt x="1454" y="980"/>
                  </a:lnTo>
                  <a:lnTo>
                    <a:pt x="1464" y="981"/>
                  </a:lnTo>
                  <a:lnTo>
                    <a:pt x="1474" y="982"/>
                  </a:lnTo>
                  <a:lnTo>
                    <a:pt x="1484" y="982"/>
                  </a:lnTo>
                  <a:lnTo>
                    <a:pt x="1494" y="981"/>
                  </a:lnTo>
                  <a:lnTo>
                    <a:pt x="1503" y="980"/>
                  </a:lnTo>
                  <a:lnTo>
                    <a:pt x="1512" y="978"/>
                  </a:lnTo>
                  <a:lnTo>
                    <a:pt x="1520" y="976"/>
                  </a:lnTo>
                  <a:lnTo>
                    <a:pt x="1529" y="974"/>
                  </a:lnTo>
                  <a:lnTo>
                    <a:pt x="1536" y="971"/>
                  </a:lnTo>
                  <a:lnTo>
                    <a:pt x="1543" y="968"/>
                  </a:lnTo>
                  <a:lnTo>
                    <a:pt x="1556" y="963"/>
                  </a:lnTo>
                  <a:lnTo>
                    <a:pt x="1565" y="957"/>
                  </a:lnTo>
                  <a:lnTo>
                    <a:pt x="1572" y="952"/>
                  </a:lnTo>
                  <a:lnTo>
                    <a:pt x="1571" y="950"/>
                  </a:lnTo>
                  <a:lnTo>
                    <a:pt x="1571" y="947"/>
                  </a:lnTo>
                  <a:lnTo>
                    <a:pt x="1571" y="936"/>
                  </a:lnTo>
                  <a:lnTo>
                    <a:pt x="1571" y="922"/>
                  </a:lnTo>
                  <a:lnTo>
                    <a:pt x="1573" y="904"/>
                  </a:lnTo>
                  <a:lnTo>
                    <a:pt x="1575" y="883"/>
                  </a:lnTo>
                  <a:lnTo>
                    <a:pt x="1578" y="860"/>
                  </a:lnTo>
                  <a:lnTo>
                    <a:pt x="1584" y="810"/>
                  </a:lnTo>
                  <a:lnTo>
                    <a:pt x="1590" y="761"/>
                  </a:lnTo>
                  <a:lnTo>
                    <a:pt x="1596" y="719"/>
                  </a:lnTo>
                  <a:lnTo>
                    <a:pt x="1602" y="679"/>
                  </a:lnTo>
                  <a:lnTo>
                    <a:pt x="1604" y="661"/>
                  </a:lnTo>
                  <a:lnTo>
                    <a:pt x="1607" y="643"/>
                  </a:lnTo>
                  <a:lnTo>
                    <a:pt x="1611" y="625"/>
                  </a:lnTo>
                  <a:lnTo>
                    <a:pt x="1616" y="607"/>
                  </a:lnTo>
                  <a:lnTo>
                    <a:pt x="1621" y="589"/>
                  </a:lnTo>
                  <a:lnTo>
                    <a:pt x="1626" y="570"/>
                  </a:lnTo>
                  <a:lnTo>
                    <a:pt x="1633" y="552"/>
                  </a:lnTo>
                  <a:lnTo>
                    <a:pt x="1640" y="533"/>
                  </a:lnTo>
                  <a:lnTo>
                    <a:pt x="1648" y="514"/>
                  </a:lnTo>
                  <a:lnTo>
                    <a:pt x="1656" y="495"/>
                  </a:lnTo>
                  <a:lnTo>
                    <a:pt x="1665" y="476"/>
                  </a:lnTo>
                  <a:lnTo>
                    <a:pt x="1675" y="457"/>
                  </a:lnTo>
                  <a:lnTo>
                    <a:pt x="1686" y="438"/>
                  </a:lnTo>
                  <a:lnTo>
                    <a:pt x="1697" y="418"/>
                  </a:lnTo>
                  <a:lnTo>
                    <a:pt x="1709" y="398"/>
                  </a:lnTo>
                  <a:lnTo>
                    <a:pt x="1722" y="379"/>
                  </a:lnTo>
                  <a:lnTo>
                    <a:pt x="1737" y="355"/>
                  </a:lnTo>
                  <a:lnTo>
                    <a:pt x="1752" y="334"/>
                  </a:lnTo>
                  <a:lnTo>
                    <a:pt x="1766" y="315"/>
                  </a:lnTo>
                  <a:lnTo>
                    <a:pt x="1779" y="298"/>
                  </a:lnTo>
                  <a:lnTo>
                    <a:pt x="1792" y="283"/>
                  </a:lnTo>
                  <a:lnTo>
                    <a:pt x="1804" y="269"/>
                  </a:lnTo>
                  <a:lnTo>
                    <a:pt x="1814" y="258"/>
                  </a:lnTo>
                  <a:lnTo>
                    <a:pt x="1824" y="249"/>
                  </a:lnTo>
                  <a:lnTo>
                    <a:pt x="1833" y="241"/>
                  </a:lnTo>
                  <a:lnTo>
                    <a:pt x="1842" y="235"/>
                  </a:lnTo>
                  <a:lnTo>
                    <a:pt x="1846" y="233"/>
                  </a:lnTo>
                  <a:lnTo>
                    <a:pt x="1849" y="231"/>
                  </a:lnTo>
                  <a:lnTo>
                    <a:pt x="1856" y="228"/>
                  </a:lnTo>
                  <a:lnTo>
                    <a:pt x="1859" y="227"/>
                  </a:lnTo>
                  <a:lnTo>
                    <a:pt x="1861" y="227"/>
                  </a:lnTo>
                  <a:lnTo>
                    <a:pt x="1864" y="227"/>
                  </a:lnTo>
                  <a:lnTo>
                    <a:pt x="1866" y="227"/>
                  </a:lnTo>
                  <a:lnTo>
                    <a:pt x="1868" y="228"/>
                  </a:lnTo>
                  <a:lnTo>
                    <a:pt x="1870" y="229"/>
                  </a:lnTo>
                  <a:lnTo>
                    <a:pt x="1872" y="230"/>
                  </a:lnTo>
                  <a:lnTo>
                    <a:pt x="1873" y="232"/>
                  </a:lnTo>
                  <a:lnTo>
                    <a:pt x="1874" y="234"/>
                  </a:lnTo>
                  <a:lnTo>
                    <a:pt x="1875" y="237"/>
                  </a:lnTo>
                  <a:lnTo>
                    <a:pt x="1877" y="244"/>
                  </a:lnTo>
                  <a:lnTo>
                    <a:pt x="1877" y="248"/>
                  </a:lnTo>
                  <a:lnTo>
                    <a:pt x="1878" y="253"/>
                  </a:lnTo>
                  <a:lnTo>
                    <a:pt x="1878" y="263"/>
                  </a:lnTo>
                  <a:lnTo>
                    <a:pt x="1878" y="275"/>
                  </a:lnTo>
                  <a:lnTo>
                    <a:pt x="1878" y="287"/>
                  </a:lnTo>
                  <a:lnTo>
                    <a:pt x="1876" y="313"/>
                  </a:lnTo>
                  <a:lnTo>
                    <a:pt x="1874" y="338"/>
                  </a:lnTo>
                  <a:lnTo>
                    <a:pt x="1872" y="360"/>
                  </a:lnTo>
                  <a:lnTo>
                    <a:pt x="1870" y="380"/>
                  </a:lnTo>
                  <a:lnTo>
                    <a:pt x="1825" y="784"/>
                  </a:lnTo>
                  <a:lnTo>
                    <a:pt x="1823" y="811"/>
                  </a:lnTo>
                  <a:lnTo>
                    <a:pt x="1821" y="837"/>
                  </a:lnTo>
                  <a:lnTo>
                    <a:pt x="1820" y="856"/>
                  </a:lnTo>
                  <a:lnTo>
                    <a:pt x="1821" y="869"/>
                  </a:lnTo>
                  <a:lnTo>
                    <a:pt x="1821" y="877"/>
                  </a:lnTo>
                  <a:lnTo>
                    <a:pt x="1823" y="885"/>
                  </a:lnTo>
                  <a:lnTo>
                    <a:pt x="1825" y="894"/>
                  </a:lnTo>
                  <a:lnTo>
                    <a:pt x="1827" y="904"/>
                  </a:lnTo>
                  <a:lnTo>
                    <a:pt x="1829" y="909"/>
                  </a:lnTo>
                  <a:lnTo>
                    <a:pt x="1831" y="914"/>
                  </a:lnTo>
                  <a:lnTo>
                    <a:pt x="1835" y="923"/>
                  </a:lnTo>
                  <a:lnTo>
                    <a:pt x="1840" y="933"/>
                  </a:lnTo>
                  <a:lnTo>
                    <a:pt x="1846" y="942"/>
                  </a:lnTo>
                  <a:lnTo>
                    <a:pt x="1854" y="950"/>
                  </a:lnTo>
                  <a:lnTo>
                    <a:pt x="1858" y="955"/>
                  </a:lnTo>
                  <a:lnTo>
                    <a:pt x="1863" y="958"/>
                  </a:lnTo>
                  <a:lnTo>
                    <a:pt x="1867" y="962"/>
                  </a:lnTo>
                  <a:lnTo>
                    <a:pt x="1873" y="966"/>
                  </a:lnTo>
                  <a:lnTo>
                    <a:pt x="1878" y="969"/>
                  </a:lnTo>
                  <a:lnTo>
                    <a:pt x="1884" y="972"/>
                  </a:lnTo>
                  <a:lnTo>
                    <a:pt x="1890" y="974"/>
                  </a:lnTo>
                  <a:lnTo>
                    <a:pt x="1897" y="976"/>
                  </a:lnTo>
                  <a:lnTo>
                    <a:pt x="1904" y="978"/>
                  </a:lnTo>
                  <a:lnTo>
                    <a:pt x="1911" y="980"/>
                  </a:lnTo>
                  <a:lnTo>
                    <a:pt x="1922" y="981"/>
                  </a:lnTo>
                  <a:lnTo>
                    <a:pt x="1932" y="982"/>
                  </a:lnTo>
                  <a:lnTo>
                    <a:pt x="1943" y="982"/>
                  </a:lnTo>
                  <a:lnTo>
                    <a:pt x="1953" y="981"/>
                  </a:lnTo>
                  <a:lnTo>
                    <a:pt x="1963" y="979"/>
                  </a:lnTo>
                  <a:lnTo>
                    <a:pt x="1973" y="977"/>
                  </a:lnTo>
                  <a:lnTo>
                    <a:pt x="1982" y="975"/>
                  </a:lnTo>
                  <a:lnTo>
                    <a:pt x="1991" y="972"/>
                  </a:lnTo>
                  <a:lnTo>
                    <a:pt x="2007" y="966"/>
                  </a:lnTo>
                  <a:lnTo>
                    <a:pt x="2021" y="959"/>
                  </a:lnTo>
                  <a:lnTo>
                    <a:pt x="2032" y="953"/>
                  </a:lnTo>
                  <a:lnTo>
                    <a:pt x="2036" y="950"/>
                  </a:lnTo>
                  <a:lnTo>
                    <a:pt x="2040" y="947"/>
                  </a:lnTo>
                  <a:lnTo>
                    <a:pt x="2038" y="940"/>
                  </a:lnTo>
                  <a:lnTo>
                    <a:pt x="2038" y="928"/>
                  </a:lnTo>
                  <a:lnTo>
                    <a:pt x="2038" y="913"/>
                  </a:lnTo>
                  <a:lnTo>
                    <a:pt x="2039" y="895"/>
                  </a:lnTo>
                  <a:lnTo>
                    <a:pt x="2042" y="851"/>
                  </a:lnTo>
                  <a:lnTo>
                    <a:pt x="2047" y="804"/>
                  </a:lnTo>
                  <a:lnTo>
                    <a:pt x="2052" y="757"/>
                  </a:lnTo>
                  <a:lnTo>
                    <a:pt x="2056" y="717"/>
                  </a:lnTo>
                  <a:lnTo>
                    <a:pt x="2061" y="679"/>
                  </a:lnTo>
                  <a:lnTo>
                    <a:pt x="2063" y="661"/>
                  </a:lnTo>
                  <a:lnTo>
                    <a:pt x="2066" y="643"/>
                  </a:lnTo>
                  <a:lnTo>
                    <a:pt x="2070" y="625"/>
                  </a:lnTo>
                  <a:lnTo>
                    <a:pt x="2074" y="607"/>
                  </a:lnTo>
                  <a:lnTo>
                    <a:pt x="2080" y="589"/>
                  </a:lnTo>
                  <a:lnTo>
                    <a:pt x="2085" y="571"/>
                  </a:lnTo>
                  <a:lnTo>
                    <a:pt x="2092" y="552"/>
                  </a:lnTo>
                  <a:lnTo>
                    <a:pt x="2099" y="533"/>
                  </a:lnTo>
                  <a:lnTo>
                    <a:pt x="2107" y="515"/>
                  </a:lnTo>
                  <a:lnTo>
                    <a:pt x="2116" y="496"/>
                  </a:lnTo>
                  <a:lnTo>
                    <a:pt x="2125" y="476"/>
                  </a:lnTo>
                  <a:lnTo>
                    <a:pt x="2135" y="457"/>
                  </a:lnTo>
                  <a:lnTo>
                    <a:pt x="2146" y="438"/>
                  </a:lnTo>
                  <a:lnTo>
                    <a:pt x="2158" y="418"/>
                  </a:lnTo>
                  <a:lnTo>
                    <a:pt x="2170" y="399"/>
                  </a:lnTo>
                  <a:lnTo>
                    <a:pt x="2182" y="379"/>
                  </a:lnTo>
                  <a:lnTo>
                    <a:pt x="2198" y="356"/>
                  </a:lnTo>
                  <a:lnTo>
                    <a:pt x="2213" y="335"/>
                  </a:lnTo>
                  <a:lnTo>
                    <a:pt x="2228" y="316"/>
                  </a:lnTo>
                  <a:lnTo>
                    <a:pt x="2241" y="299"/>
                  </a:lnTo>
                  <a:lnTo>
                    <a:pt x="2254" y="284"/>
                  </a:lnTo>
                  <a:lnTo>
                    <a:pt x="2266" y="271"/>
                  </a:lnTo>
                  <a:lnTo>
                    <a:pt x="2276" y="260"/>
                  </a:lnTo>
                  <a:lnTo>
                    <a:pt x="2287" y="251"/>
                  </a:lnTo>
                  <a:lnTo>
                    <a:pt x="2296" y="244"/>
                  </a:lnTo>
                  <a:lnTo>
                    <a:pt x="2305" y="238"/>
                  </a:lnTo>
                  <a:lnTo>
                    <a:pt x="2308" y="235"/>
                  </a:lnTo>
                  <a:lnTo>
                    <a:pt x="2312" y="233"/>
                  </a:lnTo>
                  <a:lnTo>
                    <a:pt x="2319" y="231"/>
                  </a:lnTo>
                  <a:lnTo>
                    <a:pt x="2325" y="229"/>
                  </a:lnTo>
                  <a:lnTo>
                    <a:pt x="2330" y="229"/>
                  </a:lnTo>
                  <a:lnTo>
                    <a:pt x="2335" y="230"/>
                  </a:lnTo>
                  <a:lnTo>
                    <a:pt x="2337" y="231"/>
                  </a:lnTo>
                  <a:lnTo>
                    <a:pt x="2338" y="232"/>
                  </a:lnTo>
                  <a:lnTo>
                    <a:pt x="2340" y="234"/>
                  </a:lnTo>
                  <a:lnTo>
                    <a:pt x="2341" y="236"/>
                  </a:lnTo>
                  <a:lnTo>
                    <a:pt x="2342" y="240"/>
                  </a:lnTo>
                  <a:lnTo>
                    <a:pt x="2342" y="244"/>
                  </a:lnTo>
                  <a:lnTo>
                    <a:pt x="2343" y="254"/>
                  </a:lnTo>
                  <a:lnTo>
                    <a:pt x="2343" y="267"/>
                  </a:lnTo>
                  <a:lnTo>
                    <a:pt x="2342" y="281"/>
                  </a:lnTo>
                  <a:lnTo>
                    <a:pt x="2341" y="297"/>
                  </a:lnTo>
                  <a:lnTo>
                    <a:pt x="2338" y="330"/>
                  </a:lnTo>
                  <a:lnTo>
                    <a:pt x="2334" y="363"/>
                  </a:lnTo>
                  <a:lnTo>
                    <a:pt x="2330" y="391"/>
                  </a:lnTo>
                  <a:lnTo>
                    <a:pt x="2326" y="418"/>
                  </a:lnTo>
                  <a:lnTo>
                    <a:pt x="2293" y="634"/>
                  </a:lnTo>
                  <a:lnTo>
                    <a:pt x="2289" y="668"/>
                  </a:lnTo>
                  <a:lnTo>
                    <a:pt x="2284" y="700"/>
                  </a:lnTo>
                  <a:lnTo>
                    <a:pt x="2281" y="729"/>
                  </a:lnTo>
                  <a:lnTo>
                    <a:pt x="2278" y="756"/>
                  </a:lnTo>
                  <a:lnTo>
                    <a:pt x="2276" y="780"/>
                  </a:lnTo>
                  <a:lnTo>
                    <a:pt x="2274" y="803"/>
                  </a:lnTo>
                  <a:lnTo>
                    <a:pt x="2273" y="823"/>
                  </a:lnTo>
                  <a:lnTo>
                    <a:pt x="2273" y="841"/>
                  </a:lnTo>
                  <a:lnTo>
                    <a:pt x="2273" y="854"/>
                  </a:lnTo>
                  <a:lnTo>
                    <a:pt x="2274" y="866"/>
                  </a:lnTo>
                  <a:lnTo>
                    <a:pt x="2275" y="877"/>
                  </a:lnTo>
                  <a:lnTo>
                    <a:pt x="2277" y="888"/>
                  </a:lnTo>
                  <a:lnTo>
                    <a:pt x="2279" y="898"/>
                  </a:lnTo>
                  <a:lnTo>
                    <a:pt x="2282" y="907"/>
                  </a:lnTo>
                  <a:lnTo>
                    <a:pt x="2288" y="923"/>
                  </a:lnTo>
                  <a:lnTo>
                    <a:pt x="2292" y="931"/>
                  </a:lnTo>
                  <a:lnTo>
                    <a:pt x="2296" y="938"/>
                  </a:lnTo>
                  <a:lnTo>
                    <a:pt x="2300" y="944"/>
                  </a:lnTo>
                  <a:lnTo>
                    <a:pt x="2305" y="950"/>
                  </a:lnTo>
                  <a:lnTo>
                    <a:pt x="2307" y="953"/>
                  </a:lnTo>
                  <a:lnTo>
                    <a:pt x="2309" y="955"/>
                  </a:lnTo>
                  <a:lnTo>
                    <a:pt x="2314" y="960"/>
                  </a:lnTo>
                  <a:lnTo>
                    <a:pt x="2324" y="969"/>
                  </a:lnTo>
                  <a:lnTo>
                    <a:pt x="2335" y="975"/>
                  </a:lnTo>
                  <a:lnTo>
                    <a:pt x="2345" y="981"/>
                  </a:lnTo>
                  <a:lnTo>
                    <a:pt x="2356" y="985"/>
                  </a:lnTo>
                  <a:lnTo>
                    <a:pt x="2366" y="988"/>
                  </a:lnTo>
                  <a:lnTo>
                    <a:pt x="2375" y="989"/>
                  </a:lnTo>
                  <a:lnTo>
                    <a:pt x="2384" y="991"/>
                  </a:lnTo>
                  <a:lnTo>
                    <a:pt x="2398" y="991"/>
                  </a:lnTo>
                  <a:lnTo>
                    <a:pt x="2408" y="991"/>
                  </a:lnTo>
                  <a:lnTo>
                    <a:pt x="2418" y="990"/>
                  </a:lnTo>
                  <a:lnTo>
                    <a:pt x="2429" y="988"/>
                  </a:lnTo>
                  <a:lnTo>
                    <a:pt x="2439" y="985"/>
                  </a:lnTo>
                  <a:lnTo>
                    <a:pt x="2450" y="981"/>
                  </a:lnTo>
                  <a:lnTo>
                    <a:pt x="2462" y="977"/>
                  </a:lnTo>
                  <a:lnTo>
                    <a:pt x="2473" y="971"/>
                  </a:lnTo>
                  <a:lnTo>
                    <a:pt x="2485" y="965"/>
                  </a:lnTo>
                  <a:lnTo>
                    <a:pt x="2497" y="958"/>
                  </a:lnTo>
                  <a:lnTo>
                    <a:pt x="2509" y="950"/>
                  </a:lnTo>
                  <a:lnTo>
                    <a:pt x="2522" y="941"/>
                  </a:lnTo>
                  <a:lnTo>
                    <a:pt x="2535" y="931"/>
                  </a:lnTo>
                  <a:lnTo>
                    <a:pt x="2548" y="921"/>
                  </a:lnTo>
                  <a:lnTo>
                    <a:pt x="2562" y="909"/>
                  </a:lnTo>
                  <a:lnTo>
                    <a:pt x="2576" y="897"/>
                  </a:lnTo>
                  <a:lnTo>
                    <a:pt x="2590" y="883"/>
                  </a:lnTo>
                  <a:lnTo>
                    <a:pt x="2606" y="868"/>
                  </a:lnTo>
                  <a:lnTo>
                    <a:pt x="2620" y="854"/>
                  </a:lnTo>
                  <a:lnTo>
                    <a:pt x="2622" y="865"/>
                  </a:lnTo>
                  <a:lnTo>
                    <a:pt x="2626" y="875"/>
                  </a:lnTo>
                  <a:lnTo>
                    <a:pt x="2629" y="884"/>
                  </a:lnTo>
                  <a:lnTo>
                    <a:pt x="2633" y="893"/>
                  </a:lnTo>
                  <a:lnTo>
                    <a:pt x="2637" y="902"/>
                  </a:lnTo>
                  <a:lnTo>
                    <a:pt x="2641" y="910"/>
                  </a:lnTo>
                  <a:lnTo>
                    <a:pt x="2645" y="918"/>
                  </a:lnTo>
                  <a:lnTo>
                    <a:pt x="2650" y="925"/>
                  </a:lnTo>
                  <a:lnTo>
                    <a:pt x="2654" y="931"/>
                  </a:lnTo>
                  <a:lnTo>
                    <a:pt x="2659" y="938"/>
                  </a:lnTo>
                  <a:lnTo>
                    <a:pt x="2664" y="943"/>
                  </a:lnTo>
                  <a:lnTo>
                    <a:pt x="2669" y="949"/>
                  </a:lnTo>
                  <a:lnTo>
                    <a:pt x="2675" y="954"/>
                  </a:lnTo>
                  <a:lnTo>
                    <a:pt x="2680" y="958"/>
                  </a:lnTo>
                  <a:lnTo>
                    <a:pt x="2686" y="963"/>
                  </a:lnTo>
                  <a:lnTo>
                    <a:pt x="2691" y="966"/>
                  </a:lnTo>
                  <a:lnTo>
                    <a:pt x="2702" y="973"/>
                  </a:lnTo>
                  <a:lnTo>
                    <a:pt x="2714" y="979"/>
                  </a:lnTo>
                  <a:lnTo>
                    <a:pt x="2719" y="981"/>
                  </a:lnTo>
                  <a:lnTo>
                    <a:pt x="2725" y="983"/>
                  </a:lnTo>
                  <a:lnTo>
                    <a:pt x="2737" y="986"/>
                  </a:lnTo>
                  <a:lnTo>
                    <a:pt x="2748" y="989"/>
                  </a:lnTo>
                  <a:lnTo>
                    <a:pt x="2759" y="990"/>
                  </a:lnTo>
                  <a:lnTo>
                    <a:pt x="2770" y="991"/>
                  </a:lnTo>
                  <a:lnTo>
                    <a:pt x="2779" y="991"/>
                  </a:lnTo>
                  <a:lnTo>
                    <a:pt x="2793" y="991"/>
                  </a:lnTo>
                  <a:lnTo>
                    <a:pt x="2807" y="990"/>
                  </a:lnTo>
                  <a:lnTo>
                    <a:pt x="2821" y="987"/>
                  </a:lnTo>
                  <a:lnTo>
                    <a:pt x="2835" y="984"/>
                  </a:lnTo>
                  <a:lnTo>
                    <a:pt x="2850" y="980"/>
                  </a:lnTo>
                  <a:lnTo>
                    <a:pt x="2864" y="975"/>
                  </a:lnTo>
                  <a:lnTo>
                    <a:pt x="2879" y="969"/>
                  </a:lnTo>
                  <a:lnTo>
                    <a:pt x="2894" y="962"/>
                  </a:lnTo>
                  <a:lnTo>
                    <a:pt x="2909" y="954"/>
                  </a:lnTo>
                  <a:lnTo>
                    <a:pt x="2925" y="946"/>
                  </a:lnTo>
                  <a:lnTo>
                    <a:pt x="2940" y="936"/>
                  </a:lnTo>
                  <a:lnTo>
                    <a:pt x="2956" y="925"/>
                  </a:lnTo>
                  <a:lnTo>
                    <a:pt x="2973" y="914"/>
                  </a:lnTo>
                  <a:lnTo>
                    <a:pt x="2989" y="901"/>
                  </a:lnTo>
                  <a:lnTo>
                    <a:pt x="3006" y="888"/>
                  </a:lnTo>
                  <a:lnTo>
                    <a:pt x="3023" y="873"/>
                  </a:lnTo>
                  <a:lnTo>
                    <a:pt x="3038" y="860"/>
                  </a:lnTo>
                  <a:lnTo>
                    <a:pt x="3053" y="846"/>
                  </a:lnTo>
                  <a:lnTo>
                    <a:pt x="3067" y="832"/>
                  </a:lnTo>
                  <a:lnTo>
                    <a:pt x="3082" y="817"/>
                  </a:lnTo>
                  <a:lnTo>
                    <a:pt x="3096" y="801"/>
                  </a:lnTo>
                  <a:lnTo>
                    <a:pt x="3111" y="786"/>
                  </a:lnTo>
                  <a:lnTo>
                    <a:pt x="3125" y="769"/>
                  </a:lnTo>
                  <a:lnTo>
                    <a:pt x="3139" y="753"/>
                  </a:lnTo>
                  <a:lnTo>
                    <a:pt x="3136" y="775"/>
                  </a:lnTo>
                  <a:lnTo>
                    <a:pt x="3130" y="856"/>
                  </a:lnTo>
                  <a:lnTo>
                    <a:pt x="3130" y="867"/>
                  </a:lnTo>
                  <a:lnTo>
                    <a:pt x="3131" y="878"/>
                  </a:lnTo>
                  <a:lnTo>
                    <a:pt x="3132" y="888"/>
                  </a:lnTo>
                  <a:lnTo>
                    <a:pt x="3133" y="898"/>
                  </a:lnTo>
                  <a:lnTo>
                    <a:pt x="3135" y="907"/>
                  </a:lnTo>
                  <a:lnTo>
                    <a:pt x="3138" y="915"/>
                  </a:lnTo>
                  <a:lnTo>
                    <a:pt x="3140" y="923"/>
                  </a:lnTo>
                  <a:lnTo>
                    <a:pt x="3144" y="930"/>
                  </a:lnTo>
                  <a:lnTo>
                    <a:pt x="3147" y="937"/>
                  </a:lnTo>
                  <a:lnTo>
                    <a:pt x="3150" y="943"/>
                  </a:lnTo>
                  <a:lnTo>
                    <a:pt x="3154" y="949"/>
                  </a:lnTo>
                  <a:lnTo>
                    <a:pt x="3158" y="954"/>
                  </a:lnTo>
                  <a:lnTo>
                    <a:pt x="3163" y="959"/>
                  </a:lnTo>
                  <a:lnTo>
                    <a:pt x="3167" y="963"/>
                  </a:lnTo>
                  <a:lnTo>
                    <a:pt x="3172" y="967"/>
                  </a:lnTo>
                  <a:lnTo>
                    <a:pt x="3176" y="971"/>
                  </a:lnTo>
                  <a:lnTo>
                    <a:pt x="3186" y="977"/>
                  </a:lnTo>
                  <a:lnTo>
                    <a:pt x="3195" y="982"/>
                  </a:lnTo>
                  <a:lnTo>
                    <a:pt x="3200" y="984"/>
                  </a:lnTo>
                  <a:lnTo>
                    <a:pt x="3205" y="985"/>
                  </a:lnTo>
                  <a:lnTo>
                    <a:pt x="3209" y="987"/>
                  </a:lnTo>
                  <a:lnTo>
                    <a:pt x="3214" y="988"/>
                  </a:lnTo>
                  <a:lnTo>
                    <a:pt x="3223" y="990"/>
                  </a:lnTo>
                  <a:lnTo>
                    <a:pt x="3230" y="991"/>
                  </a:lnTo>
                  <a:lnTo>
                    <a:pt x="3243" y="991"/>
                  </a:lnTo>
                  <a:lnTo>
                    <a:pt x="3257" y="991"/>
                  </a:lnTo>
                  <a:lnTo>
                    <a:pt x="3272" y="989"/>
                  </a:lnTo>
                  <a:lnTo>
                    <a:pt x="3279" y="987"/>
                  </a:lnTo>
                  <a:lnTo>
                    <a:pt x="3286" y="985"/>
                  </a:lnTo>
                  <a:lnTo>
                    <a:pt x="3293" y="983"/>
                  </a:lnTo>
                  <a:lnTo>
                    <a:pt x="3300" y="980"/>
                  </a:lnTo>
                  <a:lnTo>
                    <a:pt x="3314" y="974"/>
                  </a:lnTo>
                  <a:lnTo>
                    <a:pt x="3321" y="971"/>
                  </a:lnTo>
                  <a:lnTo>
                    <a:pt x="3328" y="967"/>
                  </a:lnTo>
                  <a:lnTo>
                    <a:pt x="3335" y="963"/>
                  </a:lnTo>
                  <a:lnTo>
                    <a:pt x="3342" y="959"/>
                  </a:lnTo>
                  <a:lnTo>
                    <a:pt x="3357" y="949"/>
                  </a:lnTo>
                  <a:lnTo>
                    <a:pt x="3356" y="948"/>
                  </a:lnTo>
                  <a:lnTo>
                    <a:pt x="3354" y="946"/>
                  </a:lnTo>
                  <a:lnTo>
                    <a:pt x="3353" y="944"/>
                  </a:lnTo>
                  <a:lnTo>
                    <a:pt x="3352" y="940"/>
                  </a:lnTo>
                  <a:lnTo>
                    <a:pt x="3351" y="936"/>
                  </a:lnTo>
                  <a:lnTo>
                    <a:pt x="3350" y="924"/>
                  </a:lnTo>
                  <a:lnTo>
                    <a:pt x="3350" y="908"/>
                  </a:lnTo>
                  <a:lnTo>
                    <a:pt x="3351" y="889"/>
                  </a:lnTo>
                  <a:lnTo>
                    <a:pt x="3352" y="866"/>
                  </a:lnTo>
                  <a:lnTo>
                    <a:pt x="3357" y="813"/>
                  </a:lnTo>
                  <a:lnTo>
                    <a:pt x="3361" y="783"/>
                  </a:lnTo>
                  <a:lnTo>
                    <a:pt x="3365" y="751"/>
                  </a:lnTo>
                  <a:lnTo>
                    <a:pt x="3374" y="682"/>
                  </a:lnTo>
                  <a:lnTo>
                    <a:pt x="3384" y="608"/>
                  </a:lnTo>
                  <a:lnTo>
                    <a:pt x="3395" y="532"/>
                  </a:lnTo>
                  <a:lnTo>
                    <a:pt x="3419" y="383"/>
                  </a:lnTo>
                  <a:lnTo>
                    <a:pt x="3440" y="254"/>
                  </a:lnTo>
                  <a:lnTo>
                    <a:pt x="3461" y="128"/>
                  </a:lnTo>
                  <a:lnTo>
                    <a:pt x="3462" y="127"/>
                  </a:lnTo>
                  <a:lnTo>
                    <a:pt x="3462" y="122"/>
                  </a:lnTo>
                  <a:lnTo>
                    <a:pt x="3463" y="118"/>
                  </a:lnTo>
                  <a:lnTo>
                    <a:pt x="3463" y="110"/>
                  </a:lnTo>
                  <a:lnTo>
                    <a:pt x="3462" y="106"/>
                  </a:lnTo>
                  <a:lnTo>
                    <a:pt x="3461" y="102"/>
                  </a:lnTo>
                  <a:lnTo>
                    <a:pt x="3461" y="98"/>
                  </a:lnTo>
                  <a:lnTo>
                    <a:pt x="3459" y="95"/>
                  </a:lnTo>
                  <a:lnTo>
                    <a:pt x="3456" y="88"/>
                  </a:lnTo>
                  <a:lnTo>
                    <a:pt x="3452" y="82"/>
                  </a:lnTo>
                  <a:lnTo>
                    <a:pt x="3447" y="76"/>
                  </a:lnTo>
                  <a:lnTo>
                    <a:pt x="3441" y="70"/>
                  </a:lnTo>
                  <a:lnTo>
                    <a:pt x="3435" y="65"/>
                  </a:lnTo>
                  <a:lnTo>
                    <a:pt x="3432" y="63"/>
                  </a:lnTo>
                  <a:lnTo>
                    <a:pt x="3428" y="61"/>
                  </a:lnTo>
                  <a:lnTo>
                    <a:pt x="3420" y="57"/>
                  </a:lnTo>
                  <a:lnTo>
                    <a:pt x="3412" y="53"/>
                  </a:lnTo>
                  <a:lnTo>
                    <a:pt x="3404" y="49"/>
                  </a:lnTo>
                  <a:lnTo>
                    <a:pt x="3395" y="46"/>
                  </a:lnTo>
                  <a:lnTo>
                    <a:pt x="3376" y="41"/>
                  </a:lnTo>
                  <a:lnTo>
                    <a:pt x="3357" y="36"/>
                  </a:lnTo>
                  <a:lnTo>
                    <a:pt x="3337" y="33"/>
                  </a:lnTo>
                  <a:lnTo>
                    <a:pt x="3317" y="30"/>
                  </a:lnTo>
                  <a:lnTo>
                    <a:pt x="3299" y="29"/>
                  </a:lnTo>
                  <a:lnTo>
                    <a:pt x="3282" y="28"/>
                  </a:lnTo>
                  <a:lnTo>
                    <a:pt x="3267" y="27"/>
                  </a:lnTo>
                  <a:lnTo>
                    <a:pt x="3244" y="27"/>
                  </a:lnTo>
                  <a:close/>
                  <a:moveTo>
                    <a:pt x="929" y="821"/>
                  </a:moveTo>
                  <a:lnTo>
                    <a:pt x="923" y="888"/>
                  </a:lnTo>
                  <a:lnTo>
                    <a:pt x="917" y="950"/>
                  </a:lnTo>
                  <a:lnTo>
                    <a:pt x="910" y="1009"/>
                  </a:lnTo>
                  <a:lnTo>
                    <a:pt x="904" y="1063"/>
                  </a:lnTo>
                  <a:lnTo>
                    <a:pt x="897" y="1114"/>
                  </a:lnTo>
                  <a:lnTo>
                    <a:pt x="890" y="1160"/>
                  </a:lnTo>
                  <a:lnTo>
                    <a:pt x="882" y="1202"/>
                  </a:lnTo>
                  <a:lnTo>
                    <a:pt x="875" y="1240"/>
                  </a:lnTo>
                  <a:lnTo>
                    <a:pt x="868" y="1275"/>
                  </a:lnTo>
                  <a:lnTo>
                    <a:pt x="861" y="1306"/>
                  </a:lnTo>
                  <a:lnTo>
                    <a:pt x="854" y="1333"/>
                  </a:lnTo>
                  <a:lnTo>
                    <a:pt x="847" y="1357"/>
                  </a:lnTo>
                  <a:lnTo>
                    <a:pt x="843" y="1368"/>
                  </a:lnTo>
                  <a:lnTo>
                    <a:pt x="840" y="1378"/>
                  </a:lnTo>
                  <a:lnTo>
                    <a:pt x="833" y="1395"/>
                  </a:lnTo>
                  <a:lnTo>
                    <a:pt x="830" y="1403"/>
                  </a:lnTo>
                  <a:lnTo>
                    <a:pt x="826" y="1410"/>
                  </a:lnTo>
                  <a:lnTo>
                    <a:pt x="823" y="1415"/>
                  </a:lnTo>
                  <a:lnTo>
                    <a:pt x="820" y="1421"/>
                  </a:lnTo>
                  <a:lnTo>
                    <a:pt x="809" y="1437"/>
                  </a:lnTo>
                  <a:lnTo>
                    <a:pt x="798" y="1452"/>
                  </a:lnTo>
                  <a:lnTo>
                    <a:pt x="791" y="1460"/>
                  </a:lnTo>
                  <a:lnTo>
                    <a:pt x="785" y="1467"/>
                  </a:lnTo>
                  <a:lnTo>
                    <a:pt x="779" y="1473"/>
                  </a:lnTo>
                  <a:lnTo>
                    <a:pt x="773" y="1480"/>
                  </a:lnTo>
                  <a:lnTo>
                    <a:pt x="766" y="1486"/>
                  </a:lnTo>
                  <a:lnTo>
                    <a:pt x="760" y="1492"/>
                  </a:lnTo>
                  <a:lnTo>
                    <a:pt x="746" y="1503"/>
                  </a:lnTo>
                  <a:lnTo>
                    <a:pt x="732" y="1513"/>
                  </a:lnTo>
                  <a:lnTo>
                    <a:pt x="724" y="1517"/>
                  </a:lnTo>
                  <a:lnTo>
                    <a:pt x="717" y="1522"/>
                  </a:lnTo>
                  <a:lnTo>
                    <a:pt x="701" y="1529"/>
                  </a:lnTo>
                  <a:lnTo>
                    <a:pt x="694" y="1533"/>
                  </a:lnTo>
                  <a:lnTo>
                    <a:pt x="686" y="1536"/>
                  </a:lnTo>
                  <a:lnTo>
                    <a:pt x="669" y="1542"/>
                  </a:lnTo>
                  <a:lnTo>
                    <a:pt x="661" y="1544"/>
                  </a:lnTo>
                  <a:lnTo>
                    <a:pt x="652" y="1546"/>
                  </a:lnTo>
                  <a:lnTo>
                    <a:pt x="635" y="1550"/>
                  </a:lnTo>
                  <a:lnTo>
                    <a:pt x="616" y="1552"/>
                  </a:lnTo>
                  <a:lnTo>
                    <a:pt x="598" y="1554"/>
                  </a:lnTo>
                  <a:lnTo>
                    <a:pt x="578" y="1554"/>
                  </a:lnTo>
                  <a:lnTo>
                    <a:pt x="565" y="1554"/>
                  </a:lnTo>
                  <a:lnTo>
                    <a:pt x="549" y="1552"/>
                  </a:lnTo>
                  <a:lnTo>
                    <a:pt x="541" y="1550"/>
                  </a:lnTo>
                  <a:lnTo>
                    <a:pt x="533" y="1548"/>
                  </a:lnTo>
                  <a:lnTo>
                    <a:pt x="515" y="1543"/>
                  </a:lnTo>
                  <a:lnTo>
                    <a:pt x="506" y="1540"/>
                  </a:lnTo>
                  <a:lnTo>
                    <a:pt x="496" y="1536"/>
                  </a:lnTo>
                  <a:lnTo>
                    <a:pt x="478" y="1527"/>
                  </a:lnTo>
                  <a:lnTo>
                    <a:pt x="468" y="1522"/>
                  </a:lnTo>
                  <a:lnTo>
                    <a:pt x="459" y="1516"/>
                  </a:lnTo>
                  <a:lnTo>
                    <a:pt x="450" y="1509"/>
                  </a:lnTo>
                  <a:lnTo>
                    <a:pt x="441" y="1503"/>
                  </a:lnTo>
                  <a:lnTo>
                    <a:pt x="432" y="1495"/>
                  </a:lnTo>
                  <a:lnTo>
                    <a:pt x="423" y="1487"/>
                  </a:lnTo>
                  <a:lnTo>
                    <a:pt x="415" y="1478"/>
                  </a:lnTo>
                  <a:lnTo>
                    <a:pt x="407" y="1469"/>
                  </a:lnTo>
                  <a:lnTo>
                    <a:pt x="399" y="1459"/>
                  </a:lnTo>
                  <a:lnTo>
                    <a:pt x="392" y="1448"/>
                  </a:lnTo>
                  <a:lnTo>
                    <a:pt x="385" y="1436"/>
                  </a:lnTo>
                  <a:lnTo>
                    <a:pt x="379" y="1424"/>
                  </a:lnTo>
                  <a:lnTo>
                    <a:pt x="373" y="1411"/>
                  </a:lnTo>
                  <a:lnTo>
                    <a:pt x="368" y="1398"/>
                  </a:lnTo>
                  <a:lnTo>
                    <a:pt x="364" y="1383"/>
                  </a:lnTo>
                  <a:lnTo>
                    <a:pt x="360" y="1368"/>
                  </a:lnTo>
                  <a:lnTo>
                    <a:pt x="357" y="1352"/>
                  </a:lnTo>
                  <a:lnTo>
                    <a:pt x="355" y="1335"/>
                  </a:lnTo>
                  <a:lnTo>
                    <a:pt x="353" y="1317"/>
                  </a:lnTo>
                  <a:lnTo>
                    <a:pt x="353" y="1299"/>
                  </a:lnTo>
                  <a:lnTo>
                    <a:pt x="354" y="1281"/>
                  </a:lnTo>
                  <a:lnTo>
                    <a:pt x="356" y="1264"/>
                  </a:lnTo>
                  <a:lnTo>
                    <a:pt x="360" y="1246"/>
                  </a:lnTo>
                  <a:lnTo>
                    <a:pt x="365" y="1227"/>
                  </a:lnTo>
                  <a:lnTo>
                    <a:pt x="372" y="1209"/>
                  </a:lnTo>
                  <a:lnTo>
                    <a:pt x="380" y="1189"/>
                  </a:lnTo>
                  <a:lnTo>
                    <a:pt x="390" y="1170"/>
                  </a:lnTo>
                  <a:lnTo>
                    <a:pt x="401" y="1150"/>
                  </a:lnTo>
                  <a:lnTo>
                    <a:pt x="414" y="1130"/>
                  </a:lnTo>
                  <a:lnTo>
                    <a:pt x="428" y="1109"/>
                  </a:lnTo>
                  <a:lnTo>
                    <a:pt x="444" y="1088"/>
                  </a:lnTo>
                  <a:lnTo>
                    <a:pt x="452" y="1077"/>
                  </a:lnTo>
                  <a:lnTo>
                    <a:pt x="461" y="1066"/>
                  </a:lnTo>
                  <a:lnTo>
                    <a:pt x="470" y="1055"/>
                  </a:lnTo>
                  <a:lnTo>
                    <a:pt x="479" y="1044"/>
                  </a:lnTo>
                  <a:lnTo>
                    <a:pt x="499" y="1022"/>
                  </a:lnTo>
                  <a:lnTo>
                    <a:pt x="520" y="1000"/>
                  </a:lnTo>
                  <a:lnTo>
                    <a:pt x="542" y="977"/>
                  </a:lnTo>
                  <a:lnTo>
                    <a:pt x="551" y="978"/>
                  </a:lnTo>
                  <a:lnTo>
                    <a:pt x="573" y="977"/>
                  </a:lnTo>
                  <a:lnTo>
                    <a:pt x="585" y="976"/>
                  </a:lnTo>
                  <a:lnTo>
                    <a:pt x="596" y="974"/>
                  </a:lnTo>
                  <a:lnTo>
                    <a:pt x="608" y="972"/>
                  </a:lnTo>
                  <a:lnTo>
                    <a:pt x="619" y="970"/>
                  </a:lnTo>
                  <a:lnTo>
                    <a:pt x="643" y="963"/>
                  </a:lnTo>
                  <a:lnTo>
                    <a:pt x="654" y="959"/>
                  </a:lnTo>
                  <a:lnTo>
                    <a:pt x="666" y="954"/>
                  </a:lnTo>
                  <a:lnTo>
                    <a:pt x="678" y="949"/>
                  </a:lnTo>
                  <a:lnTo>
                    <a:pt x="690" y="944"/>
                  </a:lnTo>
                  <a:lnTo>
                    <a:pt x="702" y="937"/>
                  </a:lnTo>
                  <a:lnTo>
                    <a:pt x="714" y="931"/>
                  </a:lnTo>
                  <a:lnTo>
                    <a:pt x="726" y="924"/>
                  </a:lnTo>
                  <a:lnTo>
                    <a:pt x="738" y="916"/>
                  </a:lnTo>
                  <a:lnTo>
                    <a:pt x="762" y="900"/>
                  </a:lnTo>
                  <a:lnTo>
                    <a:pt x="786" y="881"/>
                  </a:lnTo>
                  <a:lnTo>
                    <a:pt x="799" y="871"/>
                  </a:lnTo>
                  <a:lnTo>
                    <a:pt x="811" y="861"/>
                  </a:lnTo>
                  <a:lnTo>
                    <a:pt x="836" y="839"/>
                  </a:lnTo>
                  <a:lnTo>
                    <a:pt x="861" y="814"/>
                  </a:lnTo>
                  <a:lnTo>
                    <a:pt x="886" y="788"/>
                  </a:lnTo>
                  <a:lnTo>
                    <a:pt x="899" y="774"/>
                  </a:lnTo>
                  <a:lnTo>
                    <a:pt x="912" y="760"/>
                  </a:lnTo>
                  <a:lnTo>
                    <a:pt x="925" y="745"/>
                  </a:lnTo>
                  <a:lnTo>
                    <a:pt x="938" y="729"/>
                  </a:lnTo>
                  <a:lnTo>
                    <a:pt x="929" y="821"/>
                  </a:lnTo>
                  <a:close/>
                  <a:moveTo>
                    <a:pt x="987" y="304"/>
                  </a:moveTo>
                  <a:lnTo>
                    <a:pt x="986" y="316"/>
                  </a:lnTo>
                  <a:lnTo>
                    <a:pt x="984" y="328"/>
                  </a:lnTo>
                  <a:lnTo>
                    <a:pt x="979" y="352"/>
                  </a:lnTo>
                  <a:lnTo>
                    <a:pt x="973" y="376"/>
                  </a:lnTo>
                  <a:lnTo>
                    <a:pt x="967" y="399"/>
                  </a:lnTo>
                  <a:lnTo>
                    <a:pt x="959" y="423"/>
                  </a:lnTo>
                  <a:lnTo>
                    <a:pt x="950" y="445"/>
                  </a:lnTo>
                  <a:lnTo>
                    <a:pt x="941" y="468"/>
                  </a:lnTo>
                  <a:lnTo>
                    <a:pt x="930" y="490"/>
                  </a:lnTo>
                  <a:lnTo>
                    <a:pt x="924" y="501"/>
                  </a:lnTo>
                  <a:lnTo>
                    <a:pt x="918" y="512"/>
                  </a:lnTo>
                  <a:lnTo>
                    <a:pt x="906" y="534"/>
                  </a:lnTo>
                  <a:lnTo>
                    <a:pt x="899" y="544"/>
                  </a:lnTo>
                  <a:lnTo>
                    <a:pt x="892" y="555"/>
                  </a:lnTo>
                  <a:lnTo>
                    <a:pt x="877" y="576"/>
                  </a:lnTo>
                  <a:lnTo>
                    <a:pt x="862" y="596"/>
                  </a:lnTo>
                  <a:lnTo>
                    <a:pt x="845" y="616"/>
                  </a:lnTo>
                  <a:lnTo>
                    <a:pt x="828" y="636"/>
                  </a:lnTo>
                  <a:lnTo>
                    <a:pt x="810" y="656"/>
                  </a:lnTo>
                  <a:lnTo>
                    <a:pt x="793" y="672"/>
                  </a:lnTo>
                  <a:lnTo>
                    <a:pt x="778" y="687"/>
                  </a:lnTo>
                  <a:lnTo>
                    <a:pt x="763" y="699"/>
                  </a:lnTo>
                  <a:lnTo>
                    <a:pt x="750" y="711"/>
                  </a:lnTo>
                  <a:lnTo>
                    <a:pt x="737" y="721"/>
                  </a:lnTo>
                  <a:lnTo>
                    <a:pt x="725" y="729"/>
                  </a:lnTo>
                  <a:lnTo>
                    <a:pt x="714" y="736"/>
                  </a:lnTo>
                  <a:lnTo>
                    <a:pt x="703" y="743"/>
                  </a:lnTo>
                  <a:lnTo>
                    <a:pt x="694" y="748"/>
                  </a:lnTo>
                  <a:lnTo>
                    <a:pt x="685" y="752"/>
                  </a:lnTo>
                  <a:lnTo>
                    <a:pt x="677" y="755"/>
                  </a:lnTo>
                  <a:lnTo>
                    <a:pt x="670" y="757"/>
                  </a:lnTo>
                  <a:lnTo>
                    <a:pt x="663" y="759"/>
                  </a:lnTo>
                  <a:lnTo>
                    <a:pt x="657" y="760"/>
                  </a:lnTo>
                  <a:lnTo>
                    <a:pt x="648" y="761"/>
                  </a:lnTo>
                  <a:lnTo>
                    <a:pt x="644" y="760"/>
                  </a:lnTo>
                  <a:lnTo>
                    <a:pt x="641" y="759"/>
                  </a:lnTo>
                  <a:lnTo>
                    <a:pt x="639" y="756"/>
                  </a:lnTo>
                  <a:lnTo>
                    <a:pt x="636" y="753"/>
                  </a:lnTo>
                  <a:lnTo>
                    <a:pt x="634" y="749"/>
                  </a:lnTo>
                  <a:lnTo>
                    <a:pt x="633" y="744"/>
                  </a:lnTo>
                  <a:lnTo>
                    <a:pt x="630" y="734"/>
                  </a:lnTo>
                  <a:lnTo>
                    <a:pt x="629" y="729"/>
                  </a:lnTo>
                  <a:lnTo>
                    <a:pt x="629" y="723"/>
                  </a:lnTo>
                  <a:lnTo>
                    <a:pt x="628" y="712"/>
                  </a:lnTo>
                  <a:lnTo>
                    <a:pt x="628" y="692"/>
                  </a:lnTo>
                  <a:lnTo>
                    <a:pt x="629" y="667"/>
                  </a:lnTo>
                  <a:lnTo>
                    <a:pt x="630" y="641"/>
                  </a:lnTo>
                  <a:lnTo>
                    <a:pt x="632" y="616"/>
                  </a:lnTo>
                  <a:lnTo>
                    <a:pt x="635" y="592"/>
                  </a:lnTo>
                  <a:lnTo>
                    <a:pt x="638" y="568"/>
                  </a:lnTo>
                  <a:lnTo>
                    <a:pt x="642" y="545"/>
                  </a:lnTo>
                  <a:lnTo>
                    <a:pt x="647" y="522"/>
                  </a:lnTo>
                  <a:lnTo>
                    <a:pt x="649" y="510"/>
                  </a:lnTo>
                  <a:lnTo>
                    <a:pt x="652" y="499"/>
                  </a:lnTo>
                  <a:lnTo>
                    <a:pt x="657" y="478"/>
                  </a:lnTo>
                  <a:lnTo>
                    <a:pt x="664" y="456"/>
                  </a:lnTo>
                  <a:lnTo>
                    <a:pt x="671" y="436"/>
                  </a:lnTo>
                  <a:lnTo>
                    <a:pt x="678" y="415"/>
                  </a:lnTo>
                  <a:lnTo>
                    <a:pt x="682" y="406"/>
                  </a:lnTo>
                  <a:lnTo>
                    <a:pt x="687" y="396"/>
                  </a:lnTo>
                  <a:lnTo>
                    <a:pt x="695" y="377"/>
                  </a:lnTo>
                  <a:lnTo>
                    <a:pt x="705" y="358"/>
                  </a:lnTo>
                  <a:lnTo>
                    <a:pt x="715" y="341"/>
                  </a:lnTo>
                  <a:lnTo>
                    <a:pt x="724" y="325"/>
                  </a:lnTo>
                  <a:lnTo>
                    <a:pt x="734" y="311"/>
                  </a:lnTo>
                  <a:lnTo>
                    <a:pt x="744" y="297"/>
                  </a:lnTo>
                  <a:lnTo>
                    <a:pt x="748" y="291"/>
                  </a:lnTo>
                  <a:lnTo>
                    <a:pt x="753" y="285"/>
                  </a:lnTo>
                  <a:lnTo>
                    <a:pt x="763" y="274"/>
                  </a:lnTo>
                  <a:lnTo>
                    <a:pt x="774" y="263"/>
                  </a:lnTo>
                  <a:lnTo>
                    <a:pt x="784" y="254"/>
                  </a:lnTo>
                  <a:lnTo>
                    <a:pt x="795" y="246"/>
                  </a:lnTo>
                  <a:lnTo>
                    <a:pt x="805" y="238"/>
                  </a:lnTo>
                  <a:lnTo>
                    <a:pt x="816" y="232"/>
                  </a:lnTo>
                  <a:lnTo>
                    <a:pt x="827" y="227"/>
                  </a:lnTo>
                  <a:lnTo>
                    <a:pt x="838" y="222"/>
                  </a:lnTo>
                  <a:lnTo>
                    <a:pt x="850" y="219"/>
                  </a:lnTo>
                  <a:lnTo>
                    <a:pt x="861" y="216"/>
                  </a:lnTo>
                  <a:lnTo>
                    <a:pt x="873" y="214"/>
                  </a:lnTo>
                  <a:lnTo>
                    <a:pt x="885" y="213"/>
                  </a:lnTo>
                  <a:lnTo>
                    <a:pt x="901" y="213"/>
                  </a:lnTo>
                  <a:lnTo>
                    <a:pt x="917" y="214"/>
                  </a:lnTo>
                  <a:lnTo>
                    <a:pt x="933" y="215"/>
                  </a:lnTo>
                  <a:lnTo>
                    <a:pt x="948" y="217"/>
                  </a:lnTo>
                  <a:lnTo>
                    <a:pt x="962" y="220"/>
                  </a:lnTo>
                  <a:lnTo>
                    <a:pt x="975" y="223"/>
                  </a:lnTo>
                  <a:lnTo>
                    <a:pt x="998" y="229"/>
                  </a:lnTo>
                  <a:lnTo>
                    <a:pt x="991" y="277"/>
                  </a:lnTo>
                  <a:lnTo>
                    <a:pt x="987" y="304"/>
                  </a:lnTo>
                  <a:close/>
                  <a:moveTo>
                    <a:pt x="3204" y="299"/>
                  </a:moveTo>
                  <a:lnTo>
                    <a:pt x="3200" y="325"/>
                  </a:lnTo>
                  <a:lnTo>
                    <a:pt x="3195" y="350"/>
                  </a:lnTo>
                  <a:lnTo>
                    <a:pt x="3192" y="362"/>
                  </a:lnTo>
                  <a:lnTo>
                    <a:pt x="3189" y="374"/>
                  </a:lnTo>
                  <a:lnTo>
                    <a:pt x="3182" y="399"/>
                  </a:lnTo>
                  <a:lnTo>
                    <a:pt x="3174" y="422"/>
                  </a:lnTo>
                  <a:lnTo>
                    <a:pt x="3165" y="446"/>
                  </a:lnTo>
                  <a:lnTo>
                    <a:pt x="3156" y="469"/>
                  </a:lnTo>
                  <a:lnTo>
                    <a:pt x="3145" y="491"/>
                  </a:lnTo>
                  <a:lnTo>
                    <a:pt x="3134" y="513"/>
                  </a:lnTo>
                  <a:lnTo>
                    <a:pt x="3122" y="535"/>
                  </a:lnTo>
                  <a:lnTo>
                    <a:pt x="3109" y="557"/>
                  </a:lnTo>
                  <a:lnTo>
                    <a:pt x="3095" y="577"/>
                  </a:lnTo>
                  <a:lnTo>
                    <a:pt x="3080" y="598"/>
                  </a:lnTo>
                  <a:lnTo>
                    <a:pt x="3072" y="608"/>
                  </a:lnTo>
                  <a:lnTo>
                    <a:pt x="3064" y="618"/>
                  </a:lnTo>
                  <a:lnTo>
                    <a:pt x="3056" y="628"/>
                  </a:lnTo>
                  <a:lnTo>
                    <a:pt x="3048" y="638"/>
                  </a:lnTo>
                  <a:lnTo>
                    <a:pt x="3031" y="657"/>
                  </a:lnTo>
                  <a:lnTo>
                    <a:pt x="3015" y="673"/>
                  </a:lnTo>
                  <a:lnTo>
                    <a:pt x="3000" y="688"/>
                  </a:lnTo>
                  <a:lnTo>
                    <a:pt x="2986" y="701"/>
                  </a:lnTo>
                  <a:lnTo>
                    <a:pt x="2972" y="712"/>
                  </a:lnTo>
                  <a:lnTo>
                    <a:pt x="2960" y="722"/>
                  </a:lnTo>
                  <a:lnTo>
                    <a:pt x="2948" y="731"/>
                  </a:lnTo>
                  <a:lnTo>
                    <a:pt x="2937" y="738"/>
                  </a:lnTo>
                  <a:lnTo>
                    <a:pt x="2927" y="744"/>
                  </a:lnTo>
                  <a:lnTo>
                    <a:pt x="2917" y="749"/>
                  </a:lnTo>
                  <a:lnTo>
                    <a:pt x="2909" y="754"/>
                  </a:lnTo>
                  <a:lnTo>
                    <a:pt x="2901" y="757"/>
                  </a:lnTo>
                  <a:lnTo>
                    <a:pt x="2893" y="759"/>
                  </a:lnTo>
                  <a:lnTo>
                    <a:pt x="2887" y="761"/>
                  </a:lnTo>
                  <a:lnTo>
                    <a:pt x="2881" y="762"/>
                  </a:lnTo>
                  <a:lnTo>
                    <a:pt x="2871" y="763"/>
                  </a:lnTo>
                  <a:lnTo>
                    <a:pt x="2868" y="762"/>
                  </a:lnTo>
                  <a:lnTo>
                    <a:pt x="2865" y="761"/>
                  </a:lnTo>
                  <a:lnTo>
                    <a:pt x="2862" y="759"/>
                  </a:lnTo>
                  <a:lnTo>
                    <a:pt x="2860" y="756"/>
                  </a:lnTo>
                  <a:lnTo>
                    <a:pt x="2858" y="752"/>
                  </a:lnTo>
                  <a:lnTo>
                    <a:pt x="2856" y="748"/>
                  </a:lnTo>
                  <a:lnTo>
                    <a:pt x="2853" y="738"/>
                  </a:lnTo>
                  <a:lnTo>
                    <a:pt x="2852" y="733"/>
                  </a:lnTo>
                  <a:lnTo>
                    <a:pt x="2852" y="727"/>
                  </a:lnTo>
                  <a:lnTo>
                    <a:pt x="2850" y="716"/>
                  </a:lnTo>
                  <a:lnTo>
                    <a:pt x="2850" y="695"/>
                  </a:lnTo>
                  <a:lnTo>
                    <a:pt x="2850" y="669"/>
                  </a:lnTo>
                  <a:lnTo>
                    <a:pt x="2851" y="643"/>
                  </a:lnTo>
                  <a:lnTo>
                    <a:pt x="2853" y="618"/>
                  </a:lnTo>
                  <a:lnTo>
                    <a:pt x="2855" y="593"/>
                  </a:lnTo>
                  <a:lnTo>
                    <a:pt x="2858" y="569"/>
                  </a:lnTo>
                  <a:lnTo>
                    <a:pt x="2862" y="546"/>
                  </a:lnTo>
                  <a:lnTo>
                    <a:pt x="2866" y="523"/>
                  </a:lnTo>
                  <a:lnTo>
                    <a:pt x="2871" y="501"/>
                  </a:lnTo>
                  <a:lnTo>
                    <a:pt x="2876" y="479"/>
                  </a:lnTo>
                  <a:lnTo>
                    <a:pt x="2882" y="457"/>
                  </a:lnTo>
                  <a:lnTo>
                    <a:pt x="2889" y="437"/>
                  </a:lnTo>
                  <a:lnTo>
                    <a:pt x="2896" y="416"/>
                  </a:lnTo>
                  <a:lnTo>
                    <a:pt x="2903" y="397"/>
                  </a:lnTo>
                  <a:lnTo>
                    <a:pt x="2911" y="378"/>
                  </a:lnTo>
                  <a:lnTo>
                    <a:pt x="2920" y="359"/>
                  </a:lnTo>
                  <a:lnTo>
                    <a:pt x="2929" y="341"/>
                  </a:lnTo>
                  <a:lnTo>
                    <a:pt x="2938" y="325"/>
                  </a:lnTo>
                  <a:lnTo>
                    <a:pt x="2942" y="318"/>
                  </a:lnTo>
                  <a:lnTo>
                    <a:pt x="2947" y="311"/>
                  </a:lnTo>
                  <a:lnTo>
                    <a:pt x="2955" y="298"/>
                  </a:lnTo>
                  <a:lnTo>
                    <a:pt x="2965" y="286"/>
                  </a:lnTo>
                  <a:lnTo>
                    <a:pt x="2974" y="276"/>
                  </a:lnTo>
                  <a:lnTo>
                    <a:pt x="2983" y="266"/>
                  </a:lnTo>
                  <a:lnTo>
                    <a:pt x="2993" y="257"/>
                  </a:lnTo>
                  <a:lnTo>
                    <a:pt x="3002" y="249"/>
                  </a:lnTo>
                  <a:lnTo>
                    <a:pt x="3012" y="241"/>
                  </a:lnTo>
                  <a:lnTo>
                    <a:pt x="3022" y="235"/>
                  </a:lnTo>
                  <a:lnTo>
                    <a:pt x="3032" y="230"/>
                  </a:lnTo>
                  <a:lnTo>
                    <a:pt x="3042" y="225"/>
                  </a:lnTo>
                  <a:lnTo>
                    <a:pt x="3052" y="221"/>
                  </a:lnTo>
                  <a:lnTo>
                    <a:pt x="3062" y="217"/>
                  </a:lnTo>
                  <a:lnTo>
                    <a:pt x="3071" y="214"/>
                  </a:lnTo>
                  <a:lnTo>
                    <a:pt x="3081" y="212"/>
                  </a:lnTo>
                  <a:lnTo>
                    <a:pt x="3101" y="209"/>
                  </a:lnTo>
                  <a:lnTo>
                    <a:pt x="3110" y="208"/>
                  </a:lnTo>
                  <a:lnTo>
                    <a:pt x="3120" y="208"/>
                  </a:lnTo>
                  <a:lnTo>
                    <a:pt x="3129" y="208"/>
                  </a:lnTo>
                  <a:lnTo>
                    <a:pt x="3139" y="208"/>
                  </a:lnTo>
                  <a:lnTo>
                    <a:pt x="3156" y="209"/>
                  </a:lnTo>
                  <a:lnTo>
                    <a:pt x="3165" y="210"/>
                  </a:lnTo>
                  <a:lnTo>
                    <a:pt x="3174" y="212"/>
                  </a:lnTo>
                  <a:lnTo>
                    <a:pt x="3190" y="214"/>
                  </a:lnTo>
                  <a:lnTo>
                    <a:pt x="3219" y="219"/>
                  </a:lnTo>
                  <a:lnTo>
                    <a:pt x="3217" y="230"/>
                  </a:lnTo>
                  <a:lnTo>
                    <a:pt x="3215" y="242"/>
                  </a:lnTo>
                  <a:lnTo>
                    <a:pt x="3211" y="268"/>
                  </a:lnTo>
                  <a:lnTo>
                    <a:pt x="3204" y="2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400" b="1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F09B8862-53E9-4C6B-A2D6-E402FA2FE0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8944" y="2705939"/>
              <a:ext cx="376873" cy="533481"/>
            </a:xfrm>
            <a:custGeom>
              <a:avLst/>
              <a:gdLst>
                <a:gd name="T0" fmla="*/ 698 w 901"/>
                <a:gd name="T1" fmla="*/ 227 h 1274"/>
                <a:gd name="T2" fmla="*/ 760 w 901"/>
                <a:gd name="T3" fmla="*/ 277 h 1274"/>
                <a:gd name="T4" fmla="*/ 813 w 901"/>
                <a:gd name="T5" fmla="*/ 288 h 1274"/>
                <a:gd name="T6" fmla="*/ 855 w 901"/>
                <a:gd name="T7" fmla="*/ 274 h 1274"/>
                <a:gd name="T8" fmla="*/ 887 w 901"/>
                <a:gd name="T9" fmla="*/ 234 h 1274"/>
                <a:gd name="T10" fmla="*/ 900 w 901"/>
                <a:gd name="T11" fmla="*/ 154 h 1274"/>
                <a:gd name="T12" fmla="*/ 882 w 901"/>
                <a:gd name="T13" fmla="*/ 97 h 1274"/>
                <a:gd name="T14" fmla="*/ 837 w 901"/>
                <a:gd name="T15" fmla="*/ 54 h 1274"/>
                <a:gd name="T16" fmla="*/ 730 w 901"/>
                <a:gd name="T17" fmla="*/ 14 h 1274"/>
                <a:gd name="T18" fmla="*/ 601 w 901"/>
                <a:gd name="T19" fmla="*/ 0 h 1274"/>
                <a:gd name="T20" fmla="*/ 475 w 901"/>
                <a:gd name="T21" fmla="*/ 15 h 1274"/>
                <a:gd name="T22" fmla="*/ 367 w 901"/>
                <a:gd name="T23" fmla="*/ 57 h 1274"/>
                <a:gd name="T24" fmla="*/ 296 w 901"/>
                <a:gd name="T25" fmla="*/ 107 h 1274"/>
                <a:gd name="T26" fmla="*/ 238 w 901"/>
                <a:gd name="T27" fmla="*/ 171 h 1274"/>
                <a:gd name="T28" fmla="*/ 196 w 901"/>
                <a:gd name="T29" fmla="*/ 251 h 1274"/>
                <a:gd name="T30" fmla="*/ 179 w 901"/>
                <a:gd name="T31" fmla="*/ 341 h 1274"/>
                <a:gd name="T32" fmla="*/ 188 w 901"/>
                <a:gd name="T33" fmla="*/ 433 h 1274"/>
                <a:gd name="T34" fmla="*/ 216 w 901"/>
                <a:gd name="T35" fmla="*/ 499 h 1274"/>
                <a:gd name="T36" fmla="*/ 272 w 901"/>
                <a:gd name="T37" fmla="*/ 569 h 1274"/>
                <a:gd name="T38" fmla="*/ 398 w 901"/>
                <a:gd name="T39" fmla="*/ 682 h 1274"/>
                <a:gd name="T40" fmla="*/ 573 w 901"/>
                <a:gd name="T41" fmla="*/ 835 h 1274"/>
                <a:gd name="T42" fmla="*/ 616 w 901"/>
                <a:gd name="T43" fmla="*/ 905 h 1274"/>
                <a:gd name="T44" fmla="*/ 628 w 901"/>
                <a:gd name="T45" fmla="*/ 985 h 1274"/>
                <a:gd name="T46" fmla="*/ 616 w 901"/>
                <a:gd name="T47" fmla="*/ 1029 h 1274"/>
                <a:gd name="T48" fmla="*/ 578 w 901"/>
                <a:gd name="T49" fmla="*/ 1078 h 1274"/>
                <a:gd name="T50" fmla="*/ 517 w 901"/>
                <a:gd name="T51" fmla="*/ 1113 h 1274"/>
                <a:gd name="T52" fmla="*/ 449 w 901"/>
                <a:gd name="T53" fmla="*/ 1124 h 1274"/>
                <a:gd name="T54" fmla="*/ 371 w 901"/>
                <a:gd name="T55" fmla="*/ 1112 h 1274"/>
                <a:gd name="T56" fmla="*/ 314 w 901"/>
                <a:gd name="T57" fmla="*/ 1079 h 1274"/>
                <a:gd name="T58" fmla="*/ 259 w 901"/>
                <a:gd name="T59" fmla="*/ 1007 h 1274"/>
                <a:gd name="T60" fmla="*/ 219 w 901"/>
                <a:gd name="T61" fmla="*/ 929 h 1274"/>
                <a:gd name="T62" fmla="*/ 184 w 901"/>
                <a:gd name="T63" fmla="*/ 901 h 1274"/>
                <a:gd name="T64" fmla="*/ 131 w 901"/>
                <a:gd name="T65" fmla="*/ 888 h 1274"/>
                <a:gd name="T66" fmla="*/ 83 w 901"/>
                <a:gd name="T67" fmla="*/ 898 h 1274"/>
                <a:gd name="T68" fmla="*/ 37 w 901"/>
                <a:gd name="T69" fmla="*/ 929 h 1274"/>
                <a:gd name="T70" fmla="*/ 6 w 901"/>
                <a:gd name="T71" fmla="*/ 978 h 1274"/>
                <a:gd name="T72" fmla="*/ 3 w 901"/>
                <a:gd name="T73" fmla="*/ 1044 h 1274"/>
                <a:gd name="T74" fmla="*/ 35 w 901"/>
                <a:gd name="T75" fmla="*/ 1119 h 1274"/>
                <a:gd name="T76" fmla="*/ 90 w 901"/>
                <a:gd name="T77" fmla="*/ 1184 h 1274"/>
                <a:gd name="T78" fmla="*/ 176 w 901"/>
                <a:gd name="T79" fmla="*/ 1240 h 1274"/>
                <a:gd name="T80" fmla="*/ 271 w 901"/>
                <a:gd name="T81" fmla="*/ 1268 h 1274"/>
                <a:gd name="T82" fmla="*/ 400 w 901"/>
                <a:gd name="T83" fmla="*/ 1273 h 1274"/>
                <a:gd name="T84" fmla="*/ 539 w 901"/>
                <a:gd name="T85" fmla="*/ 1247 h 1274"/>
                <a:gd name="T86" fmla="*/ 678 w 901"/>
                <a:gd name="T87" fmla="*/ 1178 h 1274"/>
                <a:gd name="T88" fmla="*/ 772 w 901"/>
                <a:gd name="T89" fmla="*/ 1087 h 1274"/>
                <a:gd name="T90" fmla="*/ 817 w 901"/>
                <a:gd name="T91" fmla="*/ 1008 h 1274"/>
                <a:gd name="T92" fmla="*/ 839 w 901"/>
                <a:gd name="T93" fmla="*/ 920 h 1274"/>
                <a:gd name="T94" fmla="*/ 835 w 901"/>
                <a:gd name="T95" fmla="*/ 819 h 1274"/>
                <a:gd name="T96" fmla="*/ 808 w 901"/>
                <a:gd name="T97" fmla="*/ 743 h 1274"/>
                <a:gd name="T98" fmla="*/ 760 w 901"/>
                <a:gd name="T99" fmla="*/ 670 h 1274"/>
                <a:gd name="T100" fmla="*/ 670 w 901"/>
                <a:gd name="T101" fmla="*/ 582 h 1274"/>
                <a:gd name="T102" fmla="*/ 425 w 901"/>
                <a:gd name="T103" fmla="*/ 369 h 1274"/>
                <a:gd name="T104" fmla="*/ 389 w 901"/>
                <a:gd name="T105" fmla="*/ 314 h 1274"/>
                <a:gd name="T106" fmla="*/ 382 w 901"/>
                <a:gd name="T107" fmla="*/ 249 h 1274"/>
                <a:gd name="T108" fmla="*/ 407 w 901"/>
                <a:gd name="T109" fmla="*/ 198 h 1274"/>
                <a:gd name="T110" fmla="*/ 456 w 901"/>
                <a:gd name="T111" fmla="*/ 157 h 1274"/>
                <a:gd name="T112" fmla="*/ 520 w 901"/>
                <a:gd name="T113" fmla="*/ 139 h 1274"/>
                <a:gd name="T114" fmla="*/ 597 w 901"/>
                <a:gd name="T115" fmla="*/ 152 h 127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901"/>
                <a:gd name="T175" fmla="*/ 0 h 1274"/>
                <a:gd name="T176" fmla="*/ 901 w 901"/>
                <a:gd name="T177" fmla="*/ 1274 h 127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901" h="1274">
                  <a:moveTo>
                    <a:pt x="654" y="183"/>
                  </a:moveTo>
                  <a:lnTo>
                    <a:pt x="660" y="188"/>
                  </a:lnTo>
                  <a:lnTo>
                    <a:pt x="665" y="192"/>
                  </a:lnTo>
                  <a:lnTo>
                    <a:pt x="671" y="198"/>
                  </a:lnTo>
                  <a:lnTo>
                    <a:pt x="676" y="203"/>
                  </a:lnTo>
                  <a:lnTo>
                    <a:pt x="687" y="215"/>
                  </a:lnTo>
                  <a:lnTo>
                    <a:pt x="698" y="227"/>
                  </a:lnTo>
                  <a:lnTo>
                    <a:pt x="709" y="239"/>
                  </a:lnTo>
                  <a:lnTo>
                    <a:pt x="720" y="251"/>
                  </a:lnTo>
                  <a:lnTo>
                    <a:pt x="728" y="256"/>
                  </a:lnTo>
                  <a:lnTo>
                    <a:pt x="734" y="261"/>
                  </a:lnTo>
                  <a:lnTo>
                    <a:pt x="741" y="266"/>
                  </a:lnTo>
                  <a:lnTo>
                    <a:pt x="748" y="271"/>
                  </a:lnTo>
                  <a:lnTo>
                    <a:pt x="760" y="277"/>
                  </a:lnTo>
                  <a:lnTo>
                    <a:pt x="771" y="282"/>
                  </a:lnTo>
                  <a:lnTo>
                    <a:pt x="777" y="284"/>
                  </a:lnTo>
                  <a:lnTo>
                    <a:pt x="782" y="285"/>
                  </a:lnTo>
                  <a:lnTo>
                    <a:pt x="787" y="286"/>
                  </a:lnTo>
                  <a:lnTo>
                    <a:pt x="793" y="287"/>
                  </a:lnTo>
                  <a:lnTo>
                    <a:pt x="803" y="288"/>
                  </a:lnTo>
                  <a:lnTo>
                    <a:pt x="813" y="288"/>
                  </a:lnTo>
                  <a:lnTo>
                    <a:pt x="822" y="287"/>
                  </a:lnTo>
                  <a:lnTo>
                    <a:pt x="831" y="285"/>
                  </a:lnTo>
                  <a:lnTo>
                    <a:pt x="835" y="284"/>
                  </a:lnTo>
                  <a:lnTo>
                    <a:pt x="840" y="282"/>
                  </a:lnTo>
                  <a:lnTo>
                    <a:pt x="844" y="280"/>
                  </a:lnTo>
                  <a:lnTo>
                    <a:pt x="848" y="278"/>
                  </a:lnTo>
                  <a:lnTo>
                    <a:pt x="855" y="274"/>
                  </a:lnTo>
                  <a:lnTo>
                    <a:pt x="858" y="272"/>
                  </a:lnTo>
                  <a:lnTo>
                    <a:pt x="862" y="269"/>
                  </a:lnTo>
                  <a:lnTo>
                    <a:pt x="868" y="263"/>
                  </a:lnTo>
                  <a:lnTo>
                    <a:pt x="874" y="257"/>
                  </a:lnTo>
                  <a:lnTo>
                    <a:pt x="879" y="251"/>
                  </a:lnTo>
                  <a:lnTo>
                    <a:pt x="883" y="244"/>
                  </a:lnTo>
                  <a:lnTo>
                    <a:pt x="887" y="234"/>
                  </a:lnTo>
                  <a:lnTo>
                    <a:pt x="892" y="224"/>
                  </a:lnTo>
                  <a:lnTo>
                    <a:pt x="895" y="213"/>
                  </a:lnTo>
                  <a:lnTo>
                    <a:pt x="898" y="202"/>
                  </a:lnTo>
                  <a:lnTo>
                    <a:pt x="900" y="190"/>
                  </a:lnTo>
                  <a:lnTo>
                    <a:pt x="901" y="179"/>
                  </a:lnTo>
                  <a:lnTo>
                    <a:pt x="901" y="167"/>
                  </a:lnTo>
                  <a:lnTo>
                    <a:pt x="900" y="154"/>
                  </a:lnTo>
                  <a:lnTo>
                    <a:pt x="899" y="142"/>
                  </a:lnTo>
                  <a:lnTo>
                    <a:pt x="896" y="130"/>
                  </a:lnTo>
                  <a:lnTo>
                    <a:pt x="892" y="119"/>
                  </a:lnTo>
                  <a:lnTo>
                    <a:pt x="890" y="113"/>
                  </a:lnTo>
                  <a:lnTo>
                    <a:pt x="888" y="108"/>
                  </a:lnTo>
                  <a:lnTo>
                    <a:pt x="885" y="103"/>
                  </a:lnTo>
                  <a:lnTo>
                    <a:pt x="882" y="97"/>
                  </a:lnTo>
                  <a:lnTo>
                    <a:pt x="879" y="92"/>
                  </a:lnTo>
                  <a:lnTo>
                    <a:pt x="876" y="87"/>
                  </a:lnTo>
                  <a:lnTo>
                    <a:pt x="868" y="78"/>
                  </a:lnTo>
                  <a:lnTo>
                    <a:pt x="863" y="73"/>
                  </a:lnTo>
                  <a:lnTo>
                    <a:pt x="859" y="69"/>
                  </a:lnTo>
                  <a:lnTo>
                    <a:pt x="848" y="61"/>
                  </a:lnTo>
                  <a:lnTo>
                    <a:pt x="837" y="54"/>
                  </a:lnTo>
                  <a:lnTo>
                    <a:pt x="824" y="47"/>
                  </a:lnTo>
                  <a:lnTo>
                    <a:pt x="811" y="40"/>
                  </a:lnTo>
                  <a:lnTo>
                    <a:pt x="796" y="34"/>
                  </a:lnTo>
                  <a:lnTo>
                    <a:pt x="780" y="29"/>
                  </a:lnTo>
                  <a:lnTo>
                    <a:pt x="764" y="23"/>
                  </a:lnTo>
                  <a:lnTo>
                    <a:pt x="747" y="19"/>
                  </a:lnTo>
                  <a:lnTo>
                    <a:pt x="730" y="14"/>
                  </a:lnTo>
                  <a:lnTo>
                    <a:pt x="711" y="11"/>
                  </a:lnTo>
                  <a:lnTo>
                    <a:pt x="693" y="7"/>
                  </a:lnTo>
                  <a:lnTo>
                    <a:pt x="674" y="5"/>
                  </a:lnTo>
                  <a:lnTo>
                    <a:pt x="656" y="3"/>
                  </a:lnTo>
                  <a:lnTo>
                    <a:pt x="638" y="1"/>
                  </a:lnTo>
                  <a:lnTo>
                    <a:pt x="619" y="0"/>
                  </a:lnTo>
                  <a:lnTo>
                    <a:pt x="601" y="0"/>
                  </a:lnTo>
                  <a:lnTo>
                    <a:pt x="579" y="0"/>
                  </a:lnTo>
                  <a:lnTo>
                    <a:pt x="557" y="2"/>
                  </a:lnTo>
                  <a:lnTo>
                    <a:pt x="536" y="4"/>
                  </a:lnTo>
                  <a:lnTo>
                    <a:pt x="515" y="6"/>
                  </a:lnTo>
                  <a:lnTo>
                    <a:pt x="495" y="10"/>
                  </a:lnTo>
                  <a:lnTo>
                    <a:pt x="485" y="12"/>
                  </a:lnTo>
                  <a:lnTo>
                    <a:pt x="475" y="15"/>
                  </a:lnTo>
                  <a:lnTo>
                    <a:pt x="466" y="17"/>
                  </a:lnTo>
                  <a:lnTo>
                    <a:pt x="456" y="20"/>
                  </a:lnTo>
                  <a:lnTo>
                    <a:pt x="437" y="26"/>
                  </a:lnTo>
                  <a:lnTo>
                    <a:pt x="419" y="33"/>
                  </a:lnTo>
                  <a:lnTo>
                    <a:pt x="401" y="40"/>
                  </a:lnTo>
                  <a:lnTo>
                    <a:pt x="384" y="48"/>
                  </a:lnTo>
                  <a:lnTo>
                    <a:pt x="367" y="57"/>
                  </a:lnTo>
                  <a:lnTo>
                    <a:pt x="350" y="67"/>
                  </a:lnTo>
                  <a:lnTo>
                    <a:pt x="342" y="72"/>
                  </a:lnTo>
                  <a:lnTo>
                    <a:pt x="334" y="78"/>
                  </a:lnTo>
                  <a:lnTo>
                    <a:pt x="319" y="89"/>
                  </a:lnTo>
                  <a:lnTo>
                    <a:pt x="311" y="95"/>
                  </a:lnTo>
                  <a:lnTo>
                    <a:pt x="303" y="101"/>
                  </a:lnTo>
                  <a:lnTo>
                    <a:pt x="296" y="107"/>
                  </a:lnTo>
                  <a:lnTo>
                    <a:pt x="288" y="114"/>
                  </a:lnTo>
                  <a:lnTo>
                    <a:pt x="281" y="120"/>
                  </a:lnTo>
                  <a:lnTo>
                    <a:pt x="274" y="127"/>
                  </a:lnTo>
                  <a:lnTo>
                    <a:pt x="261" y="141"/>
                  </a:lnTo>
                  <a:lnTo>
                    <a:pt x="249" y="155"/>
                  </a:lnTo>
                  <a:lnTo>
                    <a:pt x="243" y="163"/>
                  </a:lnTo>
                  <a:lnTo>
                    <a:pt x="238" y="171"/>
                  </a:lnTo>
                  <a:lnTo>
                    <a:pt x="227" y="186"/>
                  </a:lnTo>
                  <a:lnTo>
                    <a:pt x="218" y="202"/>
                  </a:lnTo>
                  <a:lnTo>
                    <a:pt x="214" y="210"/>
                  </a:lnTo>
                  <a:lnTo>
                    <a:pt x="210" y="218"/>
                  </a:lnTo>
                  <a:lnTo>
                    <a:pt x="203" y="234"/>
                  </a:lnTo>
                  <a:lnTo>
                    <a:pt x="199" y="242"/>
                  </a:lnTo>
                  <a:lnTo>
                    <a:pt x="196" y="251"/>
                  </a:lnTo>
                  <a:lnTo>
                    <a:pt x="191" y="268"/>
                  </a:lnTo>
                  <a:lnTo>
                    <a:pt x="188" y="277"/>
                  </a:lnTo>
                  <a:lnTo>
                    <a:pt x="186" y="286"/>
                  </a:lnTo>
                  <a:lnTo>
                    <a:pt x="183" y="304"/>
                  </a:lnTo>
                  <a:lnTo>
                    <a:pt x="180" y="323"/>
                  </a:lnTo>
                  <a:lnTo>
                    <a:pt x="180" y="332"/>
                  </a:lnTo>
                  <a:lnTo>
                    <a:pt x="179" y="341"/>
                  </a:lnTo>
                  <a:lnTo>
                    <a:pt x="178" y="361"/>
                  </a:lnTo>
                  <a:lnTo>
                    <a:pt x="179" y="371"/>
                  </a:lnTo>
                  <a:lnTo>
                    <a:pt x="179" y="382"/>
                  </a:lnTo>
                  <a:lnTo>
                    <a:pt x="180" y="392"/>
                  </a:lnTo>
                  <a:lnTo>
                    <a:pt x="182" y="403"/>
                  </a:lnTo>
                  <a:lnTo>
                    <a:pt x="185" y="423"/>
                  </a:lnTo>
                  <a:lnTo>
                    <a:pt x="188" y="433"/>
                  </a:lnTo>
                  <a:lnTo>
                    <a:pt x="191" y="443"/>
                  </a:lnTo>
                  <a:lnTo>
                    <a:pt x="194" y="452"/>
                  </a:lnTo>
                  <a:lnTo>
                    <a:pt x="198" y="462"/>
                  </a:lnTo>
                  <a:lnTo>
                    <a:pt x="202" y="471"/>
                  </a:lnTo>
                  <a:lnTo>
                    <a:pt x="206" y="481"/>
                  </a:lnTo>
                  <a:lnTo>
                    <a:pt x="211" y="490"/>
                  </a:lnTo>
                  <a:lnTo>
                    <a:pt x="216" y="499"/>
                  </a:lnTo>
                  <a:lnTo>
                    <a:pt x="222" y="507"/>
                  </a:lnTo>
                  <a:lnTo>
                    <a:pt x="227" y="516"/>
                  </a:lnTo>
                  <a:lnTo>
                    <a:pt x="233" y="524"/>
                  </a:lnTo>
                  <a:lnTo>
                    <a:pt x="240" y="532"/>
                  </a:lnTo>
                  <a:lnTo>
                    <a:pt x="247" y="541"/>
                  </a:lnTo>
                  <a:lnTo>
                    <a:pt x="255" y="550"/>
                  </a:lnTo>
                  <a:lnTo>
                    <a:pt x="272" y="569"/>
                  </a:lnTo>
                  <a:lnTo>
                    <a:pt x="282" y="579"/>
                  </a:lnTo>
                  <a:lnTo>
                    <a:pt x="292" y="589"/>
                  </a:lnTo>
                  <a:lnTo>
                    <a:pt x="303" y="599"/>
                  </a:lnTo>
                  <a:lnTo>
                    <a:pt x="315" y="610"/>
                  </a:lnTo>
                  <a:lnTo>
                    <a:pt x="340" y="633"/>
                  </a:lnTo>
                  <a:lnTo>
                    <a:pt x="368" y="657"/>
                  </a:lnTo>
                  <a:lnTo>
                    <a:pt x="398" y="682"/>
                  </a:lnTo>
                  <a:lnTo>
                    <a:pt x="499" y="763"/>
                  </a:lnTo>
                  <a:lnTo>
                    <a:pt x="515" y="777"/>
                  </a:lnTo>
                  <a:lnTo>
                    <a:pt x="529" y="790"/>
                  </a:lnTo>
                  <a:lnTo>
                    <a:pt x="543" y="803"/>
                  </a:lnTo>
                  <a:lnTo>
                    <a:pt x="556" y="816"/>
                  </a:lnTo>
                  <a:lnTo>
                    <a:pt x="567" y="829"/>
                  </a:lnTo>
                  <a:lnTo>
                    <a:pt x="573" y="835"/>
                  </a:lnTo>
                  <a:lnTo>
                    <a:pt x="578" y="841"/>
                  </a:lnTo>
                  <a:lnTo>
                    <a:pt x="588" y="854"/>
                  </a:lnTo>
                  <a:lnTo>
                    <a:pt x="596" y="867"/>
                  </a:lnTo>
                  <a:lnTo>
                    <a:pt x="604" y="880"/>
                  </a:lnTo>
                  <a:lnTo>
                    <a:pt x="610" y="893"/>
                  </a:lnTo>
                  <a:lnTo>
                    <a:pt x="613" y="899"/>
                  </a:lnTo>
                  <a:lnTo>
                    <a:pt x="616" y="905"/>
                  </a:lnTo>
                  <a:lnTo>
                    <a:pt x="621" y="918"/>
                  </a:lnTo>
                  <a:lnTo>
                    <a:pt x="624" y="931"/>
                  </a:lnTo>
                  <a:lnTo>
                    <a:pt x="627" y="943"/>
                  </a:lnTo>
                  <a:lnTo>
                    <a:pt x="628" y="956"/>
                  </a:lnTo>
                  <a:lnTo>
                    <a:pt x="629" y="968"/>
                  </a:lnTo>
                  <a:lnTo>
                    <a:pt x="628" y="976"/>
                  </a:lnTo>
                  <a:lnTo>
                    <a:pt x="628" y="985"/>
                  </a:lnTo>
                  <a:lnTo>
                    <a:pt x="627" y="993"/>
                  </a:lnTo>
                  <a:lnTo>
                    <a:pt x="626" y="1000"/>
                  </a:lnTo>
                  <a:lnTo>
                    <a:pt x="624" y="1008"/>
                  </a:lnTo>
                  <a:lnTo>
                    <a:pt x="623" y="1012"/>
                  </a:lnTo>
                  <a:lnTo>
                    <a:pt x="622" y="1015"/>
                  </a:lnTo>
                  <a:lnTo>
                    <a:pt x="619" y="1022"/>
                  </a:lnTo>
                  <a:lnTo>
                    <a:pt x="616" y="1029"/>
                  </a:lnTo>
                  <a:lnTo>
                    <a:pt x="613" y="1036"/>
                  </a:lnTo>
                  <a:lnTo>
                    <a:pt x="609" y="1043"/>
                  </a:lnTo>
                  <a:lnTo>
                    <a:pt x="605" y="1049"/>
                  </a:lnTo>
                  <a:lnTo>
                    <a:pt x="601" y="1055"/>
                  </a:lnTo>
                  <a:lnTo>
                    <a:pt x="596" y="1061"/>
                  </a:lnTo>
                  <a:lnTo>
                    <a:pt x="590" y="1067"/>
                  </a:lnTo>
                  <a:lnTo>
                    <a:pt x="578" y="1078"/>
                  </a:lnTo>
                  <a:lnTo>
                    <a:pt x="572" y="1084"/>
                  </a:lnTo>
                  <a:lnTo>
                    <a:pt x="565" y="1089"/>
                  </a:lnTo>
                  <a:lnTo>
                    <a:pt x="550" y="1098"/>
                  </a:lnTo>
                  <a:lnTo>
                    <a:pt x="542" y="1103"/>
                  </a:lnTo>
                  <a:lnTo>
                    <a:pt x="534" y="1106"/>
                  </a:lnTo>
                  <a:lnTo>
                    <a:pt x="525" y="1110"/>
                  </a:lnTo>
                  <a:lnTo>
                    <a:pt x="517" y="1113"/>
                  </a:lnTo>
                  <a:lnTo>
                    <a:pt x="508" y="1115"/>
                  </a:lnTo>
                  <a:lnTo>
                    <a:pt x="499" y="1118"/>
                  </a:lnTo>
                  <a:lnTo>
                    <a:pt x="489" y="1120"/>
                  </a:lnTo>
                  <a:lnTo>
                    <a:pt x="480" y="1121"/>
                  </a:lnTo>
                  <a:lnTo>
                    <a:pt x="470" y="1122"/>
                  </a:lnTo>
                  <a:lnTo>
                    <a:pt x="459" y="1123"/>
                  </a:lnTo>
                  <a:lnTo>
                    <a:pt x="449" y="1124"/>
                  </a:lnTo>
                  <a:lnTo>
                    <a:pt x="438" y="1124"/>
                  </a:lnTo>
                  <a:lnTo>
                    <a:pt x="426" y="1123"/>
                  </a:lnTo>
                  <a:lnTo>
                    <a:pt x="414" y="1122"/>
                  </a:lnTo>
                  <a:lnTo>
                    <a:pt x="402" y="1120"/>
                  </a:lnTo>
                  <a:lnTo>
                    <a:pt x="391" y="1118"/>
                  </a:lnTo>
                  <a:lnTo>
                    <a:pt x="381" y="1115"/>
                  </a:lnTo>
                  <a:lnTo>
                    <a:pt x="371" y="1112"/>
                  </a:lnTo>
                  <a:lnTo>
                    <a:pt x="361" y="1109"/>
                  </a:lnTo>
                  <a:lnTo>
                    <a:pt x="352" y="1104"/>
                  </a:lnTo>
                  <a:lnTo>
                    <a:pt x="344" y="1100"/>
                  </a:lnTo>
                  <a:lnTo>
                    <a:pt x="336" y="1095"/>
                  </a:lnTo>
                  <a:lnTo>
                    <a:pt x="328" y="1090"/>
                  </a:lnTo>
                  <a:lnTo>
                    <a:pt x="321" y="1085"/>
                  </a:lnTo>
                  <a:lnTo>
                    <a:pt x="314" y="1079"/>
                  </a:lnTo>
                  <a:lnTo>
                    <a:pt x="308" y="1073"/>
                  </a:lnTo>
                  <a:lnTo>
                    <a:pt x="301" y="1067"/>
                  </a:lnTo>
                  <a:lnTo>
                    <a:pt x="296" y="1061"/>
                  </a:lnTo>
                  <a:lnTo>
                    <a:pt x="285" y="1048"/>
                  </a:lnTo>
                  <a:lnTo>
                    <a:pt x="275" y="1034"/>
                  </a:lnTo>
                  <a:lnTo>
                    <a:pt x="267" y="1021"/>
                  </a:lnTo>
                  <a:lnTo>
                    <a:pt x="259" y="1007"/>
                  </a:lnTo>
                  <a:lnTo>
                    <a:pt x="253" y="994"/>
                  </a:lnTo>
                  <a:lnTo>
                    <a:pt x="247" y="981"/>
                  </a:lnTo>
                  <a:lnTo>
                    <a:pt x="236" y="958"/>
                  </a:lnTo>
                  <a:lnTo>
                    <a:pt x="232" y="950"/>
                  </a:lnTo>
                  <a:lnTo>
                    <a:pt x="228" y="943"/>
                  </a:lnTo>
                  <a:lnTo>
                    <a:pt x="223" y="936"/>
                  </a:lnTo>
                  <a:lnTo>
                    <a:pt x="219" y="929"/>
                  </a:lnTo>
                  <a:lnTo>
                    <a:pt x="213" y="923"/>
                  </a:lnTo>
                  <a:lnTo>
                    <a:pt x="211" y="921"/>
                  </a:lnTo>
                  <a:lnTo>
                    <a:pt x="208" y="918"/>
                  </a:lnTo>
                  <a:lnTo>
                    <a:pt x="202" y="913"/>
                  </a:lnTo>
                  <a:lnTo>
                    <a:pt x="197" y="909"/>
                  </a:lnTo>
                  <a:lnTo>
                    <a:pt x="190" y="905"/>
                  </a:lnTo>
                  <a:lnTo>
                    <a:pt x="184" y="901"/>
                  </a:lnTo>
                  <a:lnTo>
                    <a:pt x="178" y="898"/>
                  </a:lnTo>
                  <a:lnTo>
                    <a:pt x="171" y="896"/>
                  </a:lnTo>
                  <a:lnTo>
                    <a:pt x="164" y="893"/>
                  </a:lnTo>
                  <a:lnTo>
                    <a:pt x="158" y="891"/>
                  </a:lnTo>
                  <a:lnTo>
                    <a:pt x="151" y="890"/>
                  </a:lnTo>
                  <a:lnTo>
                    <a:pt x="143" y="889"/>
                  </a:lnTo>
                  <a:lnTo>
                    <a:pt x="131" y="888"/>
                  </a:lnTo>
                  <a:lnTo>
                    <a:pt x="124" y="888"/>
                  </a:lnTo>
                  <a:lnTo>
                    <a:pt x="118" y="889"/>
                  </a:lnTo>
                  <a:lnTo>
                    <a:pt x="111" y="890"/>
                  </a:lnTo>
                  <a:lnTo>
                    <a:pt x="104" y="891"/>
                  </a:lnTo>
                  <a:lnTo>
                    <a:pt x="97" y="893"/>
                  </a:lnTo>
                  <a:lnTo>
                    <a:pt x="90" y="896"/>
                  </a:lnTo>
                  <a:lnTo>
                    <a:pt x="83" y="898"/>
                  </a:lnTo>
                  <a:lnTo>
                    <a:pt x="76" y="902"/>
                  </a:lnTo>
                  <a:lnTo>
                    <a:pt x="69" y="905"/>
                  </a:lnTo>
                  <a:lnTo>
                    <a:pt x="62" y="909"/>
                  </a:lnTo>
                  <a:lnTo>
                    <a:pt x="55" y="914"/>
                  </a:lnTo>
                  <a:lnTo>
                    <a:pt x="49" y="918"/>
                  </a:lnTo>
                  <a:lnTo>
                    <a:pt x="42" y="924"/>
                  </a:lnTo>
                  <a:lnTo>
                    <a:pt x="37" y="929"/>
                  </a:lnTo>
                  <a:lnTo>
                    <a:pt x="31" y="935"/>
                  </a:lnTo>
                  <a:lnTo>
                    <a:pt x="26" y="941"/>
                  </a:lnTo>
                  <a:lnTo>
                    <a:pt x="21" y="948"/>
                  </a:lnTo>
                  <a:lnTo>
                    <a:pt x="16" y="955"/>
                  </a:lnTo>
                  <a:lnTo>
                    <a:pt x="12" y="962"/>
                  </a:lnTo>
                  <a:lnTo>
                    <a:pt x="9" y="970"/>
                  </a:lnTo>
                  <a:lnTo>
                    <a:pt x="6" y="978"/>
                  </a:lnTo>
                  <a:lnTo>
                    <a:pt x="3" y="987"/>
                  </a:lnTo>
                  <a:lnTo>
                    <a:pt x="2" y="995"/>
                  </a:lnTo>
                  <a:lnTo>
                    <a:pt x="1" y="1004"/>
                  </a:lnTo>
                  <a:lnTo>
                    <a:pt x="0" y="1014"/>
                  </a:lnTo>
                  <a:lnTo>
                    <a:pt x="0" y="1024"/>
                  </a:lnTo>
                  <a:lnTo>
                    <a:pt x="1" y="1034"/>
                  </a:lnTo>
                  <a:lnTo>
                    <a:pt x="3" y="1044"/>
                  </a:lnTo>
                  <a:lnTo>
                    <a:pt x="6" y="1055"/>
                  </a:lnTo>
                  <a:lnTo>
                    <a:pt x="10" y="1066"/>
                  </a:lnTo>
                  <a:lnTo>
                    <a:pt x="14" y="1077"/>
                  </a:lnTo>
                  <a:lnTo>
                    <a:pt x="19" y="1088"/>
                  </a:lnTo>
                  <a:lnTo>
                    <a:pt x="24" y="1098"/>
                  </a:lnTo>
                  <a:lnTo>
                    <a:pt x="29" y="1109"/>
                  </a:lnTo>
                  <a:lnTo>
                    <a:pt x="35" y="1119"/>
                  </a:lnTo>
                  <a:lnTo>
                    <a:pt x="42" y="1129"/>
                  </a:lnTo>
                  <a:lnTo>
                    <a:pt x="49" y="1139"/>
                  </a:lnTo>
                  <a:lnTo>
                    <a:pt x="56" y="1148"/>
                  </a:lnTo>
                  <a:lnTo>
                    <a:pt x="64" y="1158"/>
                  </a:lnTo>
                  <a:lnTo>
                    <a:pt x="72" y="1167"/>
                  </a:lnTo>
                  <a:lnTo>
                    <a:pt x="81" y="1175"/>
                  </a:lnTo>
                  <a:lnTo>
                    <a:pt x="90" y="1184"/>
                  </a:lnTo>
                  <a:lnTo>
                    <a:pt x="99" y="1192"/>
                  </a:lnTo>
                  <a:lnTo>
                    <a:pt x="109" y="1200"/>
                  </a:lnTo>
                  <a:lnTo>
                    <a:pt x="130" y="1215"/>
                  </a:lnTo>
                  <a:lnTo>
                    <a:pt x="141" y="1221"/>
                  </a:lnTo>
                  <a:lnTo>
                    <a:pt x="152" y="1228"/>
                  </a:lnTo>
                  <a:lnTo>
                    <a:pt x="164" y="1234"/>
                  </a:lnTo>
                  <a:lnTo>
                    <a:pt x="176" y="1240"/>
                  </a:lnTo>
                  <a:lnTo>
                    <a:pt x="189" y="1245"/>
                  </a:lnTo>
                  <a:lnTo>
                    <a:pt x="202" y="1250"/>
                  </a:lnTo>
                  <a:lnTo>
                    <a:pt x="215" y="1254"/>
                  </a:lnTo>
                  <a:lnTo>
                    <a:pt x="229" y="1258"/>
                  </a:lnTo>
                  <a:lnTo>
                    <a:pt x="243" y="1262"/>
                  </a:lnTo>
                  <a:lnTo>
                    <a:pt x="257" y="1265"/>
                  </a:lnTo>
                  <a:lnTo>
                    <a:pt x="271" y="1268"/>
                  </a:lnTo>
                  <a:lnTo>
                    <a:pt x="286" y="1270"/>
                  </a:lnTo>
                  <a:lnTo>
                    <a:pt x="302" y="1272"/>
                  </a:lnTo>
                  <a:lnTo>
                    <a:pt x="317" y="1273"/>
                  </a:lnTo>
                  <a:lnTo>
                    <a:pt x="333" y="1274"/>
                  </a:lnTo>
                  <a:lnTo>
                    <a:pt x="350" y="1274"/>
                  </a:lnTo>
                  <a:lnTo>
                    <a:pt x="375" y="1274"/>
                  </a:lnTo>
                  <a:lnTo>
                    <a:pt x="400" y="1273"/>
                  </a:lnTo>
                  <a:lnTo>
                    <a:pt x="412" y="1272"/>
                  </a:lnTo>
                  <a:lnTo>
                    <a:pt x="424" y="1270"/>
                  </a:lnTo>
                  <a:lnTo>
                    <a:pt x="448" y="1267"/>
                  </a:lnTo>
                  <a:lnTo>
                    <a:pt x="472" y="1264"/>
                  </a:lnTo>
                  <a:lnTo>
                    <a:pt x="495" y="1259"/>
                  </a:lnTo>
                  <a:lnTo>
                    <a:pt x="517" y="1253"/>
                  </a:lnTo>
                  <a:lnTo>
                    <a:pt x="539" y="1247"/>
                  </a:lnTo>
                  <a:lnTo>
                    <a:pt x="561" y="1239"/>
                  </a:lnTo>
                  <a:lnTo>
                    <a:pt x="581" y="1231"/>
                  </a:lnTo>
                  <a:lnTo>
                    <a:pt x="602" y="1222"/>
                  </a:lnTo>
                  <a:lnTo>
                    <a:pt x="622" y="1212"/>
                  </a:lnTo>
                  <a:lnTo>
                    <a:pt x="641" y="1202"/>
                  </a:lnTo>
                  <a:lnTo>
                    <a:pt x="660" y="1190"/>
                  </a:lnTo>
                  <a:lnTo>
                    <a:pt x="678" y="1178"/>
                  </a:lnTo>
                  <a:lnTo>
                    <a:pt x="695" y="1164"/>
                  </a:lnTo>
                  <a:lnTo>
                    <a:pt x="713" y="1150"/>
                  </a:lnTo>
                  <a:lnTo>
                    <a:pt x="721" y="1143"/>
                  </a:lnTo>
                  <a:lnTo>
                    <a:pt x="730" y="1135"/>
                  </a:lnTo>
                  <a:lnTo>
                    <a:pt x="745" y="1120"/>
                  </a:lnTo>
                  <a:lnTo>
                    <a:pt x="759" y="1104"/>
                  </a:lnTo>
                  <a:lnTo>
                    <a:pt x="772" y="1087"/>
                  </a:lnTo>
                  <a:lnTo>
                    <a:pt x="778" y="1079"/>
                  </a:lnTo>
                  <a:lnTo>
                    <a:pt x="784" y="1071"/>
                  </a:lnTo>
                  <a:lnTo>
                    <a:pt x="795" y="1053"/>
                  </a:lnTo>
                  <a:lnTo>
                    <a:pt x="800" y="1045"/>
                  </a:lnTo>
                  <a:lnTo>
                    <a:pt x="805" y="1036"/>
                  </a:lnTo>
                  <a:lnTo>
                    <a:pt x="813" y="1017"/>
                  </a:lnTo>
                  <a:lnTo>
                    <a:pt x="817" y="1008"/>
                  </a:lnTo>
                  <a:lnTo>
                    <a:pt x="820" y="999"/>
                  </a:lnTo>
                  <a:lnTo>
                    <a:pt x="827" y="980"/>
                  </a:lnTo>
                  <a:lnTo>
                    <a:pt x="829" y="970"/>
                  </a:lnTo>
                  <a:lnTo>
                    <a:pt x="832" y="960"/>
                  </a:lnTo>
                  <a:lnTo>
                    <a:pt x="836" y="940"/>
                  </a:lnTo>
                  <a:lnTo>
                    <a:pt x="837" y="930"/>
                  </a:lnTo>
                  <a:lnTo>
                    <a:pt x="839" y="920"/>
                  </a:lnTo>
                  <a:lnTo>
                    <a:pt x="840" y="899"/>
                  </a:lnTo>
                  <a:lnTo>
                    <a:pt x="841" y="888"/>
                  </a:lnTo>
                  <a:lnTo>
                    <a:pt x="841" y="878"/>
                  </a:lnTo>
                  <a:lnTo>
                    <a:pt x="840" y="858"/>
                  </a:lnTo>
                  <a:lnTo>
                    <a:pt x="839" y="848"/>
                  </a:lnTo>
                  <a:lnTo>
                    <a:pt x="838" y="839"/>
                  </a:lnTo>
                  <a:lnTo>
                    <a:pt x="835" y="819"/>
                  </a:lnTo>
                  <a:lnTo>
                    <a:pt x="833" y="810"/>
                  </a:lnTo>
                  <a:lnTo>
                    <a:pt x="830" y="800"/>
                  </a:lnTo>
                  <a:lnTo>
                    <a:pt x="827" y="790"/>
                  </a:lnTo>
                  <a:lnTo>
                    <a:pt x="824" y="781"/>
                  </a:lnTo>
                  <a:lnTo>
                    <a:pt x="817" y="762"/>
                  </a:lnTo>
                  <a:lnTo>
                    <a:pt x="813" y="753"/>
                  </a:lnTo>
                  <a:lnTo>
                    <a:pt x="808" y="743"/>
                  </a:lnTo>
                  <a:lnTo>
                    <a:pt x="803" y="734"/>
                  </a:lnTo>
                  <a:lnTo>
                    <a:pt x="798" y="725"/>
                  </a:lnTo>
                  <a:lnTo>
                    <a:pt x="787" y="706"/>
                  </a:lnTo>
                  <a:lnTo>
                    <a:pt x="781" y="697"/>
                  </a:lnTo>
                  <a:lnTo>
                    <a:pt x="774" y="688"/>
                  </a:lnTo>
                  <a:lnTo>
                    <a:pt x="767" y="679"/>
                  </a:lnTo>
                  <a:lnTo>
                    <a:pt x="760" y="670"/>
                  </a:lnTo>
                  <a:lnTo>
                    <a:pt x="745" y="652"/>
                  </a:lnTo>
                  <a:lnTo>
                    <a:pt x="737" y="643"/>
                  </a:lnTo>
                  <a:lnTo>
                    <a:pt x="728" y="634"/>
                  </a:lnTo>
                  <a:lnTo>
                    <a:pt x="709" y="616"/>
                  </a:lnTo>
                  <a:lnTo>
                    <a:pt x="700" y="608"/>
                  </a:lnTo>
                  <a:lnTo>
                    <a:pt x="690" y="599"/>
                  </a:lnTo>
                  <a:lnTo>
                    <a:pt x="670" y="582"/>
                  </a:lnTo>
                  <a:lnTo>
                    <a:pt x="589" y="515"/>
                  </a:lnTo>
                  <a:lnTo>
                    <a:pt x="528" y="464"/>
                  </a:lnTo>
                  <a:lnTo>
                    <a:pt x="501" y="442"/>
                  </a:lnTo>
                  <a:lnTo>
                    <a:pt x="478" y="421"/>
                  </a:lnTo>
                  <a:lnTo>
                    <a:pt x="458" y="402"/>
                  </a:lnTo>
                  <a:lnTo>
                    <a:pt x="440" y="384"/>
                  </a:lnTo>
                  <a:lnTo>
                    <a:pt x="425" y="369"/>
                  </a:lnTo>
                  <a:lnTo>
                    <a:pt x="419" y="362"/>
                  </a:lnTo>
                  <a:lnTo>
                    <a:pt x="414" y="356"/>
                  </a:lnTo>
                  <a:lnTo>
                    <a:pt x="406" y="345"/>
                  </a:lnTo>
                  <a:lnTo>
                    <a:pt x="399" y="335"/>
                  </a:lnTo>
                  <a:lnTo>
                    <a:pt x="396" y="330"/>
                  </a:lnTo>
                  <a:lnTo>
                    <a:pt x="394" y="324"/>
                  </a:lnTo>
                  <a:lnTo>
                    <a:pt x="389" y="314"/>
                  </a:lnTo>
                  <a:lnTo>
                    <a:pt x="386" y="303"/>
                  </a:lnTo>
                  <a:lnTo>
                    <a:pt x="383" y="293"/>
                  </a:lnTo>
                  <a:lnTo>
                    <a:pt x="381" y="282"/>
                  </a:lnTo>
                  <a:lnTo>
                    <a:pt x="380" y="272"/>
                  </a:lnTo>
                  <a:lnTo>
                    <a:pt x="380" y="264"/>
                  </a:lnTo>
                  <a:lnTo>
                    <a:pt x="380" y="257"/>
                  </a:lnTo>
                  <a:lnTo>
                    <a:pt x="382" y="249"/>
                  </a:lnTo>
                  <a:lnTo>
                    <a:pt x="384" y="241"/>
                  </a:lnTo>
                  <a:lnTo>
                    <a:pt x="386" y="233"/>
                  </a:lnTo>
                  <a:lnTo>
                    <a:pt x="390" y="225"/>
                  </a:lnTo>
                  <a:lnTo>
                    <a:pt x="394" y="217"/>
                  </a:lnTo>
                  <a:lnTo>
                    <a:pt x="398" y="210"/>
                  </a:lnTo>
                  <a:lnTo>
                    <a:pt x="404" y="202"/>
                  </a:lnTo>
                  <a:lnTo>
                    <a:pt x="407" y="198"/>
                  </a:lnTo>
                  <a:lnTo>
                    <a:pt x="410" y="195"/>
                  </a:lnTo>
                  <a:lnTo>
                    <a:pt x="416" y="188"/>
                  </a:lnTo>
                  <a:lnTo>
                    <a:pt x="423" y="181"/>
                  </a:lnTo>
                  <a:lnTo>
                    <a:pt x="431" y="174"/>
                  </a:lnTo>
                  <a:lnTo>
                    <a:pt x="439" y="168"/>
                  </a:lnTo>
                  <a:lnTo>
                    <a:pt x="447" y="163"/>
                  </a:lnTo>
                  <a:lnTo>
                    <a:pt x="456" y="157"/>
                  </a:lnTo>
                  <a:lnTo>
                    <a:pt x="466" y="152"/>
                  </a:lnTo>
                  <a:lnTo>
                    <a:pt x="476" y="148"/>
                  </a:lnTo>
                  <a:lnTo>
                    <a:pt x="486" y="145"/>
                  </a:lnTo>
                  <a:lnTo>
                    <a:pt x="497" y="142"/>
                  </a:lnTo>
                  <a:lnTo>
                    <a:pt x="509" y="140"/>
                  </a:lnTo>
                  <a:lnTo>
                    <a:pt x="514" y="139"/>
                  </a:lnTo>
                  <a:lnTo>
                    <a:pt x="520" y="139"/>
                  </a:lnTo>
                  <a:lnTo>
                    <a:pt x="532" y="139"/>
                  </a:lnTo>
                  <a:lnTo>
                    <a:pt x="545" y="139"/>
                  </a:lnTo>
                  <a:lnTo>
                    <a:pt x="557" y="141"/>
                  </a:lnTo>
                  <a:lnTo>
                    <a:pt x="570" y="143"/>
                  </a:lnTo>
                  <a:lnTo>
                    <a:pt x="584" y="147"/>
                  </a:lnTo>
                  <a:lnTo>
                    <a:pt x="590" y="149"/>
                  </a:lnTo>
                  <a:lnTo>
                    <a:pt x="597" y="152"/>
                  </a:lnTo>
                  <a:lnTo>
                    <a:pt x="611" y="157"/>
                  </a:lnTo>
                  <a:lnTo>
                    <a:pt x="625" y="165"/>
                  </a:lnTo>
                  <a:lnTo>
                    <a:pt x="639" y="174"/>
                  </a:lnTo>
                  <a:lnTo>
                    <a:pt x="654" y="1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400" b="1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430707B2-D4A5-41CB-BB49-0707DD51F2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5554" y="2513316"/>
              <a:ext cx="1136894" cy="255853"/>
            </a:xfrm>
            <a:custGeom>
              <a:avLst/>
              <a:gdLst>
                <a:gd name="T0" fmla="*/ 355 w 2718"/>
                <a:gd name="T1" fmla="*/ 506 h 611"/>
                <a:gd name="T2" fmla="*/ 571 w 2718"/>
                <a:gd name="T3" fmla="*/ 436 h 611"/>
                <a:gd name="T4" fmla="*/ 776 w 2718"/>
                <a:gd name="T5" fmla="*/ 379 h 611"/>
                <a:gd name="T6" fmla="*/ 972 w 2718"/>
                <a:gd name="T7" fmla="*/ 334 h 611"/>
                <a:gd name="T8" fmla="*/ 1141 w 2718"/>
                <a:gd name="T9" fmla="*/ 303 h 611"/>
                <a:gd name="T10" fmla="*/ 1335 w 2718"/>
                <a:gd name="T11" fmla="*/ 278 h 611"/>
                <a:gd name="T12" fmla="*/ 1516 w 2718"/>
                <a:gd name="T13" fmla="*/ 265 h 611"/>
                <a:gd name="T14" fmla="*/ 1718 w 2718"/>
                <a:gd name="T15" fmla="*/ 262 h 611"/>
                <a:gd name="T16" fmla="*/ 1875 w 2718"/>
                <a:gd name="T17" fmla="*/ 270 h 611"/>
                <a:gd name="T18" fmla="*/ 2020 w 2718"/>
                <a:gd name="T19" fmla="*/ 286 h 611"/>
                <a:gd name="T20" fmla="*/ 2153 w 2718"/>
                <a:gd name="T21" fmla="*/ 309 h 611"/>
                <a:gd name="T22" fmla="*/ 2298 w 2718"/>
                <a:gd name="T23" fmla="*/ 345 h 611"/>
                <a:gd name="T24" fmla="*/ 2427 w 2718"/>
                <a:gd name="T25" fmla="*/ 387 h 611"/>
                <a:gd name="T26" fmla="*/ 2540 w 2718"/>
                <a:gd name="T27" fmla="*/ 433 h 611"/>
                <a:gd name="T28" fmla="*/ 2666 w 2718"/>
                <a:gd name="T29" fmla="*/ 500 h 611"/>
                <a:gd name="T30" fmla="*/ 2718 w 2718"/>
                <a:gd name="T31" fmla="*/ 526 h 611"/>
                <a:gd name="T32" fmla="*/ 2713 w 2718"/>
                <a:gd name="T33" fmla="*/ 509 h 611"/>
                <a:gd name="T34" fmla="*/ 2693 w 2718"/>
                <a:gd name="T35" fmla="*/ 478 h 611"/>
                <a:gd name="T36" fmla="*/ 2658 w 2718"/>
                <a:gd name="T37" fmla="*/ 440 h 611"/>
                <a:gd name="T38" fmla="*/ 2589 w 2718"/>
                <a:gd name="T39" fmla="*/ 383 h 611"/>
                <a:gd name="T40" fmla="*/ 2496 w 2718"/>
                <a:gd name="T41" fmla="*/ 323 h 611"/>
                <a:gd name="T42" fmla="*/ 2380 w 2718"/>
                <a:gd name="T43" fmla="*/ 262 h 611"/>
                <a:gd name="T44" fmla="*/ 2242 w 2718"/>
                <a:gd name="T45" fmla="*/ 204 h 611"/>
                <a:gd name="T46" fmla="*/ 2083 w 2718"/>
                <a:gd name="T47" fmla="*/ 153 h 611"/>
                <a:gd name="T48" fmla="*/ 1917 w 2718"/>
                <a:gd name="T49" fmla="*/ 115 h 611"/>
                <a:gd name="T50" fmla="*/ 1784 w 2718"/>
                <a:gd name="T51" fmla="*/ 97 h 611"/>
                <a:gd name="T52" fmla="*/ 1648 w 2718"/>
                <a:gd name="T53" fmla="*/ 87 h 611"/>
                <a:gd name="T54" fmla="*/ 1478 w 2718"/>
                <a:gd name="T55" fmla="*/ 87 h 611"/>
                <a:gd name="T56" fmla="*/ 1343 w 2718"/>
                <a:gd name="T57" fmla="*/ 96 h 611"/>
                <a:gd name="T58" fmla="*/ 1177 w 2718"/>
                <a:gd name="T59" fmla="*/ 114 h 611"/>
                <a:gd name="T60" fmla="*/ 1047 w 2718"/>
                <a:gd name="T61" fmla="*/ 135 h 611"/>
                <a:gd name="T62" fmla="*/ 893 w 2718"/>
                <a:gd name="T63" fmla="*/ 165 h 611"/>
                <a:gd name="T64" fmla="*/ 667 w 2718"/>
                <a:gd name="T65" fmla="*/ 220 h 611"/>
                <a:gd name="T66" fmla="*/ 477 w 2718"/>
                <a:gd name="T67" fmla="*/ 277 h 611"/>
                <a:gd name="T68" fmla="*/ 278 w 2718"/>
                <a:gd name="T69" fmla="*/ 345 h 611"/>
                <a:gd name="T70" fmla="*/ 252 w 2718"/>
                <a:gd name="T71" fmla="*/ 269 h 611"/>
                <a:gd name="T72" fmla="*/ 265 w 2718"/>
                <a:gd name="T73" fmla="*/ 153 h 611"/>
                <a:gd name="T74" fmla="*/ 263 w 2718"/>
                <a:gd name="T75" fmla="*/ 99 h 611"/>
                <a:gd name="T76" fmla="*/ 254 w 2718"/>
                <a:gd name="T77" fmla="*/ 62 h 611"/>
                <a:gd name="T78" fmla="*/ 237 w 2718"/>
                <a:gd name="T79" fmla="*/ 30 h 611"/>
                <a:gd name="T80" fmla="*/ 217 w 2718"/>
                <a:gd name="T81" fmla="*/ 12 h 611"/>
                <a:gd name="T82" fmla="*/ 192 w 2718"/>
                <a:gd name="T83" fmla="*/ 3 h 611"/>
                <a:gd name="T84" fmla="*/ 163 w 2718"/>
                <a:gd name="T85" fmla="*/ 1 h 611"/>
                <a:gd name="T86" fmla="*/ 132 w 2718"/>
                <a:gd name="T87" fmla="*/ 6 h 611"/>
                <a:gd name="T88" fmla="*/ 103 w 2718"/>
                <a:gd name="T89" fmla="*/ 20 h 611"/>
                <a:gd name="T90" fmla="*/ 76 w 2718"/>
                <a:gd name="T91" fmla="*/ 44 h 611"/>
                <a:gd name="T92" fmla="*/ 56 w 2718"/>
                <a:gd name="T93" fmla="*/ 79 h 611"/>
                <a:gd name="T94" fmla="*/ 43 w 2718"/>
                <a:gd name="T95" fmla="*/ 126 h 611"/>
                <a:gd name="T96" fmla="*/ 26 w 2718"/>
                <a:gd name="T97" fmla="*/ 308 h 611"/>
                <a:gd name="T98" fmla="*/ 0 w 2718"/>
                <a:gd name="T99" fmla="*/ 527 h 611"/>
                <a:gd name="T100" fmla="*/ 3 w 2718"/>
                <a:gd name="T101" fmla="*/ 570 h 611"/>
                <a:gd name="T102" fmla="*/ 14 w 2718"/>
                <a:gd name="T103" fmla="*/ 596 h 611"/>
                <a:gd name="T104" fmla="*/ 34 w 2718"/>
                <a:gd name="T105" fmla="*/ 609 h 611"/>
                <a:gd name="T106" fmla="*/ 61 w 2718"/>
                <a:gd name="T107" fmla="*/ 610 h 611"/>
                <a:gd name="T108" fmla="*/ 110 w 2718"/>
                <a:gd name="T109" fmla="*/ 598 h 611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718"/>
                <a:gd name="T166" fmla="*/ 0 h 611"/>
                <a:gd name="T167" fmla="*/ 2718 w 2718"/>
                <a:gd name="T168" fmla="*/ 611 h 611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718" h="611">
                  <a:moveTo>
                    <a:pt x="187" y="568"/>
                  </a:moveTo>
                  <a:lnTo>
                    <a:pt x="244" y="546"/>
                  </a:lnTo>
                  <a:lnTo>
                    <a:pt x="300" y="526"/>
                  </a:lnTo>
                  <a:lnTo>
                    <a:pt x="355" y="506"/>
                  </a:lnTo>
                  <a:lnTo>
                    <a:pt x="410" y="487"/>
                  </a:lnTo>
                  <a:lnTo>
                    <a:pt x="464" y="469"/>
                  </a:lnTo>
                  <a:lnTo>
                    <a:pt x="518" y="452"/>
                  </a:lnTo>
                  <a:lnTo>
                    <a:pt x="571" y="436"/>
                  </a:lnTo>
                  <a:lnTo>
                    <a:pt x="623" y="420"/>
                  </a:lnTo>
                  <a:lnTo>
                    <a:pt x="675" y="406"/>
                  </a:lnTo>
                  <a:lnTo>
                    <a:pt x="726" y="392"/>
                  </a:lnTo>
                  <a:lnTo>
                    <a:pt x="776" y="379"/>
                  </a:lnTo>
                  <a:lnTo>
                    <a:pt x="826" y="366"/>
                  </a:lnTo>
                  <a:lnTo>
                    <a:pt x="876" y="355"/>
                  </a:lnTo>
                  <a:lnTo>
                    <a:pt x="924" y="344"/>
                  </a:lnTo>
                  <a:lnTo>
                    <a:pt x="972" y="334"/>
                  </a:lnTo>
                  <a:lnTo>
                    <a:pt x="1020" y="325"/>
                  </a:lnTo>
                  <a:lnTo>
                    <a:pt x="1061" y="317"/>
                  </a:lnTo>
                  <a:lnTo>
                    <a:pt x="1101" y="310"/>
                  </a:lnTo>
                  <a:lnTo>
                    <a:pt x="1141" y="303"/>
                  </a:lnTo>
                  <a:lnTo>
                    <a:pt x="1181" y="297"/>
                  </a:lnTo>
                  <a:lnTo>
                    <a:pt x="1259" y="287"/>
                  </a:lnTo>
                  <a:lnTo>
                    <a:pt x="1297" y="282"/>
                  </a:lnTo>
                  <a:lnTo>
                    <a:pt x="1335" y="278"/>
                  </a:lnTo>
                  <a:lnTo>
                    <a:pt x="1409" y="271"/>
                  </a:lnTo>
                  <a:lnTo>
                    <a:pt x="1445" y="269"/>
                  </a:lnTo>
                  <a:lnTo>
                    <a:pt x="1481" y="266"/>
                  </a:lnTo>
                  <a:lnTo>
                    <a:pt x="1516" y="265"/>
                  </a:lnTo>
                  <a:lnTo>
                    <a:pt x="1551" y="263"/>
                  </a:lnTo>
                  <a:lnTo>
                    <a:pt x="1619" y="262"/>
                  </a:lnTo>
                  <a:lnTo>
                    <a:pt x="1686" y="261"/>
                  </a:lnTo>
                  <a:lnTo>
                    <a:pt x="1718" y="262"/>
                  </a:lnTo>
                  <a:lnTo>
                    <a:pt x="1751" y="263"/>
                  </a:lnTo>
                  <a:lnTo>
                    <a:pt x="1814" y="266"/>
                  </a:lnTo>
                  <a:lnTo>
                    <a:pt x="1844" y="268"/>
                  </a:lnTo>
                  <a:lnTo>
                    <a:pt x="1875" y="270"/>
                  </a:lnTo>
                  <a:lnTo>
                    <a:pt x="1934" y="276"/>
                  </a:lnTo>
                  <a:lnTo>
                    <a:pt x="1963" y="279"/>
                  </a:lnTo>
                  <a:lnTo>
                    <a:pt x="1992" y="282"/>
                  </a:lnTo>
                  <a:lnTo>
                    <a:pt x="2020" y="286"/>
                  </a:lnTo>
                  <a:lnTo>
                    <a:pt x="2047" y="290"/>
                  </a:lnTo>
                  <a:lnTo>
                    <a:pt x="2074" y="295"/>
                  </a:lnTo>
                  <a:lnTo>
                    <a:pt x="2101" y="299"/>
                  </a:lnTo>
                  <a:lnTo>
                    <a:pt x="2153" y="309"/>
                  </a:lnTo>
                  <a:lnTo>
                    <a:pt x="2203" y="320"/>
                  </a:lnTo>
                  <a:lnTo>
                    <a:pt x="2252" y="332"/>
                  </a:lnTo>
                  <a:lnTo>
                    <a:pt x="2275" y="338"/>
                  </a:lnTo>
                  <a:lnTo>
                    <a:pt x="2298" y="345"/>
                  </a:lnTo>
                  <a:lnTo>
                    <a:pt x="2343" y="358"/>
                  </a:lnTo>
                  <a:lnTo>
                    <a:pt x="2365" y="365"/>
                  </a:lnTo>
                  <a:lnTo>
                    <a:pt x="2386" y="372"/>
                  </a:lnTo>
                  <a:lnTo>
                    <a:pt x="2427" y="387"/>
                  </a:lnTo>
                  <a:lnTo>
                    <a:pt x="2467" y="402"/>
                  </a:lnTo>
                  <a:lnTo>
                    <a:pt x="2504" y="417"/>
                  </a:lnTo>
                  <a:lnTo>
                    <a:pt x="2522" y="425"/>
                  </a:lnTo>
                  <a:lnTo>
                    <a:pt x="2540" y="433"/>
                  </a:lnTo>
                  <a:lnTo>
                    <a:pt x="2574" y="450"/>
                  </a:lnTo>
                  <a:lnTo>
                    <a:pt x="2606" y="466"/>
                  </a:lnTo>
                  <a:lnTo>
                    <a:pt x="2638" y="483"/>
                  </a:lnTo>
                  <a:lnTo>
                    <a:pt x="2666" y="500"/>
                  </a:lnTo>
                  <a:lnTo>
                    <a:pt x="2680" y="508"/>
                  </a:lnTo>
                  <a:lnTo>
                    <a:pt x="2693" y="517"/>
                  </a:lnTo>
                  <a:lnTo>
                    <a:pt x="2718" y="534"/>
                  </a:lnTo>
                  <a:lnTo>
                    <a:pt x="2718" y="526"/>
                  </a:lnTo>
                  <a:lnTo>
                    <a:pt x="2717" y="523"/>
                  </a:lnTo>
                  <a:lnTo>
                    <a:pt x="2716" y="518"/>
                  </a:lnTo>
                  <a:lnTo>
                    <a:pt x="2715" y="514"/>
                  </a:lnTo>
                  <a:lnTo>
                    <a:pt x="2713" y="509"/>
                  </a:lnTo>
                  <a:lnTo>
                    <a:pt x="2710" y="505"/>
                  </a:lnTo>
                  <a:lnTo>
                    <a:pt x="2708" y="499"/>
                  </a:lnTo>
                  <a:lnTo>
                    <a:pt x="2701" y="489"/>
                  </a:lnTo>
                  <a:lnTo>
                    <a:pt x="2693" y="478"/>
                  </a:lnTo>
                  <a:lnTo>
                    <a:pt x="2683" y="466"/>
                  </a:lnTo>
                  <a:lnTo>
                    <a:pt x="2671" y="453"/>
                  </a:lnTo>
                  <a:lnTo>
                    <a:pt x="2665" y="447"/>
                  </a:lnTo>
                  <a:lnTo>
                    <a:pt x="2658" y="440"/>
                  </a:lnTo>
                  <a:lnTo>
                    <a:pt x="2643" y="426"/>
                  </a:lnTo>
                  <a:lnTo>
                    <a:pt x="2627" y="412"/>
                  </a:lnTo>
                  <a:lnTo>
                    <a:pt x="2608" y="398"/>
                  </a:lnTo>
                  <a:lnTo>
                    <a:pt x="2589" y="383"/>
                  </a:lnTo>
                  <a:lnTo>
                    <a:pt x="2568" y="368"/>
                  </a:lnTo>
                  <a:lnTo>
                    <a:pt x="2545" y="353"/>
                  </a:lnTo>
                  <a:lnTo>
                    <a:pt x="2521" y="338"/>
                  </a:lnTo>
                  <a:lnTo>
                    <a:pt x="2496" y="323"/>
                  </a:lnTo>
                  <a:lnTo>
                    <a:pt x="2469" y="307"/>
                  </a:lnTo>
                  <a:lnTo>
                    <a:pt x="2441" y="292"/>
                  </a:lnTo>
                  <a:lnTo>
                    <a:pt x="2411" y="277"/>
                  </a:lnTo>
                  <a:lnTo>
                    <a:pt x="2380" y="262"/>
                  </a:lnTo>
                  <a:lnTo>
                    <a:pt x="2348" y="247"/>
                  </a:lnTo>
                  <a:lnTo>
                    <a:pt x="2314" y="232"/>
                  </a:lnTo>
                  <a:lnTo>
                    <a:pt x="2279" y="218"/>
                  </a:lnTo>
                  <a:lnTo>
                    <a:pt x="2242" y="204"/>
                  </a:lnTo>
                  <a:lnTo>
                    <a:pt x="2204" y="190"/>
                  </a:lnTo>
                  <a:lnTo>
                    <a:pt x="2165" y="177"/>
                  </a:lnTo>
                  <a:lnTo>
                    <a:pt x="2125" y="165"/>
                  </a:lnTo>
                  <a:lnTo>
                    <a:pt x="2083" y="153"/>
                  </a:lnTo>
                  <a:lnTo>
                    <a:pt x="2040" y="142"/>
                  </a:lnTo>
                  <a:lnTo>
                    <a:pt x="1996" y="131"/>
                  </a:lnTo>
                  <a:lnTo>
                    <a:pt x="1950" y="122"/>
                  </a:lnTo>
                  <a:lnTo>
                    <a:pt x="1917" y="115"/>
                  </a:lnTo>
                  <a:lnTo>
                    <a:pt x="1884" y="110"/>
                  </a:lnTo>
                  <a:lnTo>
                    <a:pt x="1851" y="105"/>
                  </a:lnTo>
                  <a:lnTo>
                    <a:pt x="1817" y="100"/>
                  </a:lnTo>
                  <a:lnTo>
                    <a:pt x="1784" y="97"/>
                  </a:lnTo>
                  <a:lnTo>
                    <a:pt x="1750" y="93"/>
                  </a:lnTo>
                  <a:lnTo>
                    <a:pt x="1716" y="91"/>
                  </a:lnTo>
                  <a:lnTo>
                    <a:pt x="1682" y="89"/>
                  </a:lnTo>
                  <a:lnTo>
                    <a:pt x="1648" y="87"/>
                  </a:lnTo>
                  <a:lnTo>
                    <a:pt x="1614" y="86"/>
                  </a:lnTo>
                  <a:lnTo>
                    <a:pt x="1580" y="86"/>
                  </a:lnTo>
                  <a:lnTo>
                    <a:pt x="1546" y="86"/>
                  </a:lnTo>
                  <a:lnTo>
                    <a:pt x="1478" y="87"/>
                  </a:lnTo>
                  <a:lnTo>
                    <a:pt x="1444" y="89"/>
                  </a:lnTo>
                  <a:lnTo>
                    <a:pt x="1410" y="91"/>
                  </a:lnTo>
                  <a:lnTo>
                    <a:pt x="1377" y="93"/>
                  </a:lnTo>
                  <a:lnTo>
                    <a:pt x="1343" y="96"/>
                  </a:lnTo>
                  <a:lnTo>
                    <a:pt x="1309" y="99"/>
                  </a:lnTo>
                  <a:lnTo>
                    <a:pt x="1276" y="102"/>
                  </a:lnTo>
                  <a:lnTo>
                    <a:pt x="1210" y="110"/>
                  </a:lnTo>
                  <a:lnTo>
                    <a:pt x="1177" y="114"/>
                  </a:lnTo>
                  <a:lnTo>
                    <a:pt x="1143" y="119"/>
                  </a:lnTo>
                  <a:lnTo>
                    <a:pt x="1111" y="124"/>
                  </a:lnTo>
                  <a:lnTo>
                    <a:pt x="1079" y="129"/>
                  </a:lnTo>
                  <a:lnTo>
                    <a:pt x="1047" y="135"/>
                  </a:lnTo>
                  <a:lnTo>
                    <a:pt x="1015" y="140"/>
                  </a:lnTo>
                  <a:lnTo>
                    <a:pt x="984" y="146"/>
                  </a:lnTo>
                  <a:lnTo>
                    <a:pt x="953" y="152"/>
                  </a:lnTo>
                  <a:lnTo>
                    <a:pt x="893" y="165"/>
                  </a:lnTo>
                  <a:lnTo>
                    <a:pt x="833" y="178"/>
                  </a:lnTo>
                  <a:lnTo>
                    <a:pt x="776" y="192"/>
                  </a:lnTo>
                  <a:lnTo>
                    <a:pt x="721" y="206"/>
                  </a:lnTo>
                  <a:lnTo>
                    <a:pt x="667" y="220"/>
                  </a:lnTo>
                  <a:lnTo>
                    <a:pt x="616" y="235"/>
                  </a:lnTo>
                  <a:lnTo>
                    <a:pt x="567" y="249"/>
                  </a:lnTo>
                  <a:lnTo>
                    <a:pt x="520" y="263"/>
                  </a:lnTo>
                  <a:lnTo>
                    <a:pt x="477" y="277"/>
                  </a:lnTo>
                  <a:lnTo>
                    <a:pt x="436" y="290"/>
                  </a:lnTo>
                  <a:lnTo>
                    <a:pt x="397" y="303"/>
                  </a:lnTo>
                  <a:lnTo>
                    <a:pt x="331" y="326"/>
                  </a:lnTo>
                  <a:lnTo>
                    <a:pt x="278" y="345"/>
                  </a:lnTo>
                  <a:lnTo>
                    <a:pt x="239" y="360"/>
                  </a:lnTo>
                  <a:lnTo>
                    <a:pt x="242" y="338"/>
                  </a:lnTo>
                  <a:lnTo>
                    <a:pt x="245" y="316"/>
                  </a:lnTo>
                  <a:lnTo>
                    <a:pt x="252" y="269"/>
                  </a:lnTo>
                  <a:lnTo>
                    <a:pt x="259" y="222"/>
                  </a:lnTo>
                  <a:lnTo>
                    <a:pt x="262" y="199"/>
                  </a:lnTo>
                  <a:lnTo>
                    <a:pt x="264" y="175"/>
                  </a:lnTo>
                  <a:lnTo>
                    <a:pt x="265" y="153"/>
                  </a:lnTo>
                  <a:lnTo>
                    <a:pt x="266" y="131"/>
                  </a:lnTo>
                  <a:lnTo>
                    <a:pt x="265" y="120"/>
                  </a:lnTo>
                  <a:lnTo>
                    <a:pt x="264" y="110"/>
                  </a:lnTo>
                  <a:lnTo>
                    <a:pt x="263" y="99"/>
                  </a:lnTo>
                  <a:lnTo>
                    <a:pt x="262" y="89"/>
                  </a:lnTo>
                  <a:lnTo>
                    <a:pt x="260" y="80"/>
                  </a:lnTo>
                  <a:lnTo>
                    <a:pt x="257" y="71"/>
                  </a:lnTo>
                  <a:lnTo>
                    <a:pt x="254" y="62"/>
                  </a:lnTo>
                  <a:lnTo>
                    <a:pt x="251" y="53"/>
                  </a:lnTo>
                  <a:lnTo>
                    <a:pt x="247" y="45"/>
                  </a:lnTo>
                  <a:lnTo>
                    <a:pt x="242" y="37"/>
                  </a:lnTo>
                  <a:lnTo>
                    <a:pt x="237" y="30"/>
                  </a:lnTo>
                  <a:lnTo>
                    <a:pt x="231" y="23"/>
                  </a:lnTo>
                  <a:lnTo>
                    <a:pt x="227" y="19"/>
                  </a:lnTo>
                  <a:lnTo>
                    <a:pt x="222" y="16"/>
                  </a:lnTo>
                  <a:lnTo>
                    <a:pt x="217" y="12"/>
                  </a:lnTo>
                  <a:lnTo>
                    <a:pt x="211" y="9"/>
                  </a:lnTo>
                  <a:lnTo>
                    <a:pt x="205" y="7"/>
                  </a:lnTo>
                  <a:lnTo>
                    <a:pt x="199" y="5"/>
                  </a:lnTo>
                  <a:lnTo>
                    <a:pt x="192" y="3"/>
                  </a:lnTo>
                  <a:lnTo>
                    <a:pt x="185" y="2"/>
                  </a:lnTo>
                  <a:lnTo>
                    <a:pt x="178" y="1"/>
                  </a:lnTo>
                  <a:lnTo>
                    <a:pt x="171" y="0"/>
                  </a:lnTo>
                  <a:lnTo>
                    <a:pt x="163" y="1"/>
                  </a:lnTo>
                  <a:lnTo>
                    <a:pt x="155" y="1"/>
                  </a:lnTo>
                  <a:lnTo>
                    <a:pt x="148" y="2"/>
                  </a:lnTo>
                  <a:lnTo>
                    <a:pt x="140" y="4"/>
                  </a:lnTo>
                  <a:lnTo>
                    <a:pt x="132" y="6"/>
                  </a:lnTo>
                  <a:lnTo>
                    <a:pt x="125" y="9"/>
                  </a:lnTo>
                  <a:lnTo>
                    <a:pt x="117" y="12"/>
                  </a:lnTo>
                  <a:lnTo>
                    <a:pt x="110" y="16"/>
                  </a:lnTo>
                  <a:lnTo>
                    <a:pt x="103" y="20"/>
                  </a:lnTo>
                  <a:lnTo>
                    <a:pt x="96" y="25"/>
                  </a:lnTo>
                  <a:lnTo>
                    <a:pt x="89" y="31"/>
                  </a:lnTo>
                  <a:lnTo>
                    <a:pt x="82" y="37"/>
                  </a:lnTo>
                  <a:lnTo>
                    <a:pt x="76" y="44"/>
                  </a:lnTo>
                  <a:lnTo>
                    <a:pt x="70" y="52"/>
                  </a:lnTo>
                  <a:lnTo>
                    <a:pt x="65" y="60"/>
                  </a:lnTo>
                  <a:lnTo>
                    <a:pt x="60" y="69"/>
                  </a:lnTo>
                  <a:lnTo>
                    <a:pt x="56" y="79"/>
                  </a:lnTo>
                  <a:lnTo>
                    <a:pt x="52" y="89"/>
                  </a:lnTo>
                  <a:lnTo>
                    <a:pt x="48" y="101"/>
                  </a:lnTo>
                  <a:lnTo>
                    <a:pt x="46" y="113"/>
                  </a:lnTo>
                  <a:lnTo>
                    <a:pt x="43" y="126"/>
                  </a:lnTo>
                  <a:lnTo>
                    <a:pt x="42" y="139"/>
                  </a:lnTo>
                  <a:lnTo>
                    <a:pt x="39" y="180"/>
                  </a:lnTo>
                  <a:lnTo>
                    <a:pt x="35" y="221"/>
                  </a:lnTo>
                  <a:lnTo>
                    <a:pt x="26" y="308"/>
                  </a:lnTo>
                  <a:lnTo>
                    <a:pt x="15" y="401"/>
                  </a:lnTo>
                  <a:lnTo>
                    <a:pt x="3" y="498"/>
                  </a:lnTo>
                  <a:lnTo>
                    <a:pt x="1" y="513"/>
                  </a:lnTo>
                  <a:lnTo>
                    <a:pt x="0" y="527"/>
                  </a:lnTo>
                  <a:lnTo>
                    <a:pt x="0" y="539"/>
                  </a:lnTo>
                  <a:lnTo>
                    <a:pt x="0" y="551"/>
                  </a:lnTo>
                  <a:lnTo>
                    <a:pt x="1" y="561"/>
                  </a:lnTo>
                  <a:lnTo>
                    <a:pt x="3" y="570"/>
                  </a:lnTo>
                  <a:lnTo>
                    <a:pt x="5" y="578"/>
                  </a:lnTo>
                  <a:lnTo>
                    <a:pt x="7" y="585"/>
                  </a:lnTo>
                  <a:lnTo>
                    <a:pt x="11" y="591"/>
                  </a:lnTo>
                  <a:lnTo>
                    <a:pt x="14" y="596"/>
                  </a:lnTo>
                  <a:lnTo>
                    <a:pt x="19" y="601"/>
                  </a:lnTo>
                  <a:lnTo>
                    <a:pt x="23" y="604"/>
                  </a:lnTo>
                  <a:lnTo>
                    <a:pt x="29" y="607"/>
                  </a:lnTo>
                  <a:lnTo>
                    <a:pt x="34" y="609"/>
                  </a:lnTo>
                  <a:lnTo>
                    <a:pt x="40" y="610"/>
                  </a:lnTo>
                  <a:lnTo>
                    <a:pt x="47" y="611"/>
                  </a:lnTo>
                  <a:lnTo>
                    <a:pt x="54" y="611"/>
                  </a:lnTo>
                  <a:lnTo>
                    <a:pt x="61" y="610"/>
                  </a:lnTo>
                  <a:lnTo>
                    <a:pt x="68" y="609"/>
                  </a:lnTo>
                  <a:lnTo>
                    <a:pt x="76" y="608"/>
                  </a:lnTo>
                  <a:lnTo>
                    <a:pt x="93" y="603"/>
                  </a:lnTo>
                  <a:lnTo>
                    <a:pt x="110" y="598"/>
                  </a:lnTo>
                  <a:lnTo>
                    <a:pt x="129" y="591"/>
                  </a:lnTo>
                  <a:lnTo>
                    <a:pt x="148" y="583"/>
                  </a:lnTo>
                  <a:lnTo>
                    <a:pt x="187" y="5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400" b="1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3457265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SIGMA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B33B9191-53B8-4819-81D2-79C6E924A734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5557680" y="1162685"/>
            <a:ext cx="6217760" cy="53980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FFCB06"/>
              </a:buClr>
              <a:defRPr sz="2133"/>
            </a:lvl1pPr>
            <a:lvl2pPr>
              <a:buClr>
                <a:srgbClr val="FFCB06"/>
              </a:buClr>
              <a:defRPr sz="2133"/>
            </a:lvl2pPr>
            <a:lvl3pPr>
              <a:buClr>
                <a:srgbClr val="FFCB06"/>
              </a:buClr>
              <a:defRPr sz="2133"/>
            </a:lvl3pPr>
            <a:lvl4pPr>
              <a:buClr>
                <a:srgbClr val="FFCB06"/>
              </a:buClr>
              <a:defRPr sz="2133"/>
            </a:lvl4pPr>
            <a:lvl5pPr>
              <a:buClr>
                <a:srgbClr val="FFCB06"/>
              </a:buClr>
              <a:defRPr sz="2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_tradnl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0" y="1"/>
            <a:ext cx="5384800" cy="65635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37FF97A-7FE6-48FF-8101-7968F743C3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7680" y="134400"/>
            <a:ext cx="6217760" cy="85440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2933"/>
            </a:lvl1pPr>
          </a:lstStyle>
          <a:p>
            <a:r>
              <a:rPr lang="en-US"/>
              <a:t>Click to edit Master title style</a:t>
            </a:r>
            <a:endParaRPr lang="es-ES_tradnl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32908A2-9720-4AC1-B1CC-542F05E66800}"/>
              </a:ext>
            </a:extLst>
          </p:cNvPr>
          <p:cNvSpPr/>
          <p:nvPr/>
        </p:nvSpPr>
        <p:spPr>
          <a:xfrm>
            <a:off x="5679657" y="984862"/>
            <a:ext cx="1199984" cy="93953"/>
          </a:xfrm>
          <a:prstGeom prst="rect">
            <a:avLst/>
          </a:prstGeom>
          <a:solidFill>
            <a:srgbClr val="D50032"/>
          </a:solidFill>
          <a:ln w="2857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20" name="Slide Number Placeholder 4">
            <a:extLst>
              <a:ext uri="{FF2B5EF4-FFF2-40B4-BE49-F238E27FC236}">
                <a16:creationId xmlns:a16="http://schemas.microsoft.com/office/drawing/2014/main" id="{3D378D0D-A172-42A9-AB9A-3B99C91FDA2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671421" y="1"/>
            <a:ext cx="520579" cy="366183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tx1"/>
                </a:solidFill>
              </a:defRPr>
            </a:lvl1pPr>
          </a:lstStyle>
          <a:p>
            <a:fld id="{95E63616-A2E2-49CD-8B48-1F006743AC2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C14B99C-F070-40E2-A3F9-6FB67C8958AB}"/>
              </a:ext>
            </a:extLst>
          </p:cNvPr>
          <p:cNvSpPr/>
          <p:nvPr/>
        </p:nvSpPr>
        <p:spPr>
          <a:xfrm>
            <a:off x="0" y="6762804"/>
            <a:ext cx="12192000" cy="106704"/>
          </a:xfrm>
          <a:prstGeom prst="rect">
            <a:avLst/>
          </a:prstGeom>
          <a:solidFill>
            <a:srgbClr val="D500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240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577615A-9251-45A7-8D48-1262AA7EDF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79657" y="6377611"/>
            <a:ext cx="585267" cy="341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01366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SIGMA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807200" y="1"/>
            <a:ext cx="5384800" cy="67628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5600" y="134400"/>
            <a:ext cx="6217760" cy="85440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2933"/>
            </a:lvl1pPr>
          </a:lstStyle>
          <a:p>
            <a:r>
              <a:rPr lang="en-US"/>
              <a:t>Click to edit Master title style</a:t>
            </a:r>
            <a:endParaRPr lang="es-ES_tradnl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75930924-C575-403B-AFA4-400B78B341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5600" y="1165496"/>
            <a:ext cx="6217760" cy="531626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FFCB06"/>
              </a:buClr>
              <a:defRPr sz="2133"/>
            </a:lvl1pPr>
            <a:lvl2pPr>
              <a:buClr>
                <a:srgbClr val="FFCB06"/>
              </a:buClr>
              <a:defRPr sz="2133"/>
            </a:lvl2pPr>
            <a:lvl3pPr>
              <a:buClr>
                <a:srgbClr val="FFCB06"/>
              </a:buClr>
              <a:defRPr sz="2133"/>
            </a:lvl3pPr>
            <a:lvl4pPr>
              <a:buClr>
                <a:srgbClr val="FFCB06"/>
              </a:buClr>
              <a:defRPr sz="2133"/>
            </a:lvl4pPr>
            <a:lvl5pPr>
              <a:buClr>
                <a:srgbClr val="FFCB06"/>
              </a:buClr>
              <a:defRPr sz="2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_tradnl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E1A05B2-67A4-41C5-BCAF-5D585232B01D}"/>
              </a:ext>
            </a:extLst>
          </p:cNvPr>
          <p:cNvSpPr/>
          <p:nvPr/>
        </p:nvSpPr>
        <p:spPr>
          <a:xfrm>
            <a:off x="0" y="6762804"/>
            <a:ext cx="12192000" cy="106704"/>
          </a:xfrm>
          <a:prstGeom prst="rect">
            <a:avLst/>
          </a:prstGeom>
          <a:solidFill>
            <a:srgbClr val="D500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2400"/>
          </a:p>
        </p:txBody>
      </p:sp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D8921898-DF4A-4A44-927F-65402700D2A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671421" y="1"/>
            <a:ext cx="520579" cy="366183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</a:defRPr>
            </a:lvl1pPr>
          </a:lstStyle>
          <a:p>
            <a:fld id="{95E63616-A2E2-49CD-8B48-1F006743AC2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CA57C07-1912-40AC-B31B-8185F468FC93}"/>
              </a:ext>
            </a:extLst>
          </p:cNvPr>
          <p:cNvSpPr/>
          <p:nvPr/>
        </p:nvSpPr>
        <p:spPr>
          <a:xfrm>
            <a:off x="467577" y="990641"/>
            <a:ext cx="1199984" cy="93953"/>
          </a:xfrm>
          <a:prstGeom prst="rect">
            <a:avLst/>
          </a:prstGeom>
          <a:solidFill>
            <a:srgbClr val="D50032"/>
          </a:solidFill>
          <a:ln w="2857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4BBAC94-DDEA-47C8-BBB3-B271DF2447EC}"/>
              </a:ext>
            </a:extLst>
          </p:cNvPr>
          <p:cNvGrpSpPr>
            <a:grpSpLocks noChangeAspect="1"/>
          </p:cNvGrpSpPr>
          <p:nvPr/>
        </p:nvGrpSpPr>
        <p:grpSpPr>
          <a:xfrm>
            <a:off x="11470709" y="6377611"/>
            <a:ext cx="589936" cy="336000"/>
            <a:chOff x="1188944" y="2513316"/>
            <a:chExt cx="1814513" cy="1033463"/>
          </a:xfrm>
          <a:solidFill>
            <a:schemeClr val="bg1"/>
          </a:solidFill>
        </p:grpSpPr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60E5150C-B5C9-4797-AF77-FBF4662E88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54942" y="2833656"/>
              <a:ext cx="1448515" cy="713123"/>
            </a:xfrm>
            <a:custGeom>
              <a:avLst/>
              <a:gdLst>
                <a:gd name="T0" fmla="*/ 2937 w 3463"/>
                <a:gd name="T1" fmla="*/ 123 h 1703"/>
                <a:gd name="T2" fmla="*/ 2655 w 3463"/>
                <a:gd name="T3" fmla="*/ 476 h 1703"/>
                <a:gd name="T4" fmla="*/ 2529 w 3463"/>
                <a:gd name="T5" fmla="*/ 752 h 1703"/>
                <a:gd name="T6" fmla="*/ 2571 w 3463"/>
                <a:gd name="T7" fmla="*/ 266 h 1703"/>
                <a:gd name="T8" fmla="*/ 2529 w 3463"/>
                <a:gd name="T9" fmla="*/ 44 h 1703"/>
                <a:gd name="T10" fmla="*/ 2296 w 3463"/>
                <a:gd name="T11" fmla="*/ 64 h 1703"/>
                <a:gd name="T12" fmla="*/ 2102 w 3463"/>
                <a:gd name="T13" fmla="*/ 101 h 1703"/>
                <a:gd name="T14" fmla="*/ 1962 w 3463"/>
                <a:gd name="T15" fmla="*/ 15 h 1703"/>
                <a:gd name="T16" fmla="*/ 1673 w 3463"/>
                <a:gd name="T17" fmla="*/ 210 h 1703"/>
                <a:gd name="T18" fmla="*/ 1605 w 3463"/>
                <a:gd name="T19" fmla="*/ 37 h 1703"/>
                <a:gd name="T20" fmla="*/ 1447 w 3463"/>
                <a:gd name="T21" fmla="*/ 60 h 1703"/>
                <a:gd name="T22" fmla="*/ 1235 w 3463"/>
                <a:gd name="T23" fmla="*/ 79 h 1703"/>
                <a:gd name="T24" fmla="*/ 1019 w 3463"/>
                <a:gd name="T25" fmla="*/ 31 h 1703"/>
                <a:gd name="T26" fmla="*/ 703 w 3463"/>
                <a:gd name="T27" fmla="*/ 139 h 1703"/>
                <a:gd name="T28" fmla="*/ 437 w 3463"/>
                <a:gd name="T29" fmla="*/ 471 h 1703"/>
                <a:gd name="T30" fmla="*/ 271 w 3463"/>
                <a:gd name="T31" fmla="*/ 734 h 1703"/>
                <a:gd name="T32" fmla="*/ 307 w 3463"/>
                <a:gd name="T33" fmla="*/ 221 h 1703"/>
                <a:gd name="T34" fmla="*/ 261 w 3463"/>
                <a:gd name="T35" fmla="*/ 17 h 1703"/>
                <a:gd name="T36" fmla="*/ 105 w 3463"/>
                <a:gd name="T37" fmla="*/ 30 h 1703"/>
                <a:gd name="T38" fmla="*/ 21 w 3463"/>
                <a:gd name="T39" fmla="*/ 927 h 1703"/>
                <a:gd name="T40" fmla="*/ 185 w 3463"/>
                <a:gd name="T41" fmla="*/ 961 h 1703"/>
                <a:gd name="T42" fmla="*/ 393 w 3463"/>
                <a:gd name="T43" fmla="*/ 839 h 1703"/>
                <a:gd name="T44" fmla="*/ 223 w 3463"/>
                <a:gd name="T45" fmla="*/ 1153 h 1703"/>
                <a:gd name="T46" fmla="*/ 140 w 3463"/>
                <a:gd name="T47" fmla="*/ 1447 h 1703"/>
                <a:gd name="T48" fmla="*/ 283 w 3463"/>
                <a:gd name="T49" fmla="*/ 1659 h 1703"/>
                <a:gd name="T50" fmla="*/ 629 w 3463"/>
                <a:gd name="T51" fmla="*/ 1676 h 1703"/>
                <a:gd name="T52" fmla="*/ 963 w 3463"/>
                <a:gd name="T53" fmla="*/ 1455 h 1703"/>
                <a:gd name="T54" fmla="*/ 1128 w 3463"/>
                <a:gd name="T55" fmla="*/ 1112 h 1703"/>
                <a:gd name="T56" fmla="*/ 1403 w 3463"/>
                <a:gd name="T57" fmla="*/ 251 h 1703"/>
                <a:gd name="T58" fmla="*/ 1401 w 3463"/>
                <a:gd name="T59" fmla="*/ 955 h 1703"/>
                <a:gd name="T60" fmla="*/ 1556 w 3463"/>
                <a:gd name="T61" fmla="*/ 963 h 1703"/>
                <a:gd name="T62" fmla="*/ 1633 w 3463"/>
                <a:gd name="T63" fmla="*/ 552 h 1703"/>
                <a:gd name="T64" fmla="*/ 1846 w 3463"/>
                <a:gd name="T65" fmla="*/ 233 h 1703"/>
                <a:gd name="T66" fmla="*/ 1874 w 3463"/>
                <a:gd name="T67" fmla="*/ 338 h 1703"/>
                <a:gd name="T68" fmla="*/ 1867 w 3463"/>
                <a:gd name="T69" fmla="*/ 962 h 1703"/>
                <a:gd name="T70" fmla="*/ 2040 w 3463"/>
                <a:gd name="T71" fmla="*/ 947 h 1703"/>
                <a:gd name="T72" fmla="*/ 2125 w 3463"/>
                <a:gd name="T73" fmla="*/ 476 h 1703"/>
                <a:gd name="T74" fmla="*/ 2330 w 3463"/>
                <a:gd name="T75" fmla="*/ 229 h 1703"/>
                <a:gd name="T76" fmla="*/ 2278 w 3463"/>
                <a:gd name="T77" fmla="*/ 756 h 1703"/>
                <a:gd name="T78" fmla="*/ 2335 w 3463"/>
                <a:gd name="T79" fmla="*/ 975 h 1703"/>
                <a:gd name="T80" fmla="*/ 2562 w 3463"/>
                <a:gd name="T81" fmla="*/ 909 h 1703"/>
                <a:gd name="T82" fmla="*/ 2691 w 3463"/>
                <a:gd name="T83" fmla="*/ 966 h 1703"/>
                <a:gd name="T84" fmla="*/ 2940 w 3463"/>
                <a:gd name="T85" fmla="*/ 936 h 1703"/>
                <a:gd name="T86" fmla="*/ 3135 w 3463"/>
                <a:gd name="T87" fmla="*/ 907 h 1703"/>
                <a:gd name="T88" fmla="*/ 3243 w 3463"/>
                <a:gd name="T89" fmla="*/ 991 h 1703"/>
                <a:gd name="T90" fmla="*/ 3351 w 3463"/>
                <a:gd name="T91" fmla="*/ 889 h 1703"/>
                <a:gd name="T92" fmla="*/ 3452 w 3463"/>
                <a:gd name="T93" fmla="*/ 82 h 1703"/>
                <a:gd name="T94" fmla="*/ 917 w 3463"/>
                <a:gd name="T95" fmla="*/ 950 h 1703"/>
                <a:gd name="T96" fmla="*/ 791 w 3463"/>
                <a:gd name="T97" fmla="*/ 1460 h 1703"/>
                <a:gd name="T98" fmla="*/ 565 w 3463"/>
                <a:gd name="T99" fmla="*/ 1554 h 1703"/>
                <a:gd name="T100" fmla="*/ 373 w 3463"/>
                <a:gd name="T101" fmla="*/ 1411 h 1703"/>
                <a:gd name="T102" fmla="*/ 461 w 3463"/>
                <a:gd name="T103" fmla="*/ 1066 h 1703"/>
                <a:gd name="T104" fmla="*/ 738 w 3463"/>
                <a:gd name="T105" fmla="*/ 916 h 1703"/>
                <a:gd name="T106" fmla="*/ 950 w 3463"/>
                <a:gd name="T107" fmla="*/ 445 h 1703"/>
                <a:gd name="T108" fmla="*/ 703 w 3463"/>
                <a:gd name="T109" fmla="*/ 743 h 1703"/>
                <a:gd name="T110" fmla="*/ 630 w 3463"/>
                <a:gd name="T111" fmla="*/ 641 h 1703"/>
                <a:gd name="T112" fmla="*/ 748 w 3463"/>
                <a:gd name="T113" fmla="*/ 291 h 1703"/>
                <a:gd name="T114" fmla="*/ 998 w 3463"/>
                <a:gd name="T115" fmla="*/ 229 h 1703"/>
                <a:gd name="T116" fmla="*/ 3056 w 3463"/>
                <a:gd name="T117" fmla="*/ 628 h 1703"/>
                <a:gd name="T118" fmla="*/ 2862 w 3463"/>
                <a:gd name="T119" fmla="*/ 759 h 1703"/>
                <a:gd name="T120" fmla="*/ 2896 w 3463"/>
                <a:gd name="T121" fmla="*/ 416 h 1703"/>
                <a:gd name="T122" fmla="*/ 3071 w 3463"/>
                <a:gd name="T123" fmla="*/ 214 h 1703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463"/>
                <a:gd name="T187" fmla="*/ 0 h 1703"/>
                <a:gd name="T188" fmla="*/ 3463 w 3463"/>
                <a:gd name="T189" fmla="*/ 1703 h 1703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463" h="1703">
                  <a:moveTo>
                    <a:pt x="3244" y="27"/>
                  </a:moveTo>
                  <a:lnTo>
                    <a:pt x="3228" y="28"/>
                  </a:lnTo>
                  <a:lnTo>
                    <a:pt x="3212" y="29"/>
                  </a:lnTo>
                  <a:lnTo>
                    <a:pt x="3197" y="30"/>
                  </a:lnTo>
                  <a:lnTo>
                    <a:pt x="3181" y="32"/>
                  </a:lnTo>
                  <a:lnTo>
                    <a:pt x="3166" y="34"/>
                  </a:lnTo>
                  <a:lnTo>
                    <a:pt x="3151" y="37"/>
                  </a:lnTo>
                  <a:lnTo>
                    <a:pt x="3135" y="40"/>
                  </a:lnTo>
                  <a:lnTo>
                    <a:pt x="3120" y="43"/>
                  </a:lnTo>
                  <a:lnTo>
                    <a:pt x="3106" y="47"/>
                  </a:lnTo>
                  <a:lnTo>
                    <a:pt x="3091" y="51"/>
                  </a:lnTo>
                  <a:lnTo>
                    <a:pt x="3076" y="55"/>
                  </a:lnTo>
                  <a:lnTo>
                    <a:pt x="3062" y="60"/>
                  </a:lnTo>
                  <a:lnTo>
                    <a:pt x="3033" y="71"/>
                  </a:lnTo>
                  <a:lnTo>
                    <a:pt x="3019" y="78"/>
                  </a:lnTo>
                  <a:lnTo>
                    <a:pt x="3005" y="84"/>
                  </a:lnTo>
                  <a:lnTo>
                    <a:pt x="2991" y="91"/>
                  </a:lnTo>
                  <a:lnTo>
                    <a:pt x="2977" y="98"/>
                  </a:lnTo>
                  <a:lnTo>
                    <a:pt x="2950" y="114"/>
                  </a:lnTo>
                  <a:lnTo>
                    <a:pt x="2937" y="123"/>
                  </a:lnTo>
                  <a:lnTo>
                    <a:pt x="2924" y="132"/>
                  </a:lnTo>
                  <a:lnTo>
                    <a:pt x="2911" y="141"/>
                  </a:lnTo>
                  <a:lnTo>
                    <a:pt x="2898" y="150"/>
                  </a:lnTo>
                  <a:lnTo>
                    <a:pt x="2885" y="160"/>
                  </a:lnTo>
                  <a:lnTo>
                    <a:pt x="2873" y="171"/>
                  </a:lnTo>
                  <a:lnTo>
                    <a:pt x="2848" y="193"/>
                  </a:lnTo>
                  <a:lnTo>
                    <a:pt x="2836" y="205"/>
                  </a:lnTo>
                  <a:lnTo>
                    <a:pt x="2824" y="217"/>
                  </a:lnTo>
                  <a:lnTo>
                    <a:pt x="2800" y="242"/>
                  </a:lnTo>
                  <a:lnTo>
                    <a:pt x="2783" y="261"/>
                  </a:lnTo>
                  <a:lnTo>
                    <a:pt x="2767" y="281"/>
                  </a:lnTo>
                  <a:lnTo>
                    <a:pt x="2751" y="302"/>
                  </a:lnTo>
                  <a:lnTo>
                    <a:pt x="2737" y="322"/>
                  </a:lnTo>
                  <a:lnTo>
                    <a:pt x="2722" y="343"/>
                  </a:lnTo>
                  <a:lnTo>
                    <a:pt x="2709" y="364"/>
                  </a:lnTo>
                  <a:lnTo>
                    <a:pt x="2696" y="386"/>
                  </a:lnTo>
                  <a:lnTo>
                    <a:pt x="2685" y="408"/>
                  </a:lnTo>
                  <a:lnTo>
                    <a:pt x="2674" y="430"/>
                  </a:lnTo>
                  <a:lnTo>
                    <a:pt x="2664" y="453"/>
                  </a:lnTo>
                  <a:lnTo>
                    <a:pt x="2655" y="476"/>
                  </a:lnTo>
                  <a:lnTo>
                    <a:pt x="2647" y="499"/>
                  </a:lnTo>
                  <a:lnTo>
                    <a:pt x="2643" y="511"/>
                  </a:lnTo>
                  <a:lnTo>
                    <a:pt x="2639" y="523"/>
                  </a:lnTo>
                  <a:lnTo>
                    <a:pt x="2632" y="547"/>
                  </a:lnTo>
                  <a:lnTo>
                    <a:pt x="2627" y="571"/>
                  </a:lnTo>
                  <a:lnTo>
                    <a:pt x="2621" y="596"/>
                  </a:lnTo>
                  <a:lnTo>
                    <a:pt x="2618" y="608"/>
                  </a:lnTo>
                  <a:lnTo>
                    <a:pt x="2612" y="625"/>
                  </a:lnTo>
                  <a:lnTo>
                    <a:pt x="2604" y="645"/>
                  </a:lnTo>
                  <a:lnTo>
                    <a:pt x="2600" y="656"/>
                  </a:lnTo>
                  <a:lnTo>
                    <a:pt x="2594" y="667"/>
                  </a:lnTo>
                  <a:lnTo>
                    <a:pt x="2588" y="678"/>
                  </a:lnTo>
                  <a:lnTo>
                    <a:pt x="2582" y="690"/>
                  </a:lnTo>
                  <a:lnTo>
                    <a:pt x="2575" y="701"/>
                  </a:lnTo>
                  <a:lnTo>
                    <a:pt x="2567" y="712"/>
                  </a:lnTo>
                  <a:lnTo>
                    <a:pt x="2558" y="723"/>
                  </a:lnTo>
                  <a:lnTo>
                    <a:pt x="2549" y="734"/>
                  </a:lnTo>
                  <a:lnTo>
                    <a:pt x="2544" y="739"/>
                  </a:lnTo>
                  <a:lnTo>
                    <a:pt x="2539" y="743"/>
                  </a:lnTo>
                  <a:lnTo>
                    <a:pt x="2529" y="752"/>
                  </a:lnTo>
                  <a:lnTo>
                    <a:pt x="2525" y="755"/>
                  </a:lnTo>
                  <a:lnTo>
                    <a:pt x="2522" y="757"/>
                  </a:lnTo>
                  <a:lnTo>
                    <a:pt x="2520" y="758"/>
                  </a:lnTo>
                  <a:lnTo>
                    <a:pt x="2517" y="759"/>
                  </a:lnTo>
                  <a:lnTo>
                    <a:pt x="2515" y="759"/>
                  </a:lnTo>
                  <a:lnTo>
                    <a:pt x="2513" y="759"/>
                  </a:lnTo>
                  <a:lnTo>
                    <a:pt x="2512" y="759"/>
                  </a:lnTo>
                  <a:lnTo>
                    <a:pt x="2510" y="758"/>
                  </a:lnTo>
                  <a:lnTo>
                    <a:pt x="2508" y="756"/>
                  </a:lnTo>
                  <a:lnTo>
                    <a:pt x="2507" y="754"/>
                  </a:lnTo>
                  <a:lnTo>
                    <a:pt x="2506" y="751"/>
                  </a:lnTo>
                  <a:lnTo>
                    <a:pt x="2506" y="748"/>
                  </a:lnTo>
                  <a:lnTo>
                    <a:pt x="2505" y="738"/>
                  </a:lnTo>
                  <a:lnTo>
                    <a:pt x="2506" y="729"/>
                  </a:lnTo>
                  <a:lnTo>
                    <a:pt x="2509" y="711"/>
                  </a:lnTo>
                  <a:lnTo>
                    <a:pt x="2516" y="658"/>
                  </a:lnTo>
                  <a:lnTo>
                    <a:pt x="2537" y="508"/>
                  </a:lnTo>
                  <a:lnTo>
                    <a:pt x="2566" y="300"/>
                  </a:lnTo>
                  <a:lnTo>
                    <a:pt x="2569" y="283"/>
                  </a:lnTo>
                  <a:lnTo>
                    <a:pt x="2571" y="266"/>
                  </a:lnTo>
                  <a:lnTo>
                    <a:pt x="2574" y="234"/>
                  </a:lnTo>
                  <a:lnTo>
                    <a:pt x="2576" y="218"/>
                  </a:lnTo>
                  <a:lnTo>
                    <a:pt x="2576" y="204"/>
                  </a:lnTo>
                  <a:lnTo>
                    <a:pt x="2577" y="176"/>
                  </a:lnTo>
                  <a:lnTo>
                    <a:pt x="2577" y="163"/>
                  </a:lnTo>
                  <a:lnTo>
                    <a:pt x="2576" y="150"/>
                  </a:lnTo>
                  <a:lnTo>
                    <a:pt x="2575" y="138"/>
                  </a:lnTo>
                  <a:lnTo>
                    <a:pt x="2573" y="127"/>
                  </a:lnTo>
                  <a:lnTo>
                    <a:pt x="2571" y="117"/>
                  </a:lnTo>
                  <a:lnTo>
                    <a:pt x="2568" y="107"/>
                  </a:lnTo>
                  <a:lnTo>
                    <a:pt x="2565" y="98"/>
                  </a:lnTo>
                  <a:lnTo>
                    <a:pt x="2562" y="89"/>
                  </a:lnTo>
                  <a:lnTo>
                    <a:pt x="2558" y="81"/>
                  </a:lnTo>
                  <a:lnTo>
                    <a:pt x="2554" y="74"/>
                  </a:lnTo>
                  <a:lnTo>
                    <a:pt x="2551" y="70"/>
                  </a:lnTo>
                  <a:lnTo>
                    <a:pt x="2549" y="67"/>
                  </a:lnTo>
                  <a:lnTo>
                    <a:pt x="2545" y="60"/>
                  </a:lnTo>
                  <a:lnTo>
                    <a:pt x="2540" y="55"/>
                  </a:lnTo>
                  <a:lnTo>
                    <a:pt x="2535" y="49"/>
                  </a:lnTo>
                  <a:lnTo>
                    <a:pt x="2529" y="44"/>
                  </a:lnTo>
                  <a:lnTo>
                    <a:pt x="2524" y="40"/>
                  </a:lnTo>
                  <a:lnTo>
                    <a:pt x="2513" y="33"/>
                  </a:lnTo>
                  <a:lnTo>
                    <a:pt x="2507" y="29"/>
                  </a:lnTo>
                  <a:lnTo>
                    <a:pt x="2502" y="27"/>
                  </a:lnTo>
                  <a:lnTo>
                    <a:pt x="2490" y="22"/>
                  </a:lnTo>
                  <a:lnTo>
                    <a:pt x="2479" y="19"/>
                  </a:lnTo>
                  <a:lnTo>
                    <a:pt x="2468" y="16"/>
                  </a:lnTo>
                  <a:lnTo>
                    <a:pt x="2458" y="15"/>
                  </a:lnTo>
                  <a:lnTo>
                    <a:pt x="2448" y="14"/>
                  </a:lnTo>
                  <a:lnTo>
                    <a:pt x="2440" y="14"/>
                  </a:lnTo>
                  <a:lnTo>
                    <a:pt x="2426" y="14"/>
                  </a:lnTo>
                  <a:lnTo>
                    <a:pt x="2412" y="16"/>
                  </a:lnTo>
                  <a:lnTo>
                    <a:pt x="2398" y="18"/>
                  </a:lnTo>
                  <a:lnTo>
                    <a:pt x="2384" y="22"/>
                  </a:lnTo>
                  <a:lnTo>
                    <a:pt x="2370" y="26"/>
                  </a:lnTo>
                  <a:lnTo>
                    <a:pt x="2355" y="32"/>
                  </a:lnTo>
                  <a:lnTo>
                    <a:pt x="2340" y="38"/>
                  </a:lnTo>
                  <a:lnTo>
                    <a:pt x="2326" y="46"/>
                  </a:lnTo>
                  <a:lnTo>
                    <a:pt x="2311" y="54"/>
                  </a:lnTo>
                  <a:lnTo>
                    <a:pt x="2296" y="64"/>
                  </a:lnTo>
                  <a:lnTo>
                    <a:pt x="2280" y="74"/>
                  </a:lnTo>
                  <a:lnTo>
                    <a:pt x="2265" y="86"/>
                  </a:lnTo>
                  <a:lnTo>
                    <a:pt x="2249" y="98"/>
                  </a:lnTo>
                  <a:lnTo>
                    <a:pt x="2234" y="112"/>
                  </a:lnTo>
                  <a:lnTo>
                    <a:pt x="2218" y="126"/>
                  </a:lnTo>
                  <a:lnTo>
                    <a:pt x="2202" y="142"/>
                  </a:lnTo>
                  <a:lnTo>
                    <a:pt x="2189" y="155"/>
                  </a:lnTo>
                  <a:lnTo>
                    <a:pt x="2177" y="168"/>
                  </a:lnTo>
                  <a:lnTo>
                    <a:pt x="2165" y="181"/>
                  </a:lnTo>
                  <a:lnTo>
                    <a:pt x="2153" y="195"/>
                  </a:lnTo>
                  <a:lnTo>
                    <a:pt x="2130" y="224"/>
                  </a:lnTo>
                  <a:lnTo>
                    <a:pt x="2108" y="253"/>
                  </a:lnTo>
                  <a:lnTo>
                    <a:pt x="2113" y="182"/>
                  </a:lnTo>
                  <a:lnTo>
                    <a:pt x="2113" y="168"/>
                  </a:lnTo>
                  <a:lnTo>
                    <a:pt x="2112" y="155"/>
                  </a:lnTo>
                  <a:lnTo>
                    <a:pt x="2111" y="143"/>
                  </a:lnTo>
                  <a:lnTo>
                    <a:pt x="2109" y="131"/>
                  </a:lnTo>
                  <a:lnTo>
                    <a:pt x="2107" y="120"/>
                  </a:lnTo>
                  <a:lnTo>
                    <a:pt x="2105" y="110"/>
                  </a:lnTo>
                  <a:lnTo>
                    <a:pt x="2102" y="101"/>
                  </a:lnTo>
                  <a:lnTo>
                    <a:pt x="2098" y="92"/>
                  </a:lnTo>
                  <a:lnTo>
                    <a:pt x="2095" y="83"/>
                  </a:lnTo>
                  <a:lnTo>
                    <a:pt x="2091" y="76"/>
                  </a:lnTo>
                  <a:lnTo>
                    <a:pt x="2087" y="69"/>
                  </a:lnTo>
                  <a:lnTo>
                    <a:pt x="2082" y="62"/>
                  </a:lnTo>
                  <a:lnTo>
                    <a:pt x="2078" y="56"/>
                  </a:lnTo>
                  <a:lnTo>
                    <a:pt x="2073" y="51"/>
                  </a:lnTo>
                  <a:lnTo>
                    <a:pt x="2068" y="46"/>
                  </a:lnTo>
                  <a:lnTo>
                    <a:pt x="2062" y="41"/>
                  </a:lnTo>
                  <a:lnTo>
                    <a:pt x="2057" y="37"/>
                  </a:lnTo>
                  <a:lnTo>
                    <a:pt x="2052" y="33"/>
                  </a:lnTo>
                  <a:lnTo>
                    <a:pt x="2041" y="27"/>
                  </a:lnTo>
                  <a:lnTo>
                    <a:pt x="2035" y="24"/>
                  </a:lnTo>
                  <a:lnTo>
                    <a:pt x="2030" y="22"/>
                  </a:lnTo>
                  <a:lnTo>
                    <a:pt x="2019" y="19"/>
                  </a:lnTo>
                  <a:lnTo>
                    <a:pt x="2009" y="16"/>
                  </a:lnTo>
                  <a:lnTo>
                    <a:pt x="1999" y="15"/>
                  </a:lnTo>
                  <a:lnTo>
                    <a:pt x="1990" y="14"/>
                  </a:lnTo>
                  <a:lnTo>
                    <a:pt x="1982" y="14"/>
                  </a:lnTo>
                  <a:lnTo>
                    <a:pt x="1962" y="15"/>
                  </a:lnTo>
                  <a:lnTo>
                    <a:pt x="1952" y="16"/>
                  </a:lnTo>
                  <a:lnTo>
                    <a:pt x="1941" y="17"/>
                  </a:lnTo>
                  <a:lnTo>
                    <a:pt x="1931" y="19"/>
                  </a:lnTo>
                  <a:lnTo>
                    <a:pt x="1921" y="22"/>
                  </a:lnTo>
                  <a:lnTo>
                    <a:pt x="1901" y="28"/>
                  </a:lnTo>
                  <a:lnTo>
                    <a:pt x="1891" y="31"/>
                  </a:lnTo>
                  <a:lnTo>
                    <a:pt x="1880" y="36"/>
                  </a:lnTo>
                  <a:lnTo>
                    <a:pt x="1870" y="40"/>
                  </a:lnTo>
                  <a:lnTo>
                    <a:pt x="1860" y="45"/>
                  </a:lnTo>
                  <a:lnTo>
                    <a:pt x="1839" y="57"/>
                  </a:lnTo>
                  <a:lnTo>
                    <a:pt x="1819" y="70"/>
                  </a:lnTo>
                  <a:lnTo>
                    <a:pt x="1798" y="85"/>
                  </a:lnTo>
                  <a:lnTo>
                    <a:pt x="1778" y="101"/>
                  </a:lnTo>
                  <a:lnTo>
                    <a:pt x="1767" y="110"/>
                  </a:lnTo>
                  <a:lnTo>
                    <a:pt x="1757" y="119"/>
                  </a:lnTo>
                  <a:lnTo>
                    <a:pt x="1746" y="129"/>
                  </a:lnTo>
                  <a:lnTo>
                    <a:pt x="1736" y="140"/>
                  </a:lnTo>
                  <a:lnTo>
                    <a:pt x="1715" y="161"/>
                  </a:lnTo>
                  <a:lnTo>
                    <a:pt x="1694" y="185"/>
                  </a:lnTo>
                  <a:lnTo>
                    <a:pt x="1673" y="210"/>
                  </a:lnTo>
                  <a:lnTo>
                    <a:pt x="1662" y="224"/>
                  </a:lnTo>
                  <a:lnTo>
                    <a:pt x="1651" y="238"/>
                  </a:lnTo>
                  <a:lnTo>
                    <a:pt x="1652" y="232"/>
                  </a:lnTo>
                  <a:lnTo>
                    <a:pt x="1657" y="160"/>
                  </a:lnTo>
                  <a:lnTo>
                    <a:pt x="1656" y="148"/>
                  </a:lnTo>
                  <a:lnTo>
                    <a:pt x="1656" y="136"/>
                  </a:lnTo>
                  <a:lnTo>
                    <a:pt x="1654" y="125"/>
                  </a:lnTo>
                  <a:lnTo>
                    <a:pt x="1653" y="115"/>
                  </a:lnTo>
                  <a:lnTo>
                    <a:pt x="1650" y="105"/>
                  </a:lnTo>
                  <a:lnTo>
                    <a:pt x="1648" y="96"/>
                  </a:lnTo>
                  <a:lnTo>
                    <a:pt x="1645" y="88"/>
                  </a:lnTo>
                  <a:lnTo>
                    <a:pt x="1641" y="80"/>
                  </a:lnTo>
                  <a:lnTo>
                    <a:pt x="1638" y="73"/>
                  </a:lnTo>
                  <a:lnTo>
                    <a:pt x="1634" y="66"/>
                  </a:lnTo>
                  <a:lnTo>
                    <a:pt x="1629" y="60"/>
                  </a:lnTo>
                  <a:lnTo>
                    <a:pt x="1625" y="55"/>
                  </a:lnTo>
                  <a:lnTo>
                    <a:pt x="1620" y="49"/>
                  </a:lnTo>
                  <a:lnTo>
                    <a:pt x="1615" y="45"/>
                  </a:lnTo>
                  <a:lnTo>
                    <a:pt x="1610" y="41"/>
                  </a:lnTo>
                  <a:lnTo>
                    <a:pt x="1605" y="37"/>
                  </a:lnTo>
                  <a:lnTo>
                    <a:pt x="1600" y="33"/>
                  </a:lnTo>
                  <a:lnTo>
                    <a:pt x="1595" y="30"/>
                  </a:lnTo>
                  <a:lnTo>
                    <a:pt x="1589" y="28"/>
                  </a:lnTo>
                  <a:lnTo>
                    <a:pt x="1584" y="25"/>
                  </a:lnTo>
                  <a:lnTo>
                    <a:pt x="1574" y="22"/>
                  </a:lnTo>
                  <a:lnTo>
                    <a:pt x="1568" y="20"/>
                  </a:lnTo>
                  <a:lnTo>
                    <a:pt x="1563" y="19"/>
                  </a:lnTo>
                  <a:lnTo>
                    <a:pt x="1554" y="17"/>
                  </a:lnTo>
                  <a:lnTo>
                    <a:pt x="1545" y="17"/>
                  </a:lnTo>
                  <a:lnTo>
                    <a:pt x="1531" y="16"/>
                  </a:lnTo>
                  <a:lnTo>
                    <a:pt x="1526" y="17"/>
                  </a:lnTo>
                  <a:lnTo>
                    <a:pt x="1520" y="19"/>
                  </a:lnTo>
                  <a:lnTo>
                    <a:pt x="1514" y="21"/>
                  </a:lnTo>
                  <a:lnTo>
                    <a:pt x="1507" y="24"/>
                  </a:lnTo>
                  <a:lnTo>
                    <a:pt x="1500" y="27"/>
                  </a:lnTo>
                  <a:lnTo>
                    <a:pt x="1492" y="31"/>
                  </a:lnTo>
                  <a:lnTo>
                    <a:pt x="1475" y="41"/>
                  </a:lnTo>
                  <a:lnTo>
                    <a:pt x="1466" y="47"/>
                  </a:lnTo>
                  <a:lnTo>
                    <a:pt x="1456" y="53"/>
                  </a:lnTo>
                  <a:lnTo>
                    <a:pt x="1447" y="60"/>
                  </a:lnTo>
                  <a:lnTo>
                    <a:pt x="1436" y="67"/>
                  </a:lnTo>
                  <a:lnTo>
                    <a:pt x="1416" y="83"/>
                  </a:lnTo>
                  <a:lnTo>
                    <a:pt x="1394" y="100"/>
                  </a:lnTo>
                  <a:lnTo>
                    <a:pt x="1372" y="118"/>
                  </a:lnTo>
                  <a:lnTo>
                    <a:pt x="1349" y="137"/>
                  </a:lnTo>
                  <a:lnTo>
                    <a:pt x="1305" y="177"/>
                  </a:lnTo>
                  <a:lnTo>
                    <a:pt x="1282" y="197"/>
                  </a:lnTo>
                  <a:lnTo>
                    <a:pt x="1261" y="217"/>
                  </a:lnTo>
                  <a:lnTo>
                    <a:pt x="1241" y="236"/>
                  </a:lnTo>
                  <a:lnTo>
                    <a:pt x="1222" y="255"/>
                  </a:lnTo>
                  <a:lnTo>
                    <a:pt x="1239" y="130"/>
                  </a:lnTo>
                  <a:lnTo>
                    <a:pt x="1240" y="123"/>
                  </a:lnTo>
                  <a:lnTo>
                    <a:pt x="1241" y="117"/>
                  </a:lnTo>
                  <a:lnTo>
                    <a:pt x="1241" y="111"/>
                  </a:lnTo>
                  <a:lnTo>
                    <a:pt x="1241" y="105"/>
                  </a:lnTo>
                  <a:lnTo>
                    <a:pt x="1241" y="99"/>
                  </a:lnTo>
                  <a:lnTo>
                    <a:pt x="1240" y="94"/>
                  </a:lnTo>
                  <a:lnTo>
                    <a:pt x="1239" y="89"/>
                  </a:lnTo>
                  <a:lnTo>
                    <a:pt x="1237" y="84"/>
                  </a:lnTo>
                  <a:lnTo>
                    <a:pt x="1235" y="79"/>
                  </a:lnTo>
                  <a:lnTo>
                    <a:pt x="1233" y="75"/>
                  </a:lnTo>
                  <a:lnTo>
                    <a:pt x="1230" y="70"/>
                  </a:lnTo>
                  <a:lnTo>
                    <a:pt x="1226" y="66"/>
                  </a:lnTo>
                  <a:lnTo>
                    <a:pt x="1223" y="62"/>
                  </a:lnTo>
                  <a:lnTo>
                    <a:pt x="1218" y="59"/>
                  </a:lnTo>
                  <a:lnTo>
                    <a:pt x="1213" y="55"/>
                  </a:lnTo>
                  <a:lnTo>
                    <a:pt x="1208" y="52"/>
                  </a:lnTo>
                  <a:lnTo>
                    <a:pt x="1196" y="47"/>
                  </a:lnTo>
                  <a:lnTo>
                    <a:pt x="1190" y="44"/>
                  </a:lnTo>
                  <a:lnTo>
                    <a:pt x="1182" y="42"/>
                  </a:lnTo>
                  <a:lnTo>
                    <a:pt x="1166" y="38"/>
                  </a:lnTo>
                  <a:lnTo>
                    <a:pt x="1148" y="35"/>
                  </a:lnTo>
                  <a:lnTo>
                    <a:pt x="1128" y="32"/>
                  </a:lnTo>
                  <a:lnTo>
                    <a:pt x="1117" y="31"/>
                  </a:lnTo>
                  <a:lnTo>
                    <a:pt x="1105" y="31"/>
                  </a:lnTo>
                  <a:lnTo>
                    <a:pt x="1093" y="30"/>
                  </a:lnTo>
                  <a:lnTo>
                    <a:pt x="1080" y="30"/>
                  </a:lnTo>
                  <a:lnTo>
                    <a:pt x="1052" y="30"/>
                  </a:lnTo>
                  <a:lnTo>
                    <a:pt x="1036" y="30"/>
                  </a:lnTo>
                  <a:lnTo>
                    <a:pt x="1019" y="31"/>
                  </a:lnTo>
                  <a:lnTo>
                    <a:pt x="1003" y="32"/>
                  </a:lnTo>
                  <a:lnTo>
                    <a:pt x="987" y="33"/>
                  </a:lnTo>
                  <a:lnTo>
                    <a:pt x="971" y="35"/>
                  </a:lnTo>
                  <a:lnTo>
                    <a:pt x="955" y="38"/>
                  </a:lnTo>
                  <a:lnTo>
                    <a:pt x="923" y="44"/>
                  </a:lnTo>
                  <a:lnTo>
                    <a:pt x="908" y="47"/>
                  </a:lnTo>
                  <a:lnTo>
                    <a:pt x="892" y="51"/>
                  </a:lnTo>
                  <a:lnTo>
                    <a:pt x="877" y="55"/>
                  </a:lnTo>
                  <a:lnTo>
                    <a:pt x="862" y="60"/>
                  </a:lnTo>
                  <a:lnTo>
                    <a:pt x="847" y="65"/>
                  </a:lnTo>
                  <a:lnTo>
                    <a:pt x="832" y="71"/>
                  </a:lnTo>
                  <a:lnTo>
                    <a:pt x="817" y="77"/>
                  </a:lnTo>
                  <a:lnTo>
                    <a:pt x="802" y="83"/>
                  </a:lnTo>
                  <a:lnTo>
                    <a:pt x="788" y="90"/>
                  </a:lnTo>
                  <a:lnTo>
                    <a:pt x="773" y="97"/>
                  </a:lnTo>
                  <a:lnTo>
                    <a:pt x="759" y="105"/>
                  </a:lnTo>
                  <a:lnTo>
                    <a:pt x="745" y="113"/>
                  </a:lnTo>
                  <a:lnTo>
                    <a:pt x="731" y="121"/>
                  </a:lnTo>
                  <a:lnTo>
                    <a:pt x="717" y="130"/>
                  </a:lnTo>
                  <a:lnTo>
                    <a:pt x="703" y="139"/>
                  </a:lnTo>
                  <a:lnTo>
                    <a:pt x="690" y="149"/>
                  </a:lnTo>
                  <a:lnTo>
                    <a:pt x="676" y="159"/>
                  </a:lnTo>
                  <a:lnTo>
                    <a:pt x="663" y="170"/>
                  </a:lnTo>
                  <a:lnTo>
                    <a:pt x="637" y="192"/>
                  </a:lnTo>
                  <a:lnTo>
                    <a:pt x="624" y="204"/>
                  </a:lnTo>
                  <a:lnTo>
                    <a:pt x="611" y="216"/>
                  </a:lnTo>
                  <a:lnTo>
                    <a:pt x="598" y="228"/>
                  </a:lnTo>
                  <a:lnTo>
                    <a:pt x="586" y="241"/>
                  </a:lnTo>
                  <a:lnTo>
                    <a:pt x="570" y="259"/>
                  </a:lnTo>
                  <a:lnTo>
                    <a:pt x="555" y="277"/>
                  </a:lnTo>
                  <a:lnTo>
                    <a:pt x="540" y="295"/>
                  </a:lnTo>
                  <a:lnTo>
                    <a:pt x="526" y="314"/>
                  </a:lnTo>
                  <a:lnTo>
                    <a:pt x="512" y="332"/>
                  </a:lnTo>
                  <a:lnTo>
                    <a:pt x="500" y="351"/>
                  </a:lnTo>
                  <a:lnTo>
                    <a:pt x="488" y="371"/>
                  </a:lnTo>
                  <a:lnTo>
                    <a:pt x="476" y="390"/>
                  </a:lnTo>
                  <a:lnTo>
                    <a:pt x="465" y="410"/>
                  </a:lnTo>
                  <a:lnTo>
                    <a:pt x="455" y="430"/>
                  </a:lnTo>
                  <a:lnTo>
                    <a:pt x="446" y="451"/>
                  </a:lnTo>
                  <a:lnTo>
                    <a:pt x="437" y="471"/>
                  </a:lnTo>
                  <a:lnTo>
                    <a:pt x="429" y="492"/>
                  </a:lnTo>
                  <a:lnTo>
                    <a:pt x="421" y="513"/>
                  </a:lnTo>
                  <a:lnTo>
                    <a:pt x="418" y="524"/>
                  </a:lnTo>
                  <a:lnTo>
                    <a:pt x="415" y="535"/>
                  </a:lnTo>
                  <a:lnTo>
                    <a:pt x="408" y="557"/>
                  </a:lnTo>
                  <a:lnTo>
                    <a:pt x="397" y="580"/>
                  </a:lnTo>
                  <a:lnTo>
                    <a:pt x="383" y="606"/>
                  </a:lnTo>
                  <a:lnTo>
                    <a:pt x="375" y="619"/>
                  </a:lnTo>
                  <a:lnTo>
                    <a:pt x="367" y="632"/>
                  </a:lnTo>
                  <a:lnTo>
                    <a:pt x="358" y="645"/>
                  </a:lnTo>
                  <a:lnTo>
                    <a:pt x="349" y="658"/>
                  </a:lnTo>
                  <a:lnTo>
                    <a:pt x="340" y="670"/>
                  </a:lnTo>
                  <a:lnTo>
                    <a:pt x="329" y="683"/>
                  </a:lnTo>
                  <a:lnTo>
                    <a:pt x="319" y="694"/>
                  </a:lnTo>
                  <a:lnTo>
                    <a:pt x="313" y="700"/>
                  </a:lnTo>
                  <a:lnTo>
                    <a:pt x="308" y="705"/>
                  </a:lnTo>
                  <a:lnTo>
                    <a:pt x="296" y="716"/>
                  </a:lnTo>
                  <a:lnTo>
                    <a:pt x="284" y="725"/>
                  </a:lnTo>
                  <a:lnTo>
                    <a:pt x="278" y="730"/>
                  </a:lnTo>
                  <a:lnTo>
                    <a:pt x="271" y="734"/>
                  </a:lnTo>
                  <a:lnTo>
                    <a:pt x="265" y="738"/>
                  </a:lnTo>
                  <a:lnTo>
                    <a:pt x="258" y="741"/>
                  </a:lnTo>
                  <a:lnTo>
                    <a:pt x="255" y="743"/>
                  </a:lnTo>
                  <a:lnTo>
                    <a:pt x="251" y="743"/>
                  </a:lnTo>
                  <a:lnTo>
                    <a:pt x="248" y="743"/>
                  </a:lnTo>
                  <a:lnTo>
                    <a:pt x="246" y="742"/>
                  </a:lnTo>
                  <a:lnTo>
                    <a:pt x="244" y="741"/>
                  </a:lnTo>
                  <a:lnTo>
                    <a:pt x="242" y="740"/>
                  </a:lnTo>
                  <a:lnTo>
                    <a:pt x="241" y="738"/>
                  </a:lnTo>
                  <a:lnTo>
                    <a:pt x="240" y="736"/>
                  </a:lnTo>
                  <a:lnTo>
                    <a:pt x="239" y="733"/>
                  </a:lnTo>
                  <a:lnTo>
                    <a:pt x="238" y="729"/>
                  </a:lnTo>
                  <a:lnTo>
                    <a:pt x="238" y="725"/>
                  </a:lnTo>
                  <a:lnTo>
                    <a:pt x="238" y="719"/>
                  </a:lnTo>
                  <a:lnTo>
                    <a:pt x="239" y="714"/>
                  </a:lnTo>
                  <a:lnTo>
                    <a:pt x="259" y="575"/>
                  </a:lnTo>
                  <a:lnTo>
                    <a:pt x="286" y="391"/>
                  </a:lnTo>
                  <a:lnTo>
                    <a:pt x="298" y="301"/>
                  </a:lnTo>
                  <a:lnTo>
                    <a:pt x="303" y="259"/>
                  </a:lnTo>
                  <a:lnTo>
                    <a:pt x="307" y="221"/>
                  </a:lnTo>
                  <a:lnTo>
                    <a:pt x="311" y="188"/>
                  </a:lnTo>
                  <a:lnTo>
                    <a:pt x="313" y="161"/>
                  </a:lnTo>
                  <a:lnTo>
                    <a:pt x="314" y="149"/>
                  </a:lnTo>
                  <a:lnTo>
                    <a:pt x="314" y="140"/>
                  </a:lnTo>
                  <a:lnTo>
                    <a:pt x="314" y="132"/>
                  </a:lnTo>
                  <a:lnTo>
                    <a:pt x="314" y="127"/>
                  </a:lnTo>
                  <a:lnTo>
                    <a:pt x="312" y="114"/>
                  </a:lnTo>
                  <a:lnTo>
                    <a:pt x="310" y="98"/>
                  </a:lnTo>
                  <a:lnTo>
                    <a:pt x="305" y="79"/>
                  </a:lnTo>
                  <a:lnTo>
                    <a:pt x="302" y="69"/>
                  </a:lnTo>
                  <a:lnTo>
                    <a:pt x="300" y="65"/>
                  </a:lnTo>
                  <a:lnTo>
                    <a:pt x="298" y="60"/>
                  </a:lnTo>
                  <a:lnTo>
                    <a:pt x="293" y="50"/>
                  </a:lnTo>
                  <a:lnTo>
                    <a:pt x="287" y="41"/>
                  </a:lnTo>
                  <a:lnTo>
                    <a:pt x="283" y="37"/>
                  </a:lnTo>
                  <a:lnTo>
                    <a:pt x="279" y="32"/>
                  </a:lnTo>
                  <a:lnTo>
                    <a:pt x="275" y="28"/>
                  </a:lnTo>
                  <a:lnTo>
                    <a:pt x="271" y="24"/>
                  </a:lnTo>
                  <a:lnTo>
                    <a:pt x="266" y="21"/>
                  </a:lnTo>
                  <a:lnTo>
                    <a:pt x="261" y="17"/>
                  </a:lnTo>
                  <a:lnTo>
                    <a:pt x="256" y="14"/>
                  </a:lnTo>
                  <a:lnTo>
                    <a:pt x="250" y="11"/>
                  </a:lnTo>
                  <a:lnTo>
                    <a:pt x="243" y="9"/>
                  </a:lnTo>
                  <a:lnTo>
                    <a:pt x="237" y="6"/>
                  </a:lnTo>
                  <a:lnTo>
                    <a:pt x="230" y="4"/>
                  </a:lnTo>
                  <a:lnTo>
                    <a:pt x="222" y="3"/>
                  </a:lnTo>
                  <a:lnTo>
                    <a:pt x="212" y="1"/>
                  </a:lnTo>
                  <a:lnTo>
                    <a:pt x="203" y="1"/>
                  </a:lnTo>
                  <a:lnTo>
                    <a:pt x="193" y="0"/>
                  </a:lnTo>
                  <a:lnTo>
                    <a:pt x="184" y="1"/>
                  </a:lnTo>
                  <a:lnTo>
                    <a:pt x="175" y="2"/>
                  </a:lnTo>
                  <a:lnTo>
                    <a:pt x="167" y="3"/>
                  </a:lnTo>
                  <a:lnTo>
                    <a:pt x="159" y="5"/>
                  </a:lnTo>
                  <a:lnTo>
                    <a:pt x="151" y="7"/>
                  </a:lnTo>
                  <a:lnTo>
                    <a:pt x="137" y="12"/>
                  </a:lnTo>
                  <a:lnTo>
                    <a:pt x="130" y="15"/>
                  </a:lnTo>
                  <a:lnTo>
                    <a:pt x="124" y="18"/>
                  </a:lnTo>
                  <a:lnTo>
                    <a:pt x="118" y="21"/>
                  </a:lnTo>
                  <a:lnTo>
                    <a:pt x="113" y="24"/>
                  </a:lnTo>
                  <a:lnTo>
                    <a:pt x="105" y="30"/>
                  </a:lnTo>
                  <a:lnTo>
                    <a:pt x="105" y="35"/>
                  </a:lnTo>
                  <a:lnTo>
                    <a:pt x="105" y="44"/>
                  </a:lnTo>
                  <a:lnTo>
                    <a:pt x="103" y="72"/>
                  </a:lnTo>
                  <a:lnTo>
                    <a:pt x="99" y="113"/>
                  </a:lnTo>
                  <a:lnTo>
                    <a:pt x="93" y="165"/>
                  </a:lnTo>
                  <a:lnTo>
                    <a:pt x="76" y="293"/>
                  </a:lnTo>
                  <a:lnTo>
                    <a:pt x="56" y="439"/>
                  </a:lnTo>
                  <a:lnTo>
                    <a:pt x="18" y="710"/>
                  </a:lnTo>
                  <a:lnTo>
                    <a:pt x="5" y="801"/>
                  </a:lnTo>
                  <a:lnTo>
                    <a:pt x="1" y="829"/>
                  </a:lnTo>
                  <a:lnTo>
                    <a:pt x="0" y="840"/>
                  </a:lnTo>
                  <a:lnTo>
                    <a:pt x="0" y="852"/>
                  </a:lnTo>
                  <a:lnTo>
                    <a:pt x="1" y="862"/>
                  </a:lnTo>
                  <a:lnTo>
                    <a:pt x="2" y="872"/>
                  </a:lnTo>
                  <a:lnTo>
                    <a:pt x="4" y="882"/>
                  </a:lnTo>
                  <a:lnTo>
                    <a:pt x="6" y="891"/>
                  </a:lnTo>
                  <a:lnTo>
                    <a:pt x="8" y="899"/>
                  </a:lnTo>
                  <a:lnTo>
                    <a:pt x="14" y="914"/>
                  </a:lnTo>
                  <a:lnTo>
                    <a:pt x="17" y="921"/>
                  </a:lnTo>
                  <a:lnTo>
                    <a:pt x="21" y="927"/>
                  </a:lnTo>
                  <a:lnTo>
                    <a:pt x="25" y="933"/>
                  </a:lnTo>
                  <a:lnTo>
                    <a:pt x="29" y="938"/>
                  </a:lnTo>
                  <a:lnTo>
                    <a:pt x="33" y="943"/>
                  </a:lnTo>
                  <a:lnTo>
                    <a:pt x="37" y="947"/>
                  </a:lnTo>
                  <a:lnTo>
                    <a:pt x="42" y="951"/>
                  </a:lnTo>
                  <a:lnTo>
                    <a:pt x="47" y="955"/>
                  </a:lnTo>
                  <a:lnTo>
                    <a:pt x="56" y="961"/>
                  </a:lnTo>
                  <a:lnTo>
                    <a:pt x="66" y="965"/>
                  </a:lnTo>
                  <a:lnTo>
                    <a:pt x="71" y="967"/>
                  </a:lnTo>
                  <a:lnTo>
                    <a:pt x="75" y="969"/>
                  </a:lnTo>
                  <a:lnTo>
                    <a:pt x="80" y="970"/>
                  </a:lnTo>
                  <a:lnTo>
                    <a:pt x="84" y="972"/>
                  </a:lnTo>
                  <a:lnTo>
                    <a:pt x="93" y="973"/>
                  </a:lnTo>
                  <a:lnTo>
                    <a:pt x="101" y="974"/>
                  </a:lnTo>
                  <a:lnTo>
                    <a:pt x="113" y="975"/>
                  </a:lnTo>
                  <a:lnTo>
                    <a:pt x="128" y="974"/>
                  </a:lnTo>
                  <a:lnTo>
                    <a:pt x="142" y="973"/>
                  </a:lnTo>
                  <a:lnTo>
                    <a:pt x="156" y="970"/>
                  </a:lnTo>
                  <a:lnTo>
                    <a:pt x="171" y="966"/>
                  </a:lnTo>
                  <a:lnTo>
                    <a:pt x="185" y="961"/>
                  </a:lnTo>
                  <a:lnTo>
                    <a:pt x="199" y="955"/>
                  </a:lnTo>
                  <a:lnTo>
                    <a:pt x="214" y="947"/>
                  </a:lnTo>
                  <a:lnTo>
                    <a:pt x="228" y="939"/>
                  </a:lnTo>
                  <a:lnTo>
                    <a:pt x="242" y="929"/>
                  </a:lnTo>
                  <a:lnTo>
                    <a:pt x="250" y="924"/>
                  </a:lnTo>
                  <a:lnTo>
                    <a:pt x="257" y="918"/>
                  </a:lnTo>
                  <a:lnTo>
                    <a:pt x="272" y="906"/>
                  </a:lnTo>
                  <a:lnTo>
                    <a:pt x="286" y="893"/>
                  </a:lnTo>
                  <a:lnTo>
                    <a:pt x="294" y="886"/>
                  </a:lnTo>
                  <a:lnTo>
                    <a:pt x="301" y="878"/>
                  </a:lnTo>
                  <a:lnTo>
                    <a:pt x="316" y="863"/>
                  </a:lnTo>
                  <a:lnTo>
                    <a:pt x="331" y="846"/>
                  </a:lnTo>
                  <a:lnTo>
                    <a:pt x="346" y="828"/>
                  </a:lnTo>
                  <a:lnTo>
                    <a:pt x="367" y="802"/>
                  </a:lnTo>
                  <a:lnTo>
                    <a:pt x="384" y="780"/>
                  </a:lnTo>
                  <a:lnTo>
                    <a:pt x="386" y="800"/>
                  </a:lnTo>
                  <a:lnTo>
                    <a:pt x="387" y="810"/>
                  </a:lnTo>
                  <a:lnTo>
                    <a:pt x="389" y="820"/>
                  </a:lnTo>
                  <a:lnTo>
                    <a:pt x="391" y="829"/>
                  </a:lnTo>
                  <a:lnTo>
                    <a:pt x="393" y="839"/>
                  </a:lnTo>
                  <a:lnTo>
                    <a:pt x="396" y="848"/>
                  </a:lnTo>
                  <a:lnTo>
                    <a:pt x="400" y="858"/>
                  </a:lnTo>
                  <a:lnTo>
                    <a:pt x="403" y="867"/>
                  </a:lnTo>
                  <a:lnTo>
                    <a:pt x="408" y="877"/>
                  </a:lnTo>
                  <a:lnTo>
                    <a:pt x="413" y="886"/>
                  </a:lnTo>
                  <a:lnTo>
                    <a:pt x="418" y="895"/>
                  </a:lnTo>
                  <a:lnTo>
                    <a:pt x="425" y="904"/>
                  </a:lnTo>
                  <a:lnTo>
                    <a:pt x="432" y="913"/>
                  </a:lnTo>
                  <a:lnTo>
                    <a:pt x="439" y="921"/>
                  </a:lnTo>
                  <a:lnTo>
                    <a:pt x="447" y="930"/>
                  </a:lnTo>
                  <a:lnTo>
                    <a:pt x="413" y="959"/>
                  </a:lnTo>
                  <a:lnTo>
                    <a:pt x="380" y="987"/>
                  </a:lnTo>
                  <a:lnTo>
                    <a:pt x="349" y="1015"/>
                  </a:lnTo>
                  <a:lnTo>
                    <a:pt x="320" y="1042"/>
                  </a:lnTo>
                  <a:lnTo>
                    <a:pt x="293" y="1070"/>
                  </a:lnTo>
                  <a:lnTo>
                    <a:pt x="267" y="1098"/>
                  </a:lnTo>
                  <a:lnTo>
                    <a:pt x="255" y="1112"/>
                  </a:lnTo>
                  <a:lnTo>
                    <a:pt x="244" y="1125"/>
                  </a:lnTo>
                  <a:lnTo>
                    <a:pt x="233" y="1139"/>
                  </a:lnTo>
                  <a:lnTo>
                    <a:pt x="223" y="1153"/>
                  </a:lnTo>
                  <a:lnTo>
                    <a:pt x="213" y="1167"/>
                  </a:lnTo>
                  <a:lnTo>
                    <a:pt x="203" y="1180"/>
                  </a:lnTo>
                  <a:lnTo>
                    <a:pt x="194" y="1194"/>
                  </a:lnTo>
                  <a:lnTo>
                    <a:pt x="186" y="1208"/>
                  </a:lnTo>
                  <a:lnTo>
                    <a:pt x="179" y="1222"/>
                  </a:lnTo>
                  <a:lnTo>
                    <a:pt x="171" y="1236"/>
                  </a:lnTo>
                  <a:lnTo>
                    <a:pt x="165" y="1250"/>
                  </a:lnTo>
                  <a:lnTo>
                    <a:pt x="159" y="1264"/>
                  </a:lnTo>
                  <a:lnTo>
                    <a:pt x="154" y="1278"/>
                  </a:lnTo>
                  <a:lnTo>
                    <a:pt x="149" y="1293"/>
                  </a:lnTo>
                  <a:lnTo>
                    <a:pt x="145" y="1307"/>
                  </a:lnTo>
                  <a:lnTo>
                    <a:pt x="142" y="1322"/>
                  </a:lnTo>
                  <a:lnTo>
                    <a:pt x="139" y="1336"/>
                  </a:lnTo>
                  <a:lnTo>
                    <a:pt x="137" y="1351"/>
                  </a:lnTo>
                  <a:lnTo>
                    <a:pt x="136" y="1366"/>
                  </a:lnTo>
                  <a:lnTo>
                    <a:pt x="135" y="1381"/>
                  </a:lnTo>
                  <a:lnTo>
                    <a:pt x="135" y="1398"/>
                  </a:lnTo>
                  <a:lnTo>
                    <a:pt x="136" y="1415"/>
                  </a:lnTo>
                  <a:lnTo>
                    <a:pt x="137" y="1431"/>
                  </a:lnTo>
                  <a:lnTo>
                    <a:pt x="140" y="1447"/>
                  </a:lnTo>
                  <a:lnTo>
                    <a:pt x="141" y="1454"/>
                  </a:lnTo>
                  <a:lnTo>
                    <a:pt x="143" y="1462"/>
                  </a:lnTo>
                  <a:lnTo>
                    <a:pt x="146" y="1477"/>
                  </a:lnTo>
                  <a:lnTo>
                    <a:pt x="151" y="1492"/>
                  </a:lnTo>
                  <a:lnTo>
                    <a:pt x="156" y="1507"/>
                  </a:lnTo>
                  <a:lnTo>
                    <a:pt x="161" y="1521"/>
                  </a:lnTo>
                  <a:lnTo>
                    <a:pt x="168" y="1534"/>
                  </a:lnTo>
                  <a:lnTo>
                    <a:pt x="175" y="1548"/>
                  </a:lnTo>
                  <a:lnTo>
                    <a:pt x="183" y="1561"/>
                  </a:lnTo>
                  <a:lnTo>
                    <a:pt x="192" y="1574"/>
                  </a:lnTo>
                  <a:lnTo>
                    <a:pt x="201" y="1586"/>
                  </a:lnTo>
                  <a:lnTo>
                    <a:pt x="211" y="1598"/>
                  </a:lnTo>
                  <a:lnTo>
                    <a:pt x="222" y="1610"/>
                  </a:lnTo>
                  <a:lnTo>
                    <a:pt x="234" y="1621"/>
                  </a:lnTo>
                  <a:lnTo>
                    <a:pt x="245" y="1631"/>
                  </a:lnTo>
                  <a:lnTo>
                    <a:pt x="251" y="1636"/>
                  </a:lnTo>
                  <a:lnTo>
                    <a:pt x="258" y="1641"/>
                  </a:lnTo>
                  <a:lnTo>
                    <a:pt x="270" y="1650"/>
                  </a:lnTo>
                  <a:lnTo>
                    <a:pt x="277" y="1654"/>
                  </a:lnTo>
                  <a:lnTo>
                    <a:pt x="283" y="1659"/>
                  </a:lnTo>
                  <a:lnTo>
                    <a:pt x="297" y="1666"/>
                  </a:lnTo>
                  <a:lnTo>
                    <a:pt x="310" y="1673"/>
                  </a:lnTo>
                  <a:lnTo>
                    <a:pt x="324" y="1679"/>
                  </a:lnTo>
                  <a:lnTo>
                    <a:pt x="339" y="1685"/>
                  </a:lnTo>
                  <a:lnTo>
                    <a:pt x="354" y="1690"/>
                  </a:lnTo>
                  <a:lnTo>
                    <a:pt x="369" y="1694"/>
                  </a:lnTo>
                  <a:lnTo>
                    <a:pt x="385" y="1697"/>
                  </a:lnTo>
                  <a:lnTo>
                    <a:pt x="401" y="1700"/>
                  </a:lnTo>
                  <a:lnTo>
                    <a:pt x="417" y="1702"/>
                  </a:lnTo>
                  <a:lnTo>
                    <a:pt x="434" y="1703"/>
                  </a:lnTo>
                  <a:lnTo>
                    <a:pt x="451" y="1703"/>
                  </a:lnTo>
                  <a:lnTo>
                    <a:pt x="483" y="1702"/>
                  </a:lnTo>
                  <a:lnTo>
                    <a:pt x="500" y="1701"/>
                  </a:lnTo>
                  <a:lnTo>
                    <a:pt x="516" y="1700"/>
                  </a:lnTo>
                  <a:lnTo>
                    <a:pt x="548" y="1695"/>
                  </a:lnTo>
                  <a:lnTo>
                    <a:pt x="565" y="1692"/>
                  </a:lnTo>
                  <a:lnTo>
                    <a:pt x="581" y="1689"/>
                  </a:lnTo>
                  <a:lnTo>
                    <a:pt x="597" y="1685"/>
                  </a:lnTo>
                  <a:lnTo>
                    <a:pt x="613" y="1681"/>
                  </a:lnTo>
                  <a:lnTo>
                    <a:pt x="629" y="1676"/>
                  </a:lnTo>
                  <a:lnTo>
                    <a:pt x="645" y="1671"/>
                  </a:lnTo>
                  <a:lnTo>
                    <a:pt x="676" y="1659"/>
                  </a:lnTo>
                  <a:lnTo>
                    <a:pt x="692" y="1652"/>
                  </a:lnTo>
                  <a:lnTo>
                    <a:pt x="708" y="1645"/>
                  </a:lnTo>
                  <a:lnTo>
                    <a:pt x="723" y="1637"/>
                  </a:lnTo>
                  <a:lnTo>
                    <a:pt x="739" y="1629"/>
                  </a:lnTo>
                  <a:lnTo>
                    <a:pt x="754" y="1621"/>
                  </a:lnTo>
                  <a:lnTo>
                    <a:pt x="770" y="1612"/>
                  </a:lnTo>
                  <a:lnTo>
                    <a:pt x="785" y="1602"/>
                  </a:lnTo>
                  <a:lnTo>
                    <a:pt x="800" y="1592"/>
                  </a:lnTo>
                  <a:lnTo>
                    <a:pt x="816" y="1582"/>
                  </a:lnTo>
                  <a:lnTo>
                    <a:pt x="831" y="1571"/>
                  </a:lnTo>
                  <a:lnTo>
                    <a:pt x="846" y="1560"/>
                  </a:lnTo>
                  <a:lnTo>
                    <a:pt x="861" y="1548"/>
                  </a:lnTo>
                  <a:lnTo>
                    <a:pt x="891" y="1523"/>
                  </a:lnTo>
                  <a:lnTo>
                    <a:pt x="906" y="1510"/>
                  </a:lnTo>
                  <a:lnTo>
                    <a:pt x="921" y="1497"/>
                  </a:lnTo>
                  <a:lnTo>
                    <a:pt x="935" y="1483"/>
                  </a:lnTo>
                  <a:lnTo>
                    <a:pt x="950" y="1468"/>
                  </a:lnTo>
                  <a:lnTo>
                    <a:pt x="963" y="1455"/>
                  </a:lnTo>
                  <a:lnTo>
                    <a:pt x="975" y="1442"/>
                  </a:lnTo>
                  <a:lnTo>
                    <a:pt x="986" y="1428"/>
                  </a:lnTo>
                  <a:lnTo>
                    <a:pt x="998" y="1414"/>
                  </a:lnTo>
                  <a:lnTo>
                    <a:pt x="1008" y="1400"/>
                  </a:lnTo>
                  <a:lnTo>
                    <a:pt x="1018" y="1385"/>
                  </a:lnTo>
                  <a:lnTo>
                    <a:pt x="1028" y="1371"/>
                  </a:lnTo>
                  <a:lnTo>
                    <a:pt x="1037" y="1356"/>
                  </a:lnTo>
                  <a:lnTo>
                    <a:pt x="1046" y="1341"/>
                  </a:lnTo>
                  <a:lnTo>
                    <a:pt x="1055" y="1325"/>
                  </a:lnTo>
                  <a:lnTo>
                    <a:pt x="1063" y="1310"/>
                  </a:lnTo>
                  <a:lnTo>
                    <a:pt x="1070" y="1294"/>
                  </a:lnTo>
                  <a:lnTo>
                    <a:pt x="1078" y="1278"/>
                  </a:lnTo>
                  <a:lnTo>
                    <a:pt x="1085" y="1262"/>
                  </a:lnTo>
                  <a:lnTo>
                    <a:pt x="1098" y="1230"/>
                  </a:lnTo>
                  <a:lnTo>
                    <a:pt x="1103" y="1213"/>
                  </a:lnTo>
                  <a:lnTo>
                    <a:pt x="1109" y="1195"/>
                  </a:lnTo>
                  <a:lnTo>
                    <a:pt x="1114" y="1176"/>
                  </a:lnTo>
                  <a:lnTo>
                    <a:pt x="1119" y="1156"/>
                  </a:lnTo>
                  <a:lnTo>
                    <a:pt x="1123" y="1135"/>
                  </a:lnTo>
                  <a:lnTo>
                    <a:pt x="1128" y="1112"/>
                  </a:lnTo>
                  <a:lnTo>
                    <a:pt x="1135" y="1064"/>
                  </a:lnTo>
                  <a:lnTo>
                    <a:pt x="1142" y="1014"/>
                  </a:lnTo>
                  <a:lnTo>
                    <a:pt x="1149" y="961"/>
                  </a:lnTo>
                  <a:lnTo>
                    <a:pt x="1155" y="905"/>
                  </a:lnTo>
                  <a:lnTo>
                    <a:pt x="1161" y="849"/>
                  </a:lnTo>
                  <a:lnTo>
                    <a:pt x="1168" y="768"/>
                  </a:lnTo>
                  <a:lnTo>
                    <a:pt x="1174" y="692"/>
                  </a:lnTo>
                  <a:lnTo>
                    <a:pt x="1186" y="561"/>
                  </a:lnTo>
                  <a:lnTo>
                    <a:pt x="1194" y="471"/>
                  </a:lnTo>
                  <a:lnTo>
                    <a:pt x="1198" y="438"/>
                  </a:lnTo>
                  <a:lnTo>
                    <a:pt x="1213" y="419"/>
                  </a:lnTo>
                  <a:lnTo>
                    <a:pt x="1222" y="409"/>
                  </a:lnTo>
                  <a:lnTo>
                    <a:pt x="1231" y="399"/>
                  </a:lnTo>
                  <a:lnTo>
                    <a:pt x="1253" y="377"/>
                  </a:lnTo>
                  <a:lnTo>
                    <a:pt x="1279" y="352"/>
                  </a:lnTo>
                  <a:lnTo>
                    <a:pt x="1294" y="339"/>
                  </a:lnTo>
                  <a:lnTo>
                    <a:pt x="1310" y="326"/>
                  </a:lnTo>
                  <a:lnTo>
                    <a:pt x="1343" y="298"/>
                  </a:lnTo>
                  <a:lnTo>
                    <a:pt x="1382" y="267"/>
                  </a:lnTo>
                  <a:lnTo>
                    <a:pt x="1403" y="251"/>
                  </a:lnTo>
                  <a:lnTo>
                    <a:pt x="1425" y="235"/>
                  </a:lnTo>
                  <a:lnTo>
                    <a:pt x="1426" y="235"/>
                  </a:lnTo>
                  <a:lnTo>
                    <a:pt x="1420" y="320"/>
                  </a:lnTo>
                  <a:lnTo>
                    <a:pt x="1414" y="367"/>
                  </a:lnTo>
                  <a:lnTo>
                    <a:pt x="1368" y="781"/>
                  </a:lnTo>
                  <a:lnTo>
                    <a:pt x="1364" y="825"/>
                  </a:lnTo>
                  <a:lnTo>
                    <a:pt x="1363" y="843"/>
                  </a:lnTo>
                  <a:lnTo>
                    <a:pt x="1363" y="856"/>
                  </a:lnTo>
                  <a:lnTo>
                    <a:pt x="1363" y="869"/>
                  </a:lnTo>
                  <a:lnTo>
                    <a:pt x="1364" y="877"/>
                  </a:lnTo>
                  <a:lnTo>
                    <a:pt x="1365" y="885"/>
                  </a:lnTo>
                  <a:lnTo>
                    <a:pt x="1367" y="894"/>
                  </a:lnTo>
                  <a:lnTo>
                    <a:pt x="1370" y="904"/>
                  </a:lnTo>
                  <a:lnTo>
                    <a:pt x="1371" y="909"/>
                  </a:lnTo>
                  <a:lnTo>
                    <a:pt x="1373" y="914"/>
                  </a:lnTo>
                  <a:lnTo>
                    <a:pt x="1378" y="923"/>
                  </a:lnTo>
                  <a:lnTo>
                    <a:pt x="1383" y="933"/>
                  </a:lnTo>
                  <a:lnTo>
                    <a:pt x="1389" y="942"/>
                  </a:lnTo>
                  <a:lnTo>
                    <a:pt x="1396" y="950"/>
                  </a:lnTo>
                  <a:lnTo>
                    <a:pt x="1401" y="955"/>
                  </a:lnTo>
                  <a:lnTo>
                    <a:pt x="1405" y="958"/>
                  </a:lnTo>
                  <a:lnTo>
                    <a:pt x="1410" y="962"/>
                  </a:lnTo>
                  <a:lnTo>
                    <a:pt x="1415" y="966"/>
                  </a:lnTo>
                  <a:lnTo>
                    <a:pt x="1421" y="969"/>
                  </a:lnTo>
                  <a:lnTo>
                    <a:pt x="1427" y="972"/>
                  </a:lnTo>
                  <a:lnTo>
                    <a:pt x="1433" y="974"/>
                  </a:lnTo>
                  <a:lnTo>
                    <a:pt x="1439" y="976"/>
                  </a:lnTo>
                  <a:lnTo>
                    <a:pt x="1447" y="978"/>
                  </a:lnTo>
                  <a:lnTo>
                    <a:pt x="1454" y="980"/>
                  </a:lnTo>
                  <a:lnTo>
                    <a:pt x="1464" y="981"/>
                  </a:lnTo>
                  <a:lnTo>
                    <a:pt x="1474" y="982"/>
                  </a:lnTo>
                  <a:lnTo>
                    <a:pt x="1484" y="982"/>
                  </a:lnTo>
                  <a:lnTo>
                    <a:pt x="1494" y="981"/>
                  </a:lnTo>
                  <a:lnTo>
                    <a:pt x="1503" y="980"/>
                  </a:lnTo>
                  <a:lnTo>
                    <a:pt x="1512" y="978"/>
                  </a:lnTo>
                  <a:lnTo>
                    <a:pt x="1520" y="976"/>
                  </a:lnTo>
                  <a:lnTo>
                    <a:pt x="1529" y="974"/>
                  </a:lnTo>
                  <a:lnTo>
                    <a:pt x="1536" y="971"/>
                  </a:lnTo>
                  <a:lnTo>
                    <a:pt x="1543" y="968"/>
                  </a:lnTo>
                  <a:lnTo>
                    <a:pt x="1556" y="963"/>
                  </a:lnTo>
                  <a:lnTo>
                    <a:pt x="1565" y="957"/>
                  </a:lnTo>
                  <a:lnTo>
                    <a:pt x="1572" y="952"/>
                  </a:lnTo>
                  <a:lnTo>
                    <a:pt x="1571" y="950"/>
                  </a:lnTo>
                  <a:lnTo>
                    <a:pt x="1571" y="947"/>
                  </a:lnTo>
                  <a:lnTo>
                    <a:pt x="1571" y="936"/>
                  </a:lnTo>
                  <a:lnTo>
                    <a:pt x="1571" y="922"/>
                  </a:lnTo>
                  <a:lnTo>
                    <a:pt x="1573" y="904"/>
                  </a:lnTo>
                  <a:lnTo>
                    <a:pt x="1575" y="883"/>
                  </a:lnTo>
                  <a:lnTo>
                    <a:pt x="1578" y="860"/>
                  </a:lnTo>
                  <a:lnTo>
                    <a:pt x="1584" y="810"/>
                  </a:lnTo>
                  <a:lnTo>
                    <a:pt x="1590" y="761"/>
                  </a:lnTo>
                  <a:lnTo>
                    <a:pt x="1596" y="719"/>
                  </a:lnTo>
                  <a:lnTo>
                    <a:pt x="1602" y="679"/>
                  </a:lnTo>
                  <a:lnTo>
                    <a:pt x="1604" y="661"/>
                  </a:lnTo>
                  <a:lnTo>
                    <a:pt x="1607" y="643"/>
                  </a:lnTo>
                  <a:lnTo>
                    <a:pt x="1611" y="625"/>
                  </a:lnTo>
                  <a:lnTo>
                    <a:pt x="1616" y="607"/>
                  </a:lnTo>
                  <a:lnTo>
                    <a:pt x="1621" y="589"/>
                  </a:lnTo>
                  <a:lnTo>
                    <a:pt x="1626" y="570"/>
                  </a:lnTo>
                  <a:lnTo>
                    <a:pt x="1633" y="552"/>
                  </a:lnTo>
                  <a:lnTo>
                    <a:pt x="1640" y="533"/>
                  </a:lnTo>
                  <a:lnTo>
                    <a:pt x="1648" y="514"/>
                  </a:lnTo>
                  <a:lnTo>
                    <a:pt x="1656" y="495"/>
                  </a:lnTo>
                  <a:lnTo>
                    <a:pt x="1665" y="476"/>
                  </a:lnTo>
                  <a:lnTo>
                    <a:pt x="1675" y="457"/>
                  </a:lnTo>
                  <a:lnTo>
                    <a:pt x="1686" y="438"/>
                  </a:lnTo>
                  <a:lnTo>
                    <a:pt x="1697" y="418"/>
                  </a:lnTo>
                  <a:lnTo>
                    <a:pt x="1709" y="398"/>
                  </a:lnTo>
                  <a:lnTo>
                    <a:pt x="1722" y="379"/>
                  </a:lnTo>
                  <a:lnTo>
                    <a:pt x="1737" y="355"/>
                  </a:lnTo>
                  <a:lnTo>
                    <a:pt x="1752" y="334"/>
                  </a:lnTo>
                  <a:lnTo>
                    <a:pt x="1766" y="315"/>
                  </a:lnTo>
                  <a:lnTo>
                    <a:pt x="1779" y="298"/>
                  </a:lnTo>
                  <a:lnTo>
                    <a:pt x="1792" y="283"/>
                  </a:lnTo>
                  <a:lnTo>
                    <a:pt x="1804" y="269"/>
                  </a:lnTo>
                  <a:lnTo>
                    <a:pt x="1814" y="258"/>
                  </a:lnTo>
                  <a:lnTo>
                    <a:pt x="1824" y="249"/>
                  </a:lnTo>
                  <a:lnTo>
                    <a:pt x="1833" y="241"/>
                  </a:lnTo>
                  <a:lnTo>
                    <a:pt x="1842" y="235"/>
                  </a:lnTo>
                  <a:lnTo>
                    <a:pt x="1846" y="233"/>
                  </a:lnTo>
                  <a:lnTo>
                    <a:pt x="1849" y="231"/>
                  </a:lnTo>
                  <a:lnTo>
                    <a:pt x="1856" y="228"/>
                  </a:lnTo>
                  <a:lnTo>
                    <a:pt x="1859" y="227"/>
                  </a:lnTo>
                  <a:lnTo>
                    <a:pt x="1861" y="227"/>
                  </a:lnTo>
                  <a:lnTo>
                    <a:pt x="1864" y="227"/>
                  </a:lnTo>
                  <a:lnTo>
                    <a:pt x="1866" y="227"/>
                  </a:lnTo>
                  <a:lnTo>
                    <a:pt x="1868" y="228"/>
                  </a:lnTo>
                  <a:lnTo>
                    <a:pt x="1870" y="229"/>
                  </a:lnTo>
                  <a:lnTo>
                    <a:pt x="1872" y="230"/>
                  </a:lnTo>
                  <a:lnTo>
                    <a:pt x="1873" y="232"/>
                  </a:lnTo>
                  <a:lnTo>
                    <a:pt x="1874" y="234"/>
                  </a:lnTo>
                  <a:lnTo>
                    <a:pt x="1875" y="237"/>
                  </a:lnTo>
                  <a:lnTo>
                    <a:pt x="1877" y="244"/>
                  </a:lnTo>
                  <a:lnTo>
                    <a:pt x="1877" y="248"/>
                  </a:lnTo>
                  <a:lnTo>
                    <a:pt x="1878" y="253"/>
                  </a:lnTo>
                  <a:lnTo>
                    <a:pt x="1878" y="263"/>
                  </a:lnTo>
                  <a:lnTo>
                    <a:pt x="1878" y="275"/>
                  </a:lnTo>
                  <a:lnTo>
                    <a:pt x="1878" y="287"/>
                  </a:lnTo>
                  <a:lnTo>
                    <a:pt x="1876" y="313"/>
                  </a:lnTo>
                  <a:lnTo>
                    <a:pt x="1874" y="338"/>
                  </a:lnTo>
                  <a:lnTo>
                    <a:pt x="1872" y="360"/>
                  </a:lnTo>
                  <a:lnTo>
                    <a:pt x="1870" y="380"/>
                  </a:lnTo>
                  <a:lnTo>
                    <a:pt x="1825" y="784"/>
                  </a:lnTo>
                  <a:lnTo>
                    <a:pt x="1823" y="811"/>
                  </a:lnTo>
                  <a:lnTo>
                    <a:pt x="1821" y="837"/>
                  </a:lnTo>
                  <a:lnTo>
                    <a:pt x="1820" y="856"/>
                  </a:lnTo>
                  <a:lnTo>
                    <a:pt x="1821" y="869"/>
                  </a:lnTo>
                  <a:lnTo>
                    <a:pt x="1821" y="877"/>
                  </a:lnTo>
                  <a:lnTo>
                    <a:pt x="1823" y="885"/>
                  </a:lnTo>
                  <a:lnTo>
                    <a:pt x="1825" y="894"/>
                  </a:lnTo>
                  <a:lnTo>
                    <a:pt x="1827" y="904"/>
                  </a:lnTo>
                  <a:lnTo>
                    <a:pt x="1829" y="909"/>
                  </a:lnTo>
                  <a:lnTo>
                    <a:pt x="1831" y="914"/>
                  </a:lnTo>
                  <a:lnTo>
                    <a:pt x="1835" y="923"/>
                  </a:lnTo>
                  <a:lnTo>
                    <a:pt x="1840" y="933"/>
                  </a:lnTo>
                  <a:lnTo>
                    <a:pt x="1846" y="942"/>
                  </a:lnTo>
                  <a:lnTo>
                    <a:pt x="1854" y="950"/>
                  </a:lnTo>
                  <a:lnTo>
                    <a:pt x="1858" y="955"/>
                  </a:lnTo>
                  <a:lnTo>
                    <a:pt x="1863" y="958"/>
                  </a:lnTo>
                  <a:lnTo>
                    <a:pt x="1867" y="962"/>
                  </a:lnTo>
                  <a:lnTo>
                    <a:pt x="1873" y="966"/>
                  </a:lnTo>
                  <a:lnTo>
                    <a:pt x="1878" y="969"/>
                  </a:lnTo>
                  <a:lnTo>
                    <a:pt x="1884" y="972"/>
                  </a:lnTo>
                  <a:lnTo>
                    <a:pt x="1890" y="974"/>
                  </a:lnTo>
                  <a:lnTo>
                    <a:pt x="1897" y="976"/>
                  </a:lnTo>
                  <a:lnTo>
                    <a:pt x="1904" y="978"/>
                  </a:lnTo>
                  <a:lnTo>
                    <a:pt x="1911" y="980"/>
                  </a:lnTo>
                  <a:lnTo>
                    <a:pt x="1922" y="981"/>
                  </a:lnTo>
                  <a:lnTo>
                    <a:pt x="1932" y="982"/>
                  </a:lnTo>
                  <a:lnTo>
                    <a:pt x="1943" y="982"/>
                  </a:lnTo>
                  <a:lnTo>
                    <a:pt x="1953" y="981"/>
                  </a:lnTo>
                  <a:lnTo>
                    <a:pt x="1963" y="979"/>
                  </a:lnTo>
                  <a:lnTo>
                    <a:pt x="1973" y="977"/>
                  </a:lnTo>
                  <a:lnTo>
                    <a:pt x="1982" y="975"/>
                  </a:lnTo>
                  <a:lnTo>
                    <a:pt x="1991" y="972"/>
                  </a:lnTo>
                  <a:lnTo>
                    <a:pt x="2007" y="966"/>
                  </a:lnTo>
                  <a:lnTo>
                    <a:pt x="2021" y="959"/>
                  </a:lnTo>
                  <a:lnTo>
                    <a:pt x="2032" y="953"/>
                  </a:lnTo>
                  <a:lnTo>
                    <a:pt x="2036" y="950"/>
                  </a:lnTo>
                  <a:lnTo>
                    <a:pt x="2040" y="947"/>
                  </a:lnTo>
                  <a:lnTo>
                    <a:pt x="2038" y="940"/>
                  </a:lnTo>
                  <a:lnTo>
                    <a:pt x="2038" y="928"/>
                  </a:lnTo>
                  <a:lnTo>
                    <a:pt x="2038" y="913"/>
                  </a:lnTo>
                  <a:lnTo>
                    <a:pt x="2039" y="895"/>
                  </a:lnTo>
                  <a:lnTo>
                    <a:pt x="2042" y="851"/>
                  </a:lnTo>
                  <a:lnTo>
                    <a:pt x="2047" y="804"/>
                  </a:lnTo>
                  <a:lnTo>
                    <a:pt x="2052" y="757"/>
                  </a:lnTo>
                  <a:lnTo>
                    <a:pt x="2056" y="717"/>
                  </a:lnTo>
                  <a:lnTo>
                    <a:pt x="2061" y="679"/>
                  </a:lnTo>
                  <a:lnTo>
                    <a:pt x="2063" y="661"/>
                  </a:lnTo>
                  <a:lnTo>
                    <a:pt x="2066" y="643"/>
                  </a:lnTo>
                  <a:lnTo>
                    <a:pt x="2070" y="625"/>
                  </a:lnTo>
                  <a:lnTo>
                    <a:pt x="2074" y="607"/>
                  </a:lnTo>
                  <a:lnTo>
                    <a:pt x="2080" y="589"/>
                  </a:lnTo>
                  <a:lnTo>
                    <a:pt x="2085" y="571"/>
                  </a:lnTo>
                  <a:lnTo>
                    <a:pt x="2092" y="552"/>
                  </a:lnTo>
                  <a:lnTo>
                    <a:pt x="2099" y="533"/>
                  </a:lnTo>
                  <a:lnTo>
                    <a:pt x="2107" y="515"/>
                  </a:lnTo>
                  <a:lnTo>
                    <a:pt x="2116" y="496"/>
                  </a:lnTo>
                  <a:lnTo>
                    <a:pt x="2125" y="476"/>
                  </a:lnTo>
                  <a:lnTo>
                    <a:pt x="2135" y="457"/>
                  </a:lnTo>
                  <a:lnTo>
                    <a:pt x="2146" y="438"/>
                  </a:lnTo>
                  <a:lnTo>
                    <a:pt x="2158" y="418"/>
                  </a:lnTo>
                  <a:lnTo>
                    <a:pt x="2170" y="399"/>
                  </a:lnTo>
                  <a:lnTo>
                    <a:pt x="2182" y="379"/>
                  </a:lnTo>
                  <a:lnTo>
                    <a:pt x="2198" y="356"/>
                  </a:lnTo>
                  <a:lnTo>
                    <a:pt x="2213" y="335"/>
                  </a:lnTo>
                  <a:lnTo>
                    <a:pt x="2228" y="316"/>
                  </a:lnTo>
                  <a:lnTo>
                    <a:pt x="2241" y="299"/>
                  </a:lnTo>
                  <a:lnTo>
                    <a:pt x="2254" y="284"/>
                  </a:lnTo>
                  <a:lnTo>
                    <a:pt x="2266" y="271"/>
                  </a:lnTo>
                  <a:lnTo>
                    <a:pt x="2276" y="260"/>
                  </a:lnTo>
                  <a:lnTo>
                    <a:pt x="2287" y="251"/>
                  </a:lnTo>
                  <a:lnTo>
                    <a:pt x="2296" y="244"/>
                  </a:lnTo>
                  <a:lnTo>
                    <a:pt x="2305" y="238"/>
                  </a:lnTo>
                  <a:lnTo>
                    <a:pt x="2308" y="235"/>
                  </a:lnTo>
                  <a:lnTo>
                    <a:pt x="2312" y="233"/>
                  </a:lnTo>
                  <a:lnTo>
                    <a:pt x="2319" y="231"/>
                  </a:lnTo>
                  <a:lnTo>
                    <a:pt x="2325" y="229"/>
                  </a:lnTo>
                  <a:lnTo>
                    <a:pt x="2330" y="229"/>
                  </a:lnTo>
                  <a:lnTo>
                    <a:pt x="2335" y="230"/>
                  </a:lnTo>
                  <a:lnTo>
                    <a:pt x="2337" y="231"/>
                  </a:lnTo>
                  <a:lnTo>
                    <a:pt x="2338" y="232"/>
                  </a:lnTo>
                  <a:lnTo>
                    <a:pt x="2340" y="234"/>
                  </a:lnTo>
                  <a:lnTo>
                    <a:pt x="2341" y="236"/>
                  </a:lnTo>
                  <a:lnTo>
                    <a:pt x="2342" y="240"/>
                  </a:lnTo>
                  <a:lnTo>
                    <a:pt x="2342" y="244"/>
                  </a:lnTo>
                  <a:lnTo>
                    <a:pt x="2343" y="254"/>
                  </a:lnTo>
                  <a:lnTo>
                    <a:pt x="2343" y="267"/>
                  </a:lnTo>
                  <a:lnTo>
                    <a:pt x="2342" y="281"/>
                  </a:lnTo>
                  <a:lnTo>
                    <a:pt x="2341" y="297"/>
                  </a:lnTo>
                  <a:lnTo>
                    <a:pt x="2338" y="330"/>
                  </a:lnTo>
                  <a:lnTo>
                    <a:pt x="2334" y="363"/>
                  </a:lnTo>
                  <a:lnTo>
                    <a:pt x="2330" y="391"/>
                  </a:lnTo>
                  <a:lnTo>
                    <a:pt x="2326" y="418"/>
                  </a:lnTo>
                  <a:lnTo>
                    <a:pt x="2293" y="634"/>
                  </a:lnTo>
                  <a:lnTo>
                    <a:pt x="2289" y="668"/>
                  </a:lnTo>
                  <a:lnTo>
                    <a:pt x="2284" y="700"/>
                  </a:lnTo>
                  <a:lnTo>
                    <a:pt x="2281" y="729"/>
                  </a:lnTo>
                  <a:lnTo>
                    <a:pt x="2278" y="756"/>
                  </a:lnTo>
                  <a:lnTo>
                    <a:pt x="2276" y="780"/>
                  </a:lnTo>
                  <a:lnTo>
                    <a:pt x="2274" y="803"/>
                  </a:lnTo>
                  <a:lnTo>
                    <a:pt x="2273" y="823"/>
                  </a:lnTo>
                  <a:lnTo>
                    <a:pt x="2273" y="841"/>
                  </a:lnTo>
                  <a:lnTo>
                    <a:pt x="2273" y="854"/>
                  </a:lnTo>
                  <a:lnTo>
                    <a:pt x="2274" y="866"/>
                  </a:lnTo>
                  <a:lnTo>
                    <a:pt x="2275" y="877"/>
                  </a:lnTo>
                  <a:lnTo>
                    <a:pt x="2277" y="888"/>
                  </a:lnTo>
                  <a:lnTo>
                    <a:pt x="2279" y="898"/>
                  </a:lnTo>
                  <a:lnTo>
                    <a:pt x="2282" y="907"/>
                  </a:lnTo>
                  <a:lnTo>
                    <a:pt x="2288" y="923"/>
                  </a:lnTo>
                  <a:lnTo>
                    <a:pt x="2292" y="931"/>
                  </a:lnTo>
                  <a:lnTo>
                    <a:pt x="2296" y="938"/>
                  </a:lnTo>
                  <a:lnTo>
                    <a:pt x="2300" y="944"/>
                  </a:lnTo>
                  <a:lnTo>
                    <a:pt x="2305" y="950"/>
                  </a:lnTo>
                  <a:lnTo>
                    <a:pt x="2307" y="953"/>
                  </a:lnTo>
                  <a:lnTo>
                    <a:pt x="2309" y="955"/>
                  </a:lnTo>
                  <a:lnTo>
                    <a:pt x="2314" y="960"/>
                  </a:lnTo>
                  <a:lnTo>
                    <a:pt x="2324" y="969"/>
                  </a:lnTo>
                  <a:lnTo>
                    <a:pt x="2335" y="975"/>
                  </a:lnTo>
                  <a:lnTo>
                    <a:pt x="2345" y="981"/>
                  </a:lnTo>
                  <a:lnTo>
                    <a:pt x="2356" y="985"/>
                  </a:lnTo>
                  <a:lnTo>
                    <a:pt x="2366" y="988"/>
                  </a:lnTo>
                  <a:lnTo>
                    <a:pt x="2375" y="989"/>
                  </a:lnTo>
                  <a:lnTo>
                    <a:pt x="2384" y="991"/>
                  </a:lnTo>
                  <a:lnTo>
                    <a:pt x="2398" y="991"/>
                  </a:lnTo>
                  <a:lnTo>
                    <a:pt x="2408" y="991"/>
                  </a:lnTo>
                  <a:lnTo>
                    <a:pt x="2418" y="990"/>
                  </a:lnTo>
                  <a:lnTo>
                    <a:pt x="2429" y="988"/>
                  </a:lnTo>
                  <a:lnTo>
                    <a:pt x="2439" y="985"/>
                  </a:lnTo>
                  <a:lnTo>
                    <a:pt x="2450" y="981"/>
                  </a:lnTo>
                  <a:lnTo>
                    <a:pt x="2462" y="977"/>
                  </a:lnTo>
                  <a:lnTo>
                    <a:pt x="2473" y="971"/>
                  </a:lnTo>
                  <a:lnTo>
                    <a:pt x="2485" y="965"/>
                  </a:lnTo>
                  <a:lnTo>
                    <a:pt x="2497" y="958"/>
                  </a:lnTo>
                  <a:lnTo>
                    <a:pt x="2509" y="950"/>
                  </a:lnTo>
                  <a:lnTo>
                    <a:pt x="2522" y="941"/>
                  </a:lnTo>
                  <a:lnTo>
                    <a:pt x="2535" y="931"/>
                  </a:lnTo>
                  <a:lnTo>
                    <a:pt x="2548" y="921"/>
                  </a:lnTo>
                  <a:lnTo>
                    <a:pt x="2562" y="909"/>
                  </a:lnTo>
                  <a:lnTo>
                    <a:pt x="2576" y="897"/>
                  </a:lnTo>
                  <a:lnTo>
                    <a:pt x="2590" y="883"/>
                  </a:lnTo>
                  <a:lnTo>
                    <a:pt x="2606" y="868"/>
                  </a:lnTo>
                  <a:lnTo>
                    <a:pt x="2620" y="854"/>
                  </a:lnTo>
                  <a:lnTo>
                    <a:pt x="2622" y="865"/>
                  </a:lnTo>
                  <a:lnTo>
                    <a:pt x="2626" y="875"/>
                  </a:lnTo>
                  <a:lnTo>
                    <a:pt x="2629" y="884"/>
                  </a:lnTo>
                  <a:lnTo>
                    <a:pt x="2633" y="893"/>
                  </a:lnTo>
                  <a:lnTo>
                    <a:pt x="2637" y="902"/>
                  </a:lnTo>
                  <a:lnTo>
                    <a:pt x="2641" y="910"/>
                  </a:lnTo>
                  <a:lnTo>
                    <a:pt x="2645" y="918"/>
                  </a:lnTo>
                  <a:lnTo>
                    <a:pt x="2650" y="925"/>
                  </a:lnTo>
                  <a:lnTo>
                    <a:pt x="2654" y="931"/>
                  </a:lnTo>
                  <a:lnTo>
                    <a:pt x="2659" y="938"/>
                  </a:lnTo>
                  <a:lnTo>
                    <a:pt x="2664" y="943"/>
                  </a:lnTo>
                  <a:lnTo>
                    <a:pt x="2669" y="949"/>
                  </a:lnTo>
                  <a:lnTo>
                    <a:pt x="2675" y="954"/>
                  </a:lnTo>
                  <a:lnTo>
                    <a:pt x="2680" y="958"/>
                  </a:lnTo>
                  <a:lnTo>
                    <a:pt x="2686" y="963"/>
                  </a:lnTo>
                  <a:lnTo>
                    <a:pt x="2691" y="966"/>
                  </a:lnTo>
                  <a:lnTo>
                    <a:pt x="2702" y="973"/>
                  </a:lnTo>
                  <a:lnTo>
                    <a:pt x="2714" y="979"/>
                  </a:lnTo>
                  <a:lnTo>
                    <a:pt x="2719" y="981"/>
                  </a:lnTo>
                  <a:lnTo>
                    <a:pt x="2725" y="983"/>
                  </a:lnTo>
                  <a:lnTo>
                    <a:pt x="2737" y="986"/>
                  </a:lnTo>
                  <a:lnTo>
                    <a:pt x="2748" y="989"/>
                  </a:lnTo>
                  <a:lnTo>
                    <a:pt x="2759" y="990"/>
                  </a:lnTo>
                  <a:lnTo>
                    <a:pt x="2770" y="991"/>
                  </a:lnTo>
                  <a:lnTo>
                    <a:pt x="2779" y="991"/>
                  </a:lnTo>
                  <a:lnTo>
                    <a:pt x="2793" y="991"/>
                  </a:lnTo>
                  <a:lnTo>
                    <a:pt x="2807" y="990"/>
                  </a:lnTo>
                  <a:lnTo>
                    <a:pt x="2821" y="987"/>
                  </a:lnTo>
                  <a:lnTo>
                    <a:pt x="2835" y="984"/>
                  </a:lnTo>
                  <a:lnTo>
                    <a:pt x="2850" y="980"/>
                  </a:lnTo>
                  <a:lnTo>
                    <a:pt x="2864" y="975"/>
                  </a:lnTo>
                  <a:lnTo>
                    <a:pt x="2879" y="969"/>
                  </a:lnTo>
                  <a:lnTo>
                    <a:pt x="2894" y="962"/>
                  </a:lnTo>
                  <a:lnTo>
                    <a:pt x="2909" y="954"/>
                  </a:lnTo>
                  <a:lnTo>
                    <a:pt x="2925" y="946"/>
                  </a:lnTo>
                  <a:lnTo>
                    <a:pt x="2940" y="936"/>
                  </a:lnTo>
                  <a:lnTo>
                    <a:pt x="2956" y="925"/>
                  </a:lnTo>
                  <a:lnTo>
                    <a:pt x="2973" y="914"/>
                  </a:lnTo>
                  <a:lnTo>
                    <a:pt x="2989" y="901"/>
                  </a:lnTo>
                  <a:lnTo>
                    <a:pt x="3006" y="888"/>
                  </a:lnTo>
                  <a:lnTo>
                    <a:pt x="3023" y="873"/>
                  </a:lnTo>
                  <a:lnTo>
                    <a:pt x="3038" y="860"/>
                  </a:lnTo>
                  <a:lnTo>
                    <a:pt x="3053" y="846"/>
                  </a:lnTo>
                  <a:lnTo>
                    <a:pt x="3067" y="832"/>
                  </a:lnTo>
                  <a:lnTo>
                    <a:pt x="3082" y="817"/>
                  </a:lnTo>
                  <a:lnTo>
                    <a:pt x="3096" y="801"/>
                  </a:lnTo>
                  <a:lnTo>
                    <a:pt x="3111" y="786"/>
                  </a:lnTo>
                  <a:lnTo>
                    <a:pt x="3125" y="769"/>
                  </a:lnTo>
                  <a:lnTo>
                    <a:pt x="3139" y="753"/>
                  </a:lnTo>
                  <a:lnTo>
                    <a:pt x="3136" y="775"/>
                  </a:lnTo>
                  <a:lnTo>
                    <a:pt x="3130" y="856"/>
                  </a:lnTo>
                  <a:lnTo>
                    <a:pt x="3130" y="867"/>
                  </a:lnTo>
                  <a:lnTo>
                    <a:pt x="3131" y="878"/>
                  </a:lnTo>
                  <a:lnTo>
                    <a:pt x="3132" y="888"/>
                  </a:lnTo>
                  <a:lnTo>
                    <a:pt x="3133" y="898"/>
                  </a:lnTo>
                  <a:lnTo>
                    <a:pt x="3135" y="907"/>
                  </a:lnTo>
                  <a:lnTo>
                    <a:pt x="3138" y="915"/>
                  </a:lnTo>
                  <a:lnTo>
                    <a:pt x="3140" y="923"/>
                  </a:lnTo>
                  <a:lnTo>
                    <a:pt x="3144" y="930"/>
                  </a:lnTo>
                  <a:lnTo>
                    <a:pt x="3147" y="937"/>
                  </a:lnTo>
                  <a:lnTo>
                    <a:pt x="3150" y="943"/>
                  </a:lnTo>
                  <a:lnTo>
                    <a:pt x="3154" y="949"/>
                  </a:lnTo>
                  <a:lnTo>
                    <a:pt x="3158" y="954"/>
                  </a:lnTo>
                  <a:lnTo>
                    <a:pt x="3163" y="959"/>
                  </a:lnTo>
                  <a:lnTo>
                    <a:pt x="3167" y="963"/>
                  </a:lnTo>
                  <a:lnTo>
                    <a:pt x="3172" y="967"/>
                  </a:lnTo>
                  <a:lnTo>
                    <a:pt x="3176" y="971"/>
                  </a:lnTo>
                  <a:lnTo>
                    <a:pt x="3186" y="977"/>
                  </a:lnTo>
                  <a:lnTo>
                    <a:pt x="3195" y="982"/>
                  </a:lnTo>
                  <a:lnTo>
                    <a:pt x="3200" y="984"/>
                  </a:lnTo>
                  <a:lnTo>
                    <a:pt x="3205" y="985"/>
                  </a:lnTo>
                  <a:lnTo>
                    <a:pt x="3209" y="987"/>
                  </a:lnTo>
                  <a:lnTo>
                    <a:pt x="3214" y="988"/>
                  </a:lnTo>
                  <a:lnTo>
                    <a:pt x="3223" y="990"/>
                  </a:lnTo>
                  <a:lnTo>
                    <a:pt x="3230" y="991"/>
                  </a:lnTo>
                  <a:lnTo>
                    <a:pt x="3243" y="991"/>
                  </a:lnTo>
                  <a:lnTo>
                    <a:pt x="3257" y="991"/>
                  </a:lnTo>
                  <a:lnTo>
                    <a:pt x="3272" y="989"/>
                  </a:lnTo>
                  <a:lnTo>
                    <a:pt x="3279" y="987"/>
                  </a:lnTo>
                  <a:lnTo>
                    <a:pt x="3286" y="985"/>
                  </a:lnTo>
                  <a:lnTo>
                    <a:pt x="3293" y="983"/>
                  </a:lnTo>
                  <a:lnTo>
                    <a:pt x="3300" y="980"/>
                  </a:lnTo>
                  <a:lnTo>
                    <a:pt x="3314" y="974"/>
                  </a:lnTo>
                  <a:lnTo>
                    <a:pt x="3321" y="971"/>
                  </a:lnTo>
                  <a:lnTo>
                    <a:pt x="3328" y="967"/>
                  </a:lnTo>
                  <a:lnTo>
                    <a:pt x="3335" y="963"/>
                  </a:lnTo>
                  <a:lnTo>
                    <a:pt x="3342" y="959"/>
                  </a:lnTo>
                  <a:lnTo>
                    <a:pt x="3357" y="949"/>
                  </a:lnTo>
                  <a:lnTo>
                    <a:pt x="3356" y="948"/>
                  </a:lnTo>
                  <a:lnTo>
                    <a:pt x="3354" y="946"/>
                  </a:lnTo>
                  <a:lnTo>
                    <a:pt x="3353" y="944"/>
                  </a:lnTo>
                  <a:lnTo>
                    <a:pt x="3352" y="940"/>
                  </a:lnTo>
                  <a:lnTo>
                    <a:pt x="3351" y="936"/>
                  </a:lnTo>
                  <a:lnTo>
                    <a:pt x="3350" y="924"/>
                  </a:lnTo>
                  <a:lnTo>
                    <a:pt x="3350" y="908"/>
                  </a:lnTo>
                  <a:lnTo>
                    <a:pt x="3351" y="889"/>
                  </a:lnTo>
                  <a:lnTo>
                    <a:pt x="3352" y="866"/>
                  </a:lnTo>
                  <a:lnTo>
                    <a:pt x="3357" y="813"/>
                  </a:lnTo>
                  <a:lnTo>
                    <a:pt x="3361" y="783"/>
                  </a:lnTo>
                  <a:lnTo>
                    <a:pt x="3365" y="751"/>
                  </a:lnTo>
                  <a:lnTo>
                    <a:pt x="3374" y="682"/>
                  </a:lnTo>
                  <a:lnTo>
                    <a:pt x="3384" y="608"/>
                  </a:lnTo>
                  <a:lnTo>
                    <a:pt x="3395" y="532"/>
                  </a:lnTo>
                  <a:lnTo>
                    <a:pt x="3419" y="383"/>
                  </a:lnTo>
                  <a:lnTo>
                    <a:pt x="3440" y="254"/>
                  </a:lnTo>
                  <a:lnTo>
                    <a:pt x="3461" y="128"/>
                  </a:lnTo>
                  <a:lnTo>
                    <a:pt x="3462" y="127"/>
                  </a:lnTo>
                  <a:lnTo>
                    <a:pt x="3462" y="122"/>
                  </a:lnTo>
                  <a:lnTo>
                    <a:pt x="3463" y="118"/>
                  </a:lnTo>
                  <a:lnTo>
                    <a:pt x="3463" y="110"/>
                  </a:lnTo>
                  <a:lnTo>
                    <a:pt x="3462" y="106"/>
                  </a:lnTo>
                  <a:lnTo>
                    <a:pt x="3461" y="102"/>
                  </a:lnTo>
                  <a:lnTo>
                    <a:pt x="3461" y="98"/>
                  </a:lnTo>
                  <a:lnTo>
                    <a:pt x="3459" y="95"/>
                  </a:lnTo>
                  <a:lnTo>
                    <a:pt x="3456" y="88"/>
                  </a:lnTo>
                  <a:lnTo>
                    <a:pt x="3452" y="82"/>
                  </a:lnTo>
                  <a:lnTo>
                    <a:pt x="3447" y="76"/>
                  </a:lnTo>
                  <a:lnTo>
                    <a:pt x="3441" y="70"/>
                  </a:lnTo>
                  <a:lnTo>
                    <a:pt x="3435" y="65"/>
                  </a:lnTo>
                  <a:lnTo>
                    <a:pt x="3432" y="63"/>
                  </a:lnTo>
                  <a:lnTo>
                    <a:pt x="3428" y="61"/>
                  </a:lnTo>
                  <a:lnTo>
                    <a:pt x="3420" y="57"/>
                  </a:lnTo>
                  <a:lnTo>
                    <a:pt x="3412" y="53"/>
                  </a:lnTo>
                  <a:lnTo>
                    <a:pt x="3404" y="49"/>
                  </a:lnTo>
                  <a:lnTo>
                    <a:pt x="3395" y="46"/>
                  </a:lnTo>
                  <a:lnTo>
                    <a:pt x="3376" y="41"/>
                  </a:lnTo>
                  <a:lnTo>
                    <a:pt x="3357" y="36"/>
                  </a:lnTo>
                  <a:lnTo>
                    <a:pt x="3337" y="33"/>
                  </a:lnTo>
                  <a:lnTo>
                    <a:pt x="3317" y="30"/>
                  </a:lnTo>
                  <a:lnTo>
                    <a:pt x="3299" y="29"/>
                  </a:lnTo>
                  <a:lnTo>
                    <a:pt x="3282" y="28"/>
                  </a:lnTo>
                  <a:lnTo>
                    <a:pt x="3267" y="27"/>
                  </a:lnTo>
                  <a:lnTo>
                    <a:pt x="3244" y="27"/>
                  </a:lnTo>
                  <a:close/>
                  <a:moveTo>
                    <a:pt x="929" y="821"/>
                  </a:moveTo>
                  <a:lnTo>
                    <a:pt x="923" y="888"/>
                  </a:lnTo>
                  <a:lnTo>
                    <a:pt x="917" y="950"/>
                  </a:lnTo>
                  <a:lnTo>
                    <a:pt x="910" y="1009"/>
                  </a:lnTo>
                  <a:lnTo>
                    <a:pt x="904" y="1063"/>
                  </a:lnTo>
                  <a:lnTo>
                    <a:pt x="897" y="1114"/>
                  </a:lnTo>
                  <a:lnTo>
                    <a:pt x="890" y="1160"/>
                  </a:lnTo>
                  <a:lnTo>
                    <a:pt x="882" y="1202"/>
                  </a:lnTo>
                  <a:lnTo>
                    <a:pt x="875" y="1240"/>
                  </a:lnTo>
                  <a:lnTo>
                    <a:pt x="868" y="1275"/>
                  </a:lnTo>
                  <a:lnTo>
                    <a:pt x="861" y="1306"/>
                  </a:lnTo>
                  <a:lnTo>
                    <a:pt x="854" y="1333"/>
                  </a:lnTo>
                  <a:lnTo>
                    <a:pt x="847" y="1357"/>
                  </a:lnTo>
                  <a:lnTo>
                    <a:pt x="843" y="1368"/>
                  </a:lnTo>
                  <a:lnTo>
                    <a:pt x="840" y="1378"/>
                  </a:lnTo>
                  <a:lnTo>
                    <a:pt x="833" y="1395"/>
                  </a:lnTo>
                  <a:lnTo>
                    <a:pt x="830" y="1403"/>
                  </a:lnTo>
                  <a:lnTo>
                    <a:pt x="826" y="1410"/>
                  </a:lnTo>
                  <a:lnTo>
                    <a:pt x="823" y="1415"/>
                  </a:lnTo>
                  <a:lnTo>
                    <a:pt x="820" y="1421"/>
                  </a:lnTo>
                  <a:lnTo>
                    <a:pt x="809" y="1437"/>
                  </a:lnTo>
                  <a:lnTo>
                    <a:pt x="798" y="1452"/>
                  </a:lnTo>
                  <a:lnTo>
                    <a:pt x="791" y="1460"/>
                  </a:lnTo>
                  <a:lnTo>
                    <a:pt x="785" y="1467"/>
                  </a:lnTo>
                  <a:lnTo>
                    <a:pt x="779" y="1473"/>
                  </a:lnTo>
                  <a:lnTo>
                    <a:pt x="773" y="1480"/>
                  </a:lnTo>
                  <a:lnTo>
                    <a:pt x="766" y="1486"/>
                  </a:lnTo>
                  <a:lnTo>
                    <a:pt x="760" y="1492"/>
                  </a:lnTo>
                  <a:lnTo>
                    <a:pt x="746" y="1503"/>
                  </a:lnTo>
                  <a:lnTo>
                    <a:pt x="732" y="1513"/>
                  </a:lnTo>
                  <a:lnTo>
                    <a:pt x="724" y="1517"/>
                  </a:lnTo>
                  <a:lnTo>
                    <a:pt x="717" y="1522"/>
                  </a:lnTo>
                  <a:lnTo>
                    <a:pt x="701" y="1529"/>
                  </a:lnTo>
                  <a:lnTo>
                    <a:pt x="694" y="1533"/>
                  </a:lnTo>
                  <a:lnTo>
                    <a:pt x="686" y="1536"/>
                  </a:lnTo>
                  <a:lnTo>
                    <a:pt x="669" y="1542"/>
                  </a:lnTo>
                  <a:lnTo>
                    <a:pt x="661" y="1544"/>
                  </a:lnTo>
                  <a:lnTo>
                    <a:pt x="652" y="1546"/>
                  </a:lnTo>
                  <a:lnTo>
                    <a:pt x="635" y="1550"/>
                  </a:lnTo>
                  <a:lnTo>
                    <a:pt x="616" y="1552"/>
                  </a:lnTo>
                  <a:lnTo>
                    <a:pt x="598" y="1554"/>
                  </a:lnTo>
                  <a:lnTo>
                    <a:pt x="578" y="1554"/>
                  </a:lnTo>
                  <a:lnTo>
                    <a:pt x="565" y="1554"/>
                  </a:lnTo>
                  <a:lnTo>
                    <a:pt x="549" y="1552"/>
                  </a:lnTo>
                  <a:lnTo>
                    <a:pt x="541" y="1550"/>
                  </a:lnTo>
                  <a:lnTo>
                    <a:pt x="533" y="1548"/>
                  </a:lnTo>
                  <a:lnTo>
                    <a:pt x="515" y="1543"/>
                  </a:lnTo>
                  <a:lnTo>
                    <a:pt x="506" y="1540"/>
                  </a:lnTo>
                  <a:lnTo>
                    <a:pt x="496" y="1536"/>
                  </a:lnTo>
                  <a:lnTo>
                    <a:pt x="478" y="1527"/>
                  </a:lnTo>
                  <a:lnTo>
                    <a:pt x="468" y="1522"/>
                  </a:lnTo>
                  <a:lnTo>
                    <a:pt x="459" y="1516"/>
                  </a:lnTo>
                  <a:lnTo>
                    <a:pt x="450" y="1509"/>
                  </a:lnTo>
                  <a:lnTo>
                    <a:pt x="441" y="1503"/>
                  </a:lnTo>
                  <a:lnTo>
                    <a:pt x="432" y="1495"/>
                  </a:lnTo>
                  <a:lnTo>
                    <a:pt x="423" y="1487"/>
                  </a:lnTo>
                  <a:lnTo>
                    <a:pt x="415" y="1478"/>
                  </a:lnTo>
                  <a:lnTo>
                    <a:pt x="407" y="1469"/>
                  </a:lnTo>
                  <a:lnTo>
                    <a:pt x="399" y="1459"/>
                  </a:lnTo>
                  <a:lnTo>
                    <a:pt x="392" y="1448"/>
                  </a:lnTo>
                  <a:lnTo>
                    <a:pt x="385" y="1436"/>
                  </a:lnTo>
                  <a:lnTo>
                    <a:pt x="379" y="1424"/>
                  </a:lnTo>
                  <a:lnTo>
                    <a:pt x="373" y="1411"/>
                  </a:lnTo>
                  <a:lnTo>
                    <a:pt x="368" y="1398"/>
                  </a:lnTo>
                  <a:lnTo>
                    <a:pt x="364" y="1383"/>
                  </a:lnTo>
                  <a:lnTo>
                    <a:pt x="360" y="1368"/>
                  </a:lnTo>
                  <a:lnTo>
                    <a:pt x="357" y="1352"/>
                  </a:lnTo>
                  <a:lnTo>
                    <a:pt x="355" y="1335"/>
                  </a:lnTo>
                  <a:lnTo>
                    <a:pt x="353" y="1317"/>
                  </a:lnTo>
                  <a:lnTo>
                    <a:pt x="353" y="1299"/>
                  </a:lnTo>
                  <a:lnTo>
                    <a:pt x="354" y="1281"/>
                  </a:lnTo>
                  <a:lnTo>
                    <a:pt x="356" y="1264"/>
                  </a:lnTo>
                  <a:lnTo>
                    <a:pt x="360" y="1246"/>
                  </a:lnTo>
                  <a:lnTo>
                    <a:pt x="365" y="1227"/>
                  </a:lnTo>
                  <a:lnTo>
                    <a:pt x="372" y="1209"/>
                  </a:lnTo>
                  <a:lnTo>
                    <a:pt x="380" y="1189"/>
                  </a:lnTo>
                  <a:lnTo>
                    <a:pt x="390" y="1170"/>
                  </a:lnTo>
                  <a:lnTo>
                    <a:pt x="401" y="1150"/>
                  </a:lnTo>
                  <a:lnTo>
                    <a:pt x="414" y="1130"/>
                  </a:lnTo>
                  <a:lnTo>
                    <a:pt x="428" y="1109"/>
                  </a:lnTo>
                  <a:lnTo>
                    <a:pt x="444" y="1088"/>
                  </a:lnTo>
                  <a:lnTo>
                    <a:pt x="452" y="1077"/>
                  </a:lnTo>
                  <a:lnTo>
                    <a:pt x="461" y="1066"/>
                  </a:lnTo>
                  <a:lnTo>
                    <a:pt x="470" y="1055"/>
                  </a:lnTo>
                  <a:lnTo>
                    <a:pt x="479" y="1044"/>
                  </a:lnTo>
                  <a:lnTo>
                    <a:pt x="499" y="1022"/>
                  </a:lnTo>
                  <a:lnTo>
                    <a:pt x="520" y="1000"/>
                  </a:lnTo>
                  <a:lnTo>
                    <a:pt x="542" y="977"/>
                  </a:lnTo>
                  <a:lnTo>
                    <a:pt x="551" y="978"/>
                  </a:lnTo>
                  <a:lnTo>
                    <a:pt x="573" y="977"/>
                  </a:lnTo>
                  <a:lnTo>
                    <a:pt x="585" y="976"/>
                  </a:lnTo>
                  <a:lnTo>
                    <a:pt x="596" y="974"/>
                  </a:lnTo>
                  <a:lnTo>
                    <a:pt x="608" y="972"/>
                  </a:lnTo>
                  <a:lnTo>
                    <a:pt x="619" y="970"/>
                  </a:lnTo>
                  <a:lnTo>
                    <a:pt x="643" y="963"/>
                  </a:lnTo>
                  <a:lnTo>
                    <a:pt x="654" y="959"/>
                  </a:lnTo>
                  <a:lnTo>
                    <a:pt x="666" y="954"/>
                  </a:lnTo>
                  <a:lnTo>
                    <a:pt x="678" y="949"/>
                  </a:lnTo>
                  <a:lnTo>
                    <a:pt x="690" y="944"/>
                  </a:lnTo>
                  <a:lnTo>
                    <a:pt x="702" y="937"/>
                  </a:lnTo>
                  <a:lnTo>
                    <a:pt x="714" y="931"/>
                  </a:lnTo>
                  <a:lnTo>
                    <a:pt x="726" y="924"/>
                  </a:lnTo>
                  <a:lnTo>
                    <a:pt x="738" y="916"/>
                  </a:lnTo>
                  <a:lnTo>
                    <a:pt x="762" y="900"/>
                  </a:lnTo>
                  <a:lnTo>
                    <a:pt x="786" y="881"/>
                  </a:lnTo>
                  <a:lnTo>
                    <a:pt x="799" y="871"/>
                  </a:lnTo>
                  <a:lnTo>
                    <a:pt x="811" y="861"/>
                  </a:lnTo>
                  <a:lnTo>
                    <a:pt x="836" y="839"/>
                  </a:lnTo>
                  <a:lnTo>
                    <a:pt x="861" y="814"/>
                  </a:lnTo>
                  <a:lnTo>
                    <a:pt x="886" y="788"/>
                  </a:lnTo>
                  <a:lnTo>
                    <a:pt x="899" y="774"/>
                  </a:lnTo>
                  <a:lnTo>
                    <a:pt x="912" y="760"/>
                  </a:lnTo>
                  <a:lnTo>
                    <a:pt x="925" y="745"/>
                  </a:lnTo>
                  <a:lnTo>
                    <a:pt x="938" y="729"/>
                  </a:lnTo>
                  <a:lnTo>
                    <a:pt x="929" y="821"/>
                  </a:lnTo>
                  <a:close/>
                  <a:moveTo>
                    <a:pt x="987" y="304"/>
                  </a:moveTo>
                  <a:lnTo>
                    <a:pt x="986" y="316"/>
                  </a:lnTo>
                  <a:lnTo>
                    <a:pt x="984" y="328"/>
                  </a:lnTo>
                  <a:lnTo>
                    <a:pt x="979" y="352"/>
                  </a:lnTo>
                  <a:lnTo>
                    <a:pt x="973" y="376"/>
                  </a:lnTo>
                  <a:lnTo>
                    <a:pt x="967" y="399"/>
                  </a:lnTo>
                  <a:lnTo>
                    <a:pt x="959" y="423"/>
                  </a:lnTo>
                  <a:lnTo>
                    <a:pt x="950" y="445"/>
                  </a:lnTo>
                  <a:lnTo>
                    <a:pt x="941" y="468"/>
                  </a:lnTo>
                  <a:lnTo>
                    <a:pt x="930" y="490"/>
                  </a:lnTo>
                  <a:lnTo>
                    <a:pt x="924" y="501"/>
                  </a:lnTo>
                  <a:lnTo>
                    <a:pt x="918" y="512"/>
                  </a:lnTo>
                  <a:lnTo>
                    <a:pt x="906" y="534"/>
                  </a:lnTo>
                  <a:lnTo>
                    <a:pt x="899" y="544"/>
                  </a:lnTo>
                  <a:lnTo>
                    <a:pt x="892" y="555"/>
                  </a:lnTo>
                  <a:lnTo>
                    <a:pt x="877" y="576"/>
                  </a:lnTo>
                  <a:lnTo>
                    <a:pt x="862" y="596"/>
                  </a:lnTo>
                  <a:lnTo>
                    <a:pt x="845" y="616"/>
                  </a:lnTo>
                  <a:lnTo>
                    <a:pt x="828" y="636"/>
                  </a:lnTo>
                  <a:lnTo>
                    <a:pt x="810" y="656"/>
                  </a:lnTo>
                  <a:lnTo>
                    <a:pt x="793" y="672"/>
                  </a:lnTo>
                  <a:lnTo>
                    <a:pt x="778" y="687"/>
                  </a:lnTo>
                  <a:lnTo>
                    <a:pt x="763" y="699"/>
                  </a:lnTo>
                  <a:lnTo>
                    <a:pt x="750" y="711"/>
                  </a:lnTo>
                  <a:lnTo>
                    <a:pt x="737" y="721"/>
                  </a:lnTo>
                  <a:lnTo>
                    <a:pt x="725" y="729"/>
                  </a:lnTo>
                  <a:lnTo>
                    <a:pt x="714" y="736"/>
                  </a:lnTo>
                  <a:lnTo>
                    <a:pt x="703" y="743"/>
                  </a:lnTo>
                  <a:lnTo>
                    <a:pt x="694" y="748"/>
                  </a:lnTo>
                  <a:lnTo>
                    <a:pt x="685" y="752"/>
                  </a:lnTo>
                  <a:lnTo>
                    <a:pt x="677" y="755"/>
                  </a:lnTo>
                  <a:lnTo>
                    <a:pt x="670" y="757"/>
                  </a:lnTo>
                  <a:lnTo>
                    <a:pt x="663" y="759"/>
                  </a:lnTo>
                  <a:lnTo>
                    <a:pt x="657" y="760"/>
                  </a:lnTo>
                  <a:lnTo>
                    <a:pt x="648" y="761"/>
                  </a:lnTo>
                  <a:lnTo>
                    <a:pt x="644" y="760"/>
                  </a:lnTo>
                  <a:lnTo>
                    <a:pt x="641" y="759"/>
                  </a:lnTo>
                  <a:lnTo>
                    <a:pt x="639" y="756"/>
                  </a:lnTo>
                  <a:lnTo>
                    <a:pt x="636" y="753"/>
                  </a:lnTo>
                  <a:lnTo>
                    <a:pt x="634" y="749"/>
                  </a:lnTo>
                  <a:lnTo>
                    <a:pt x="633" y="744"/>
                  </a:lnTo>
                  <a:lnTo>
                    <a:pt x="630" y="734"/>
                  </a:lnTo>
                  <a:lnTo>
                    <a:pt x="629" y="729"/>
                  </a:lnTo>
                  <a:lnTo>
                    <a:pt x="629" y="723"/>
                  </a:lnTo>
                  <a:lnTo>
                    <a:pt x="628" y="712"/>
                  </a:lnTo>
                  <a:lnTo>
                    <a:pt x="628" y="692"/>
                  </a:lnTo>
                  <a:lnTo>
                    <a:pt x="629" y="667"/>
                  </a:lnTo>
                  <a:lnTo>
                    <a:pt x="630" y="641"/>
                  </a:lnTo>
                  <a:lnTo>
                    <a:pt x="632" y="616"/>
                  </a:lnTo>
                  <a:lnTo>
                    <a:pt x="635" y="592"/>
                  </a:lnTo>
                  <a:lnTo>
                    <a:pt x="638" y="568"/>
                  </a:lnTo>
                  <a:lnTo>
                    <a:pt x="642" y="545"/>
                  </a:lnTo>
                  <a:lnTo>
                    <a:pt x="647" y="522"/>
                  </a:lnTo>
                  <a:lnTo>
                    <a:pt x="649" y="510"/>
                  </a:lnTo>
                  <a:lnTo>
                    <a:pt x="652" y="499"/>
                  </a:lnTo>
                  <a:lnTo>
                    <a:pt x="657" y="478"/>
                  </a:lnTo>
                  <a:lnTo>
                    <a:pt x="664" y="456"/>
                  </a:lnTo>
                  <a:lnTo>
                    <a:pt x="671" y="436"/>
                  </a:lnTo>
                  <a:lnTo>
                    <a:pt x="678" y="415"/>
                  </a:lnTo>
                  <a:lnTo>
                    <a:pt x="682" y="406"/>
                  </a:lnTo>
                  <a:lnTo>
                    <a:pt x="687" y="396"/>
                  </a:lnTo>
                  <a:lnTo>
                    <a:pt x="695" y="377"/>
                  </a:lnTo>
                  <a:lnTo>
                    <a:pt x="705" y="358"/>
                  </a:lnTo>
                  <a:lnTo>
                    <a:pt x="715" y="341"/>
                  </a:lnTo>
                  <a:lnTo>
                    <a:pt x="724" y="325"/>
                  </a:lnTo>
                  <a:lnTo>
                    <a:pt x="734" y="311"/>
                  </a:lnTo>
                  <a:lnTo>
                    <a:pt x="744" y="297"/>
                  </a:lnTo>
                  <a:lnTo>
                    <a:pt x="748" y="291"/>
                  </a:lnTo>
                  <a:lnTo>
                    <a:pt x="753" y="285"/>
                  </a:lnTo>
                  <a:lnTo>
                    <a:pt x="763" y="274"/>
                  </a:lnTo>
                  <a:lnTo>
                    <a:pt x="774" y="263"/>
                  </a:lnTo>
                  <a:lnTo>
                    <a:pt x="784" y="254"/>
                  </a:lnTo>
                  <a:lnTo>
                    <a:pt x="795" y="246"/>
                  </a:lnTo>
                  <a:lnTo>
                    <a:pt x="805" y="238"/>
                  </a:lnTo>
                  <a:lnTo>
                    <a:pt x="816" y="232"/>
                  </a:lnTo>
                  <a:lnTo>
                    <a:pt x="827" y="227"/>
                  </a:lnTo>
                  <a:lnTo>
                    <a:pt x="838" y="222"/>
                  </a:lnTo>
                  <a:lnTo>
                    <a:pt x="850" y="219"/>
                  </a:lnTo>
                  <a:lnTo>
                    <a:pt x="861" y="216"/>
                  </a:lnTo>
                  <a:lnTo>
                    <a:pt x="873" y="214"/>
                  </a:lnTo>
                  <a:lnTo>
                    <a:pt x="885" y="213"/>
                  </a:lnTo>
                  <a:lnTo>
                    <a:pt x="901" y="213"/>
                  </a:lnTo>
                  <a:lnTo>
                    <a:pt x="917" y="214"/>
                  </a:lnTo>
                  <a:lnTo>
                    <a:pt x="933" y="215"/>
                  </a:lnTo>
                  <a:lnTo>
                    <a:pt x="948" y="217"/>
                  </a:lnTo>
                  <a:lnTo>
                    <a:pt x="962" y="220"/>
                  </a:lnTo>
                  <a:lnTo>
                    <a:pt x="975" y="223"/>
                  </a:lnTo>
                  <a:lnTo>
                    <a:pt x="998" y="229"/>
                  </a:lnTo>
                  <a:lnTo>
                    <a:pt x="991" y="277"/>
                  </a:lnTo>
                  <a:lnTo>
                    <a:pt x="987" y="304"/>
                  </a:lnTo>
                  <a:close/>
                  <a:moveTo>
                    <a:pt x="3204" y="299"/>
                  </a:moveTo>
                  <a:lnTo>
                    <a:pt x="3200" y="325"/>
                  </a:lnTo>
                  <a:lnTo>
                    <a:pt x="3195" y="350"/>
                  </a:lnTo>
                  <a:lnTo>
                    <a:pt x="3192" y="362"/>
                  </a:lnTo>
                  <a:lnTo>
                    <a:pt x="3189" y="374"/>
                  </a:lnTo>
                  <a:lnTo>
                    <a:pt x="3182" y="399"/>
                  </a:lnTo>
                  <a:lnTo>
                    <a:pt x="3174" y="422"/>
                  </a:lnTo>
                  <a:lnTo>
                    <a:pt x="3165" y="446"/>
                  </a:lnTo>
                  <a:lnTo>
                    <a:pt x="3156" y="469"/>
                  </a:lnTo>
                  <a:lnTo>
                    <a:pt x="3145" y="491"/>
                  </a:lnTo>
                  <a:lnTo>
                    <a:pt x="3134" y="513"/>
                  </a:lnTo>
                  <a:lnTo>
                    <a:pt x="3122" y="535"/>
                  </a:lnTo>
                  <a:lnTo>
                    <a:pt x="3109" y="557"/>
                  </a:lnTo>
                  <a:lnTo>
                    <a:pt x="3095" y="577"/>
                  </a:lnTo>
                  <a:lnTo>
                    <a:pt x="3080" y="598"/>
                  </a:lnTo>
                  <a:lnTo>
                    <a:pt x="3072" y="608"/>
                  </a:lnTo>
                  <a:lnTo>
                    <a:pt x="3064" y="618"/>
                  </a:lnTo>
                  <a:lnTo>
                    <a:pt x="3056" y="628"/>
                  </a:lnTo>
                  <a:lnTo>
                    <a:pt x="3048" y="638"/>
                  </a:lnTo>
                  <a:lnTo>
                    <a:pt x="3031" y="657"/>
                  </a:lnTo>
                  <a:lnTo>
                    <a:pt x="3015" y="673"/>
                  </a:lnTo>
                  <a:lnTo>
                    <a:pt x="3000" y="688"/>
                  </a:lnTo>
                  <a:lnTo>
                    <a:pt x="2986" y="701"/>
                  </a:lnTo>
                  <a:lnTo>
                    <a:pt x="2972" y="712"/>
                  </a:lnTo>
                  <a:lnTo>
                    <a:pt x="2960" y="722"/>
                  </a:lnTo>
                  <a:lnTo>
                    <a:pt x="2948" y="731"/>
                  </a:lnTo>
                  <a:lnTo>
                    <a:pt x="2937" y="738"/>
                  </a:lnTo>
                  <a:lnTo>
                    <a:pt x="2927" y="744"/>
                  </a:lnTo>
                  <a:lnTo>
                    <a:pt x="2917" y="749"/>
                  </a:lnTo>
                  <a:lnTo>
                    <a:pt x="2909" y="754"/>
                  </a:lnTo>
                  <a:lnTo>
                    <a:pt x="2901" y="757"/>
                  </a:lnTo>
                  <a:lnTo>
                    <a:pt x="2893" y="759"/>
                  </a:lnTo>
                  <a:lnTo>
                    <a:pt x="2887" y="761"/>
                  </a:lnTo>
                  <a:lnTo>
                    <a:pt x="2881" y="762"/>
                  </a:lnTo>
                  <a:lnTo>
                    <a:pt x="2871" y="763"/>
                  </a:lnTo>
                  <a:lnTo>
                    <a:pt x="2868" y="762"/>
                  </a:lnTo>
                  <a:lnTo>
                    <a:pt x="2865" y="761"/>
                  </a:lnTo>
                  <a:lnTo>
                    <a:pt x="2862" y="759"/>
                  </a:lnTo>
                  <a:lnTo>
                    <a:pt x="2860" y="756"/>
                  </a:lnTo>
                  <a:lnTo>
                    <a:pt x="2858" y="752"/>
                  </a:lnTo>
                  <a:lnTo>
                    <a:pt x="2856" y="748"/>
                  </a:lnTo>
                  <a:lnTo>
                    <a:pt x="2853" y="738"/>
                  </a:lnTo>
                  <a:lnTo>
                    <a:pt x="2852" y="733"/>
                  </a:lnTo>
                  <a:lnTo>
                    <a:pt x="2852" y="727"/>
                  </a:lnTo>
                  <a:lnTo>
                    <a:pt x="2850" y="716"/>
                  </a:lnTo>
                  <a:lnTo>
                    <a:pt x="2850" y="695"/>
                  </a:lnTo>
                  <a:lnTo>
                    <a:pt x="2850" y="669"/>
                  </a:lnTo>
                  <a:lnTo>
                    <a:pt x="2851" y="643"/>
                  </a:lnTo>
                  <a:lnTo>
                    <a:pt x="2853" y="618"/>
                  </a:lnTo>
                  <a:lnTo>
                    <a:pt x="2855" y="593"/>
                  </a:lnTo>
                  <a:lnTo>
                    <a:pt x="2858" y="569"/>
                  </a:lnTo>
                  <a:lnTo>
                    <a:pt x="2862" y="546"/>
                  </a:lnTo>
                  <a:lnTo>
                    <a:pt x="2866" y="523"/>
                  </a:lnTo>
                  <a:lnTo>
                    <a:pt x="2871" y="501"/>
                  </a:lnTo>
                  <a:lnTo>
                    <a:pt x="2876" y="479"/>
                  </a:lnTo>
                  <a:lnTo>
                    <a:pt x="2882" y="457"/>
                  </a:lnTo>
                  <a:lnTo>
                    <a:pt x="2889" y="437"/>
                  </a:lnTo>
                  <a:lnTo>
                    <a:pt x="2896" y="416"/>
                  </a:lnTo>
                  <a:lnTo>
                    <a:pt x="2903" y="397"/>
                  </a:lnTo>
                  <a:lnTo>
                    <a:pt x="2911" y="378"/>
                  </a:lnTo>
                  <a:lnTo>
                    <a:pt x="2920" y="359"/>
                  </a:lnTo>
                  <a:lnTo>
                    <a:pt x="2929" y="341"/>
                  </a:lnTo>
                  <a:lnTo>
                    <a:pt x="2938" y="325"/>
                  </a:lnTo>
                  <a:lnTo>
                    <a:pt x="2942" y="318"/>
                  </a:lnTo>
                  <a:lnTo>
                    <a:pt x="2947" y="311"/>
                  </a:lnTo>
                  <a:lnTo>
                    <a:pt x="2955" y="298"/>
                  </a:lnTo>
                  <a:lnTo>
                    <a:pt x="2965" y="286"/>
                  </a:lnTo>
                  <a:lnTo>
                    <a:pt x="2974" y="276"/>
                  </a:lnTo>
                  <a:lnTo>
                    <a:pt x="2983" y="266"/>
                  </a:lnTo>
                  <a:lnTo>
                    <a:pt x="2993" y="257"/>
                  </a:lnTo>
                  <a:lnTo>
                    <a:pt x="3002" y="249"/>
                  </a:lnTo>
                  <a:lnTo>
                    <a:pt x="3012" y="241"/>
                  </a:lnTo>
                  <a:lnTo>
                    <a:pt x="3022" y="235"/>
                  </a:lnTo>
                  <a:lnTo>
                    <a:pt x="3032" y="230"/>
                  </a:lnTo>
                  <a:lnTo>
                    <a:pt x="3042" y="225"/>
                  </a:lnTo>
                  <a:lnTo>
                    <a:pt x="3052" y="221"/>
                  </a:lnTo>
                  <a:lnTo>
                    <a:pt x="3062" y="217"/>
                  </a:lnTo>
                  <a:lnTo>
                    <a:pt x="3071" y="214"/>
                  </a:lnTo>
                  <a:lnTo>
                    <a:pt x="3081" y="212"/>
                  </a:lnTo>
                  <a:lnTo>
                    <a:pt x="3101" y="209"/>
                  </a:lnTo>
                  <a:lnTo>
                    <a:pt x="3110" y="208"/>
                  </a:lnTo>
                  <a:lnTo>
                    <a:pt x="3120" y="208"/>
                  </a:lnTo>
                  <a:lnTo>
                    <a:pt x="3129" y="208"/>
                  </a:lnTo>
                  <a:lnTo>
                    <a:pt x="3139" y="208"/>
                  </a:lnTo>
                  <a:lnTo>
                    <a:pt x="3156" y="209"/>
                  </a:lnTo>
                  <a:lnTo>
                    <a:pt x="3165" y="210"/>
                  </a:lnTo>
                  <a:lnTo>
                    <a:pt x="3174" y="212"/>
                  </a:lnTo>
                  <a:lnTo>
                    <a:pt x="3190" y="214"/>
                  </a:lnTo>
                  <a:lnTo>
                    <a:pt x="3219" y="219"/>
                  </a:lnTo>
                  <a:lnTo>
                    <a:pt x="3217" y="230"/>
                  </a:lnTo>
                  <a:lnTo>
                    <a:pt x="3215" y="242"/>
                  </a:lnTo>
                  <a:lnTo>
                    <a:pt x="3211" y="268"/>
                  </a:lnTo>
                  <a:lnTo>
                    <a:pt x="3204" y="2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400" b="1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BA41264F-C31B-4833-BB7C-DB529F1698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8944" y="2705939"/>
              <a:ext cx="376873" cy="533481"/>
            </a:xfrm>
            <a:custGeom>
              <a:avLst/>
              <a:gdLst>
                <a:gd name="T0" fmla="*/ 698 w 901"/>
                <a:gd name="T1" fmla="*/ 227 h 1274"/>
                <a:gd name="T2" fmla="*/ 760 w 901"/>
                <a:gd name="T3" fmla="*/ 277 h 1274"/>
                <a:gd name="T4" fmla="*/ 813 w 901"/>
                <a:gd name="T5" fmla="*/ 288 h 1274"/>
                <a:gd name="T6" fmla="*/ 855 w 901"/>
                <a:gd name="T7" fmla="*/ 274 h 1274"/>
                <a:gd name="T8" fmla="*/ 887 w 901"/>
                <a:gd name="T9" fmla="*/ 234 h 1274"/>
                <a:gd name="T10" fmla="*/ 900 w 901"/>
                <a:gd name="T11" fmla="*/ 154 h 1274"/>
                <a:gd name="T12" fmla="*/ 882 w 901"/>
                <a:gd name="T13" fmla="*/ 97 h 1274"/>
                <a:gd name="T14" fmla="*/ 837 w 901"/>
                <a:gd name="T15" fmla="*/ 54 h 1274"/>
                <a:gd name="T16" fmla="*/ 730 w 901"/>
                <a:gd name="T17" fmla="*/ 14 h 1274"/>
                <a:gd name="T18" fmla="*/ 601 w 901"/>
                <a:gd name="T19" fmla="*/ 0 h 1274"/>
                <a:gd name="T20" fmla="*/ 475 w 901"/>
                <a:gd name="T21" fmla="*/ 15 h 1274"/>
                <a:gd name="T22" fmla="*/ 367 w 901"/>
                <a:gd name="T23" fmla="*/ 57 h 1274"/>
                <a:gd name="T24" fmla="*/ 296 w 901"/>
                <a:gd name="T25" fmla="*/ 107 h 1274"/>
                <a:gd name="T26" fmla="*/ 238 w 901"/>
                <a:gd name="T27" fmla="*/ 171 h 1274"/>
                <a:gd name="T28" fmla="*/ 196 w 901"/>
                <a:gd name="T29" fmla="*/ 251 h 1274"/>
                <a:gd name="T30" fmla="*/ 179 w 901"/>
                <a:gd name="T31" fmla="*/ 341 h 1274"/>
                <a:gd name="T32" fmla="*/ 188 w 901"/>
                <a:gd name="T33" fmla="*/ 433 h 1274"/>
                <a:gd name="T34" fmla="*/ 216 w 901"/>
                <a:gd name="T35" fmla="*/ 499 h 1274"/>
                <a:gd name="T36" fmla="*/ 272 w 901"/>
                <a:gd name="T37" fmla="*/ 569 h 1274"/>
                <a:gd name="T38" fmla="*/ 398 w 901"/>
                <a:gd name="T39" fmla="*/ 682 h 1274"/>
                <a:gd name="T40" fmla="*/ 573 w 901"/>
                <a:gd name="T41" fmla="*/ 835 h 1274"/>
                <a:gd name="T42" fmla="*/ 616 w 901"/>
                <a:gd name="T43" fmla="*/ 905 h 1274"/>
                <a:gd name="T44" fmla="*/ 628 w 901"/>
                <a:gd name="T45" fmla="*/ 985 h 1274"/>
                <a:gd name="T46" fmla="*/ 616 w 901"/>
                <a:gd name="T47" fmla="*/ 1029 h 1274"/>
                <a:gd name="T48" fmla="*/ 578 w 901"/>
                <a:gd name="T49" fmla="*/ 1078 h 1274"/>
                <a:gd name="T50" fmla="*/ 517 w 901"/>
                <a:gd name="T51" fmla="*/ 1113 h 1274"/>
                <a:gd name="T52" fmla="*/ 449 w 901"/>
                <a:gd name="T53" fmla="*/ 1124 h 1274"/>
                <a:gd name="T54" fmla="*/ 371 w 901"/>
                <a:gd name="T55" fmla="*/ 1112 h 1274"/>
                <a:gd name="T56" fmla="*/ 314 w 901"/>
                <a:gd name="T57" fmla="*/ 1079 h 1274"/>
                <a:gd name="T58" fmla="*/ 259 w 901"/>
                <a:gd name="T59" fmla="*/ 1007 h 1274"/>
                <a:gd name="T60" fmla="*/ 219 w 901"/>
                <a:gd name="T61" fmla="*/ 929 h 1274"/>
                <a:gd name="T62" fmla="*/ 184 w 901"/>
                <a:gd name="T63" fmla="*/ 901 h 1274"/>
                <a:gd name="T64" fmla="*/ 131 w 901"/>
                <a:gd name="T65" fmla="*/ 888 h 1274"/>
                <a:gd name="T66" fmla="*/ 83 w 901"/>
                <a:gd name="T67" fmla="*/ 898 h 1274"/>
                <a:gd name="T68" fmla="*/ 37 w 901"/>
                <a:gd name="T69" fmla="*/ 929 h 1274"/>
                <a:gd name="T70" fmla="*/ 6 w 901"/>
                <a:gd name="T71" fmla="*/ 978 h 1274"/>
                <a:gd name="T72" fmla="*/ 3 w 901"/>
                <a:gd name="T73" fmla="*/ 1044 h 1274"/>
                <a:gd name="T74" fmla="*/ 35 w 901"/>
                <a:gd name="T75" fmla="*/ 1119 h 1274"/>
                <a:gd name="T76" fmla="*/ 90 w 901"/>
                <a:gd name="T77" fmla="*/ 1184 h 1274"/>
                <a:gd name="T78" fmla="*/ 176 w 901"/>
                <a:gd name="T79" fmla="*/ 1240 h 1274"/>
                <a:gd name="T80" fmla="*/ 271 w 901"/>
                <a:gd name="T81" fmla="*/ 1268 h 1274"/>
                <a:gd name="T82" fmla="*/ 400 w 901"/>
                <a:gd name="T83" fmla="*/ 1273 h 1274"/>
                <a:gd name="T84" fmla="*/ 539 w 901"/>
                <a:gd name="T85" fmla="*/ 1247 h 1274"/>
                <a:gd name="T86" fmla="*/ 678 w 901"/>
                <a:gd name="T87" fmla="*/ 1178 h 1274"/>
                <a:gd name="T88" fmla="*/ 772 w 901"/>
                <a:gd name="T89" fmla="*/ 1087 h 1274"/>
                <a:gd name="T90" fmla="*/ 817 w 901"/>
                <a:gd name="T91" fmla="*/ 1008 h 1274"/>
                <a:gd name="T92" fmla="*/ 839 w 901"/>
                <a:gd name="T93" fmla="*/ 920 h 1274"/>
                <a:gd name="T94" fmla="*/ 835 w 901"/>
                <a:gd name="T95" fmla="*/ 819 h 1274"/>
                <a:gd name="T96" fmla="*/ 808 w 901"/>
                <a:gd name="T97" fmla="*/ 743 h 1274"/>
                <a:gd name="T98" fmla="*/ 760 w 901"/>
                <a:gd name="T99" fmla="*/ 670 h 1274"/>
                <a:gd name="T100" fmla="*/ 670 w 901"/>
                <a:gd name="T101" fmla="*/ 582 h 1274"/>
                <a:gd name="T102" fmla="*/ 425 w 901"/>
                <a:gd name="T103" fmla="*/ 369 h 1274"/>
                <a:gd name="T104" fmla="*/ 389 w 901"/>
                <a:gd name="T105" fmla="*/ 314 h 1274"/>
                <a:gd name="T106" fmla="*/ 382 w 901"/>
                <a:gd name="T107" fmla="*/ 249 h 1274"/>
                <a:gd name="T108" fmla="*/ 407 w 901"/>
                <a:gd name="T109" fmla="*/ 198 h 1274"/>
                <a:gd name="T110" fmla="*/ 456 w 901"/>
                <a:gd name="T111" fmla="*/ 157 h 1274"/>
                <a:gd name="T112" fmla="*/ 520 w 901"/>
                <a:gd name="T113" fmla="*/ 139 h 1274"/>
                <a:gd name="T114" fmla="*/ 597 w 901"/>
                <a:gd name="T115" fmla="*/ 152 h 127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901"/>
                <a:gd name="T175" fmla="*/ 0 h 1274"/>
                <a:gd name="T176" fmla="*/ 901 w 901"/>
                <a:gd name="T177" fmla="*/ 1274 h 127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901" h="1274">
                  <a:moveTo>
                    <a:pt x="654" y="183"/>
                  </a:moveTo>
                  <a:lnTo>
                    <a:pt x="660" y="188"/>
                  </a:lnTo>
                  <a:lnTo>
                    <a:pt x="665" y="192"/>
                  </a:lnTo>
                  <a:lnTo>
                    <a:pt x="671" y="198"/>
                  </a:lnTo>
                  <a:lnTo>
                    <a:pt x="676" y="203"/>
                  </a:lnTo>
                  <a:lnTo>
                    <a:pt x="687" y="215"/>
                  </a:lnTo>
                  <a:lnTo>
                    <a:pt x="698" y="227"/>
                  </a:lnTo>
                  <a:lnTo>
                    <a:pt x="709" y="239"/>
                  </a:lnTo>
                  <a:lnTo>
                    <a:pt x="720" y="251"/>
                  </a:lnTo>
                  <a:lnTo>
                    <a:pt x="728" y="256"/>
                  </a:lnTo>
                  <a:lnTo>
                    <a:pt x="734" y="261"/>
                  </a:lnTo>
                  <a:lnTo>
                    <a:pt x="741" y="266"/>
                  </a:lnTo>
                  <a:lnTo>
                    <a:pt x="748" y="271"/>
                  </a:lnTo>
                  <a:lnTo>
                    <a:pt x="760" y="277"/>
                  </a:lnTo>
                  <a:lnTo>
                    <a:pt x="771" y="282"/>
                  </a:lnTo>
                  <a:lnTo>
                    <a:pt x="777" y="284"/>
                  </a:lnTo>
                  <a:lnTo>
                    <a:pt x="782" y="285"/>
                  </a:lnTo>
                  <a:lnTo>
                    <a:pt x="787" y="286"/>
                  </a:lnTo>
                  <a:lnTo>
                    <a:pt x="793" y="287"/>
                  </a:lnTo>
                  <a:lnTo>
                    <a:pt x="803" y="288"/>
                  </a:lnTo>
                  <a:lnTo>
                    <a:pt x="813" y="288"/>
                  </a:lnTo>
                  <a:lnTo>
                    <a:pt x="822" y="287"/>
                  </a:lnTo>
                  <a:lnTo>
                    <a:pt x="831" y="285"/>
                  </a:lnTo>
                  <a:lnTo>
                    <a:pt x="835" y="284"/>
                  </a:lnTo>
                  <a:lnTo>
                    <a:pt x="840" y="282"/>
                  </a:lnTo>
                  <a:lnTo>
                    <a:pt x="844" y="280"/>
                  </a:lnTo>
                  <a:lnTo>
                    <a:pt x="848" y="278"/>
                  </a:lnTo>
                  <a:lnTo>
                    <a:pt x="855" y="274"/>
                  </a:lnTo>
                  <a:lnTo>
                    <a:pt x="858" y="272"/>
                  </a:lnTo>
                  <a:lnTo>
                    <a:pt x="862" y="269"/>
                  </a:lnTo>
                  <a:lnTo>
                    <a:pt x="868" y="263"/>
                  </a:lnTo>
                  <a:lnTo>
                    <a:pt x="874" y="257"/>
                  </a:lnTo>
                  <a:lnTo>
                    <a:pt x="879" y="251"/>
                  </a:lnTo>
                  <a:lnTo>
                    <a:pt x="883" y="244"/>
                  </a:lnTo>
                  <a:lnTo>
                    <a:pt x="887" y="234"/>
                  </a:lnTo>
                  <a:lnTo>
                    <a:pt x="892" y="224"/>
                  </a:lnTo>
                  <a:lnTo>
                    <a:pt x="895" y="213"/>
                  </a:lnTo>
                  <a:lnTo>
                    <a:pt x="898" y="202"/>
                  </a:lnTo>
                  <a:lnTo>
                    <a:pt x="900" y="190"/>
                  </a:lnTo>
                  <a:lnTo>
                    <a:pt x="901" y="179"/>
                  </a:lnTo>
                  <a:lnTo>
                    <a:pt x="901" y="167"/>
                  </a:lnTo>
                  <a:lnTo>
                    <a:pt x="900" y="154"/>
                  </a:lnTo>
                  <a:lnTo>
                    <a:pt x="899" y="142"/>
                  </a:lnTo>
                  <a:lnTo>
                    <a:pt x="896" y="130"/>
                  </a:lnTo>
                  <a:lnTo>
                    <a:pt x="892" y="119"/>
                  </a:lnTo>
                  <a:lnTo>
                    <a:pt x="890" y="113"/>
                  </a:lnTo>
                  <a:lnTo>
                    <a:pt x="888" y="108"/>
                  </a:lnTo>
                  <a:lnTo>
                    <a:pt x="885" y="103"/>
                  </a:lnTo>
                  <a:lnTo>
                    <a:pt x="882" y="97"/>
                  </a:lnTo>
                  <a:lnTo>
                    <a:pt x="879" y="92"/>
                  </a:lnTo>
                  <a:lnTo>
                    <a:pt x="876" y="87"/>
                  </a:lnTo>
                  <a:lnTo>
                    <a:pt x="868" y="78"/>
                  </a:lnTo>
                  <a:lnTo>
                    <a:pt x="863" y="73"/>
                  </a:lnTo>
                  <a:lnTo>
                    <a:pt x="859" y="69"/>
                  </a:lnTo>
                  <a:lnTo>
                    <a:pt x="848" y="61"/>
                  </a:lnTo>
                  <a:lnTo>
                    <a:pt x="837" y="54"/>
                  </a:lnTo>
                  <a:lnTo>
                    <a:pt x="824" y="47"/>
                  </a:lnTo>
                  <a:lnTo>
                    <a:pt x="811" y="40"/>
                  </a:lnTo>
                  <a:lnTo>
                    <a:pt x="796" y="34"/>
                  </a:lnTo>
                  <a:lnTo>
                    <a:pt x="780" y="29"/>
                  </a:lnTo>
                  <a:lnTo>
                    <a:pt x="764" y="23"/>
                  </a:lnTo>
                  <a:lnTo>
                    <a:pt x="747" y="19"/>
                  </a:lnTo>
                  <a:lnTo>
                    <a:pt x="730" y="14"/>
                  </a:lnTo>
                  <a:lnTo>
                    <a:pt x="711" y="11"/>
                  </a:lnTo>
                  <a:lnTo>
                    <a:pt x="693" y="7"/>
                  </a:lnTo>
                  <a:lnTo>
                    <a:pt x="674" y="5"/>
                  </a:lnTo>
                  <a:lnTo>
                    <a:pt x="656" y="3"/>
                  </a:lnTo>
                  <a:lnTo>
                    <a:pt x="638" y="1"/>
                  </a:lnTo>
                  <a:lnTo>
                    <a:pt x="619" y="0"/>
                  </a:lnTo>
                  <a:lnTo>
                    <a:pt x="601" y="0"/>
                  </a:lnTo>
                  <a:lnTo>
                    <a:pt x="579" y="0"/>
                  </a:lnTo>
                  <a:lnTo>
                    <a:pt x="557" y="2"/>
                  </a:lnTo>
                  <a:lnTo>
                    <a:pt x="536" y="4"/>
                  </a:lnTo>
                  <a:lnTo>
                    <a:pt x="515" y="6"/>
                  </a:lnTo>
                  <a:lnTo>
                    <a:pt x="495" y="10"/>
                  </a:lnTo>
                  <a:lnTo>
                    <a:pt x="485" y="12"/>
                  </a:lnTo>
                  <a:lnTo>
                    <a:pt x="475" y="15"/>
                  </a:lnTo>
                  <a:lnTo>
                    <a:pt x="466" y="17"/>
                  </a:lnTo>
                  <a:lnTo>
                    <a:pt x="456" y="20"/>
                  </a:lnTo>
                  <a:lnTo>
                    <a:pt x="437" y="26"/>
                  </a:lnTo>
                  <a:lnTo>
                    <a:pt x="419" y="33"/>
                  </a:lnTo>
                  <a:lnTo>
                    <a:pt x="401" y="40"/>
                  </a:lnTo>
                  <a:lnTo>
                    <a:pt x="384" y="48"/>
                  </a:lnTo>
                  <a:lnTo>
                    <a:pt x="367" y="57"/>
                  </a:lnTo>
                  <a:lnTo>
                    <a:pt x="350" y="67"/>
                  </a:lnTo>
                  <a:lnTo>
                    <a:pt x="342" y="72"/>
                  </a:lnTo>
                  <a:lnTo>
                    <a:pt x="334" y="78"/>
                  </a:lnTo>
                  <a:lnTo>
                    <a:pt x="319" y="89"/>
                  </a:lnTo>
                  <a:lnTo>
                    <a:pt x="311" y="95"/>
                  </a:lnTo>
                  <a:lnTo>
                    <a:pt x="303" y="101"/>
                  </a:lnTo>
                  <a:lnTo>
                    <a:pt x="296" y="107"/>
                  </a:lnTo>
                  <a:lnTo>
                    <a:pt x="288" y="114"/>
                  </a:lnTo>
                  <a:lnTo>
                    <a:pt x="281" y="120"/>
                  </a:lnTo>
                  <a:lnTo>
                    <a:pt x="274" y="127"/>
                  </a:lnTo>
                  <a:lnTo>
                    <a:pt x="261" y="141"/>
                  </a:lnTo>
                  <a:lnTo>
                    <a:pt x="249" y="155"/>
                  </a:lnTo>
                  <a:lnTo>
                    <a:pt x="243" y="163"/>
                  </a:lnTo>
                  <a:lnTo>
                    <a:pt x="238" y="171"/>
                  </a:lnTo>
                  <a:lnTo>
                    <a:pt x="227" y="186"/>
                  </a:lnTo>
                  <a:lnTo>
                    <a:pt x="218" y="202"/>
                  </a:lnTo>
                  <a:lnTo>
                    <a:pt x="214" y="210"/>
                  </a:lnTo>
                  <a:lnTo>
                    <a:pt x="210" y="218"/>
                  </a:lnTo>
                  <a:lnTo>
                    <a:pt x="203" y="234"/>
                  </a:lnTo>
                  <a:lnTo>
                    <a:pt x="199" y="242"/>
                  </a:lnTo>
                  <a:lnTo>
                    <a:pt x="196" y="251"/>
                  </a:lnTo>
                  <a:lnTo>
                    <a:pt x="191" y="268"/>
                  </a:lnTo>
                  <a:lnTo>
                    <a:pt x="188" y="277"/>
                  </a:lnTo>
                  <a:lnTo>
                    <a:pt x="186" y="286"/>
                  </a:lnTo>
                  <a:lnTo>
                    <a:pt x="183" y="304"/>
                  </a:lnTo>
                  <a:lnTo>
                    <a:pt x="180" y="323"/>
                  </a:lnTo>
                  <a:lnTo>
                    <a:pt x="180" y="332"/>
                  </a:lnTo>
                  <a:lnTo>
                    <a:pt x="179" y="341"/>
                  </a:lnTo>
                  <a:lnTo>
                    <a:pt x="178" y="361"/>
                  </a:lnTo>
                  <a:lnTo>
                    <a:pt x="179" y="371"/>
                  </a:lnTo>
                  <a:lnTo>
                    <a:pt x="179" y="382"/>
                  </a:lnTo>
                  <a:lnTo>
                    <a:pt x="180" y="392"/>
                  </a:lnTo>
                  <a:lnTo>
                    <a:pt x="182" y="403"/>
                  </a:lnTo>
                  <a:lnTo>
                    <a:pt x="185" y="423"/>
                  </a:lnTo>
                  <a:lnTo>
                    <a:pt x="188" y="433"/>
                  </a:lnTo>
                  <a:lnTo>
                    <a:pt x="191" y="443"/>
                  </a:lnTo>
                  <a:lnTo>
                    <a:pt x="194" y="452"/>
                  </a:lnTo>
                  <a:lnTo>
                    <a:pt x="198" y="462"/>
                  </a:lnTo>
                  <a:lnTo>
                    <a:pt x="202" y="471"/>
                  </a:lnTo>
                  <a:lnTo>
                    <a:pt x="206" y="481"/>
                  </a:lnTo>
                  <a:lnTo>
                    <a:pt x="211" y="490"/>
                  </a:lnTo>
                  <a:lnTo>
                    <a:pt x="216" y="499"/>
                  </a:lnTo>
                  <a:lnTo>
                    <a:pt x="222" y="507"/>
                  </a:lnTo>
                  <a:lnTo>
                    <a:pt x="227" y="516"/>
                  </a:lnTo>
                  <a:lnTo>
                    <a:pt x="233" y="524"/>
                  </a:lnTo>
                  <a:lnTo>
                    <a:pt x="240" y="532"/>
                  </a:lnTo>
                  <a:lnTo>
                    <a:pt x="247" y="541"/>
                  </a:lnTo>
                  <a:lnTo>
                    <a:pt x="255" y="550"/>
                  </a:lnTo>
                  <a:lnTo>
                    <a:pt x="272" y="569"/>
                  </a:lnTo>
                  <a:lnTo>
                    <a:pt x="282" y="579"/>
                  </a:lnTo>
                  <a:lnTo>
                    <a:pt x="292" y="589"/>
                  </a:lnTo>
                  <a:lnTo>
                    <a:pt x="303" y="599"/>
                  </a:lnTo>
                  <a:lnTo>
                    <a:pt x="315" y="610"/>
                  </a:lnTo>
                  <a:lnTo>
                    <a:pt x="340" y="633"/>
                  </a:lnTo>
                  <a:lnTo>
                    <a:pt x="368" y="657"/>
                  </a:lnTo>
                  <a:lnTo>
                    <a:pt x="398" y="682"/>
                  </a:lnTo>
                  <a:lnTo>
                    <a:pt x="499" y="763"/>
                  </a:lnTo>
                  <a:lnTo>
                    <a:pt x="515" y="777"/>
                  </a:lnTo>
                  <a:lnTo>
                    <a:pt x="529" y="790"/>
                  </a:lnTo>
                  <a:lnTo>
                    <a:pt x="543" y="803"/>
                  </a:lnTo>
                  <a:lnTo>
                    <a:pt x="556" y="816"/>
                  </a:lnTo>
                  <a:lnTo>
                    <a:pt x="567" y="829"/>
                  </a:lnTo>
                  <a:lnTo>
                    <a:pt x="573" y="835"/>
                  </a:lnTo>
                  <a:lnTo>
                    <a:pt x="578" y="841"/>
                  </a:lnTo>
                  <a:lnTo>
                    <a:pt x="588" y="854"/>
                  </a:lnTo>
                  <a:lnTo>
                    <a:pt x="596" y="867"/>
                  </a:lnTo>
                  <a:lnTo>
                    <a:pt x="604" y="880"/>
                  </a:lnTo>
                  <a:lnTo>
                    <a:pt x="610" y="893"/>
                  </a:lnTo>
                  <a:lnTo>
                    <a:pt x="613" y="899"/>
                  </a:lnTo>
                  <a:lnTo>
                    <a:pt x="616" y="905"/>
                  </a:lnTo>
                  <a:lnTo>
                    <a:pt x="621" y="918"/>
                  </a:lnTo>
                  <a:lnTo>
                    <a:pt x="624" y="931"/>
                  </a:lnTo>
                  <a:lnTo>
                    <a:pt x="627" y="943"/>
                  </a:lnTo>
                  <a:lnTo>
                    <a:pt x="628" y="956"/>
                  </a:lnTo>
                  <a:lnTo>
                    <a:pt x="629" y="968"/>
                  </a:lnTo>
                  <a:lnTo>
                    <a:pt x="628" y="976"/>
                  </a:lnTo>
                  <a:lnTo>
                    <a:pt x="628" y="985"/>
                  </a:lnTo>
                  <a:lnTo>
                    <a:pt x="627" y="993"/>
                  </a:lnTo>
                  <a:lnTo>
                    <a:pt x="626" y="1000"/>
                  </a:lnTo>
                  <a:lnTo>
                    <a:pt x="624" y="1008"/>
                  </a:lnTo>
                  <a:lnTo>
                    <a:pt x="623" y="1012"/>
                  </a:lnTo>
                  <a:lnTo>
                    <a:pt x="622" y="1015"/>
                  </a:lnTo>
                  <a:lnTo>
                    <a:pt x="619" y="1022"/>
                  </a:lnTo>
                  <a:lnTo>
                    <a:pt x="616" y="1029"/>
                  </a:lnTo>
                  <a:lnTo>
                    <a:pt x="613" y="1036"/>
                  </a:lnTo>
                  <a:lnTo>
                    <a:pt x="609" y="1043"/>
                  </a:lnTo>
                  <a:lnTo>
                    <a:pt x="605" y="1049"/>
                  </a:lnTo>
                  <a:lnTo>
                    <a:pt x="601" y="1055"/>
                  </a:lnTo>
                  <a:lnTo>
                    <a:pt x="596" y="1061"/>
                  </a:lnTo>
                  <a:lnTo>
                    <a:pt x="590" y="1067"/>
                  </a:lnTo>
                  <a:lnTo>
                    <a:pt x="578" y="1078"/>
                  </a:lnTo>
                  <a:lnTo>
                    <a:pt x="572" y="1084"/>
                  </a:lnTo>
                  <a:lnTo>
                    <a:pt x="565" y="1089"/>
                  </a:lnTo>
                  <a:lnTo>
                    <a:pt x="550" y="1098"/>
                  </a:lnTo>
                  <a:lnTo>
                    <a:pt x="542" y="1103"/>
                  </a:lnTo>
                  <a:lnTo>
                    <a:pt x="534" y="1106"/>
                  </a:lnTo>
                  <a:lnTo>
                    <a:pt x="525" y="1110"/>
                  </a:lnTo>
                  <a:lnTo>
                    <a:pt x="517" y="1113"/>
                  </a:lnTo>
                  <a:lnTo>
                    <a:pt x="508" y="1115"/>
                  </a:lnTo>
                  <a:lnTo>
                    <a:pt x="499" y="1118"/>
                  </a:lnTo>
                  <a:lnTo>
                    <a:pt x="489" y="1120"/>
                  </a:lnTo>
                  <a:lnTo>
                    <a:pt x="480" y="1121"/>
                  </a:lnTo>
                  <a:lnTo>
                    <a:pt x="470" y="1122"/>
                  </a:lnTo>
                  <a:lnTo>
                    <a:pt x="459" y="1123"/>
                  </a:lnTo>
                  <a:lnTo>
                    <a:pt x="449" y="1124"/>
                  </a:lnTo>
                  <a:lnTo>
                    <a:pt x="438" y="1124"/>
                  </a:lnTo>
                  <a:lnTo>
                    <a:pt x="426" y="1123"/>
                  </a:lnTo>
                  <a:lnTo>
                    <a:pt x="414" y="1122"/>
                  </a:lnTo>
                  <a:lnTo>
                    <a:pt x="402" y="1120"/>
                  </a:lnTo>
                  <a:lnTo>
                    <a:pt x="391" y="1118"/>
                  </a:lnTo>
                  <a:lnTo>
                    <a:pt x="381" y="1115"/>
                  </a:lnTo>
                  <a:lnTo>
                    <a:pt x="371" y="1112"/>
                  </a:lnTo>
                  <a:lnTo>
                    <a:pt x="361" y="1109"/>
                  </a:lnTo>
                  <a:lnTo>
                    <a:pt x="352" y="1104"/>
                  </a:lnTo>
                  <a:lnTo>
                    <a:pt x="344" y="1100"/>
                  </a:lnTo>
                  <a:lnTo>
                    <a:pt x="336" y="1095"/>
                  </a:lnTo>
                  <a:lnTo>
                    <a:pt x="328" y="1090"/>
                  </a:lnTo>
                  <a:lnTo>
                    <a:pt x="321" y="1085"/>
                  </a:lnTo>
                  <a:lnTo>
                    <a:pt x="314" y="1079"/>
                  </a:lnTo>
                  <a:lnTo>
                    <a:pt x="308" y="1073"/>
                  </a:lnTo>
                  <a:lnTo>
                    <a:pt x="301" y="1067"/>
                  </a:lnTo>
                  <a:lnTo>
                    <a:pt x="296" y="1061"/>
                  </a:lnTo>
                  <a:lnTo>
                    <a:pt x="285" y="1048"/>
                  </a:lnTo>
                  <a:lnTo>
                    <a:pt x="275" y="1034"/>
                  </a:lnTo>
                  <a:lnTo>
                    <a:pt x="267" y="1021"/>
                  </a:lnTo>
                  <a:lnTo>
                    <a:pt x="259" y="1007"/>
                  </a:lnTo>
                  <a:lnTo>
                    <a:pt x="253" y="994"/>
                  </a:lnTo>
                  <a:lnTo>
                    <a:pt x="247" y="981"/>
                  </a:lnTo>
                  <a:lnTo>
                    <a:pt x="236" y="958"/>
                  </a:lnTo>
                  <a:lnTo>
                    <a:pt x="232" y="950"/>
                  </a:lnTo>
                  <a:lnTo>
                    <a:pt x="228" y="943"/>
                  </a:lnTo>
                  <a:lnTo>
                    <a:pt x="223" y="936"/>
                  </a:lnTo>
                  <a:lnTo>
                    <a:pt x="219" y="929"/>
                  </a:lnTo>
                  <a:lnTo>
                    <a:pt x="213" y="923"/>
                  </a:lnTo>
                  <a:lnTo>
                    <a:pt x="211" y="921"/>
                  </a:lnTo>
                  <a:lnTo>
                    <a:pt x="208" y="918"/>
                  </a:lnTo>
                  <a:lnTo>
                    <a:pt x="202" y="913"/>
                  </a:lnTo>
                  <a:lnTo>
                    <a:pt x="197" y="909"/>
                  </a:lnTo>
                  <a:lnTo>
                    <a:pt x="190" y="905"/>
                  </a:lnTo>
                  <a:lnTo>
                    <a:pt x="184" y="901"/>
                  </a:lnTo>
                  <a:lnTo>
                    <a:pt x="178" y="898"/>
                  </a:lnTo>
                  <a:lnTo>
                    <a:pt x="171" y="896"/>
                  </a:lnTo>
                  <a:lnTo>
                    <a:pt x="164" y="893"/>
                  </a:lnTo>
                  <a:lnTo>
                    <a:pt x="158" y="891"/>
                  </a:lnTo>
                  <a:lnTo>
                    <a:pt x="151" y="890"/>
                  </a:lnTo>
                  <a:lnTo>
                    <a:pt x="143" y="889"/>
                  </a:lnTo>
                  <a:lnTo>
                    <a:pt x="131" y="888"/>
                  </a:lnTo>
                  <a:lnTo>
                    <a:pt x="124" y="888"/>
                  </a:lnTo>
                  <a:lnTo>
                    <a:pt x="118" y="889"/>
                  </a:lnTo>
                  <a:lnTo>
                    <a:pt x="111" y="890"/>
                  </a:lnTo>
                  <a:lnTo>
                    <a:pt x="104" y="891"/>
                  </a:lnTo>
                  <a:lnTo>
                    <a:pt x="97" y="893"/>
                  </a:lnTo>
                  <a:lnTo>
                    <a:pt x="90" y="896"/>
                  </a:lnTo>
                  <a:lnTo>
                    <a:pt x="83" y="898"/>
                  </a:lnTo>
                  <a:lnTo>
                    <a:pt x="76" y="902"/>
                  </a:lnTo>
                  <a:lnTo>
                    <a:pt x="69" y="905"/>
                  </a:lnTo>
                  <a:lnTo>
                    <a:pt x="62" y="909"/>
                  </a:lnTo>
                  <a:lnTo>
                    <a:pt x="55" y="914"/>
                  </a:lnTo>
                  <a:lnTo>
                    <a:pt x="49" y="918"/>
                  </a:lnTo>
                  <a:lnTo>
                    <a:pt x="42" y="924"/>
                  </a:lnTo>
                  <a:lnTo>
                    <a:pt x="37" y="929"/>
                  </a:lnTo>
                  <a:lnTo>
                    <a:pt x="31" y="935"/>
                  </a:lnTo>
                  <a:lnTo>
                    <a:pt x="26" y="941"/>
                  </a:lnTo>
                  <a:lnTo>
                    <a:pt x="21" y="948"/>
                  </a:lnTo>
                  <a:lnTo>
                    <a:pt x="16" y="955"/>
                  </a:lnTo>
                  <a:lnTo>
                    <a:pt x="12" y="962"/>
                  </a:lnTo>
                  <a:lnTo>
                    <a:pt x="9" y="970"/>
                  </a:lnTo>
                  <a:lnTo>
                    <a:pt x="6" y="978"/>
                  </a:lnTo>
                  <a:lnTo>
                    <a:pt x="3" y="987"/>
                  </a:lnTo>
                  <a:lnTo>
                    <a:pt x="2" y="995"/>
                  </a:lnTo>
                  <a:lnTo>
                    <a:pt x="1" y="1004"/>
                  </a:lnTo>
                  <a:lnTo>
                    <a:pt x="0" y="1014"/>
                  </a:lnTo>
                  <a:lnTo>
                    <a:pt x="0" y="1024"/>
                  </a:lnTo>
                  <a:lnTo>
                    <a:pt x="1" y="1034"/>
                  </a:lnTo>
                  <a:lnTo>
                    <a:pt x="3" y="1044"/>
                  </a:lnTo>
                  <a:lnTo>
                    <a:pt x="6" y="1055"/>
                  </a:lnTo>
                  <a:lnTo>
                    <a:pt x="10" y="1066"/>
                  </a:lnTo>
                  <a:lnTo>
                    <a:pt x="14" y="1077"/>
                  </a:lnTo>
                  <a:lnTo>
                    <a:pt x="19" y="1088"/>
                  </a:lnTo>
                  <a:lnTo>
                    <a:pt x="24" y="1098"/>
                  </a:lnTo>
                  <a:lnTo>
                    <a:pt x="29" y="1109"/>
                  </a:lnTo>
                  <a:lnTo>
                    <a:pt x="35" y="1119"/>
                  </a:lnTo>
                  <a:lnTo>
                    <a:pt x="42" y="1129"/>
                  </a:lnTo>
                  <a:lnTo>
                    <a:pt x="49" y="1139"/>
                  </a:lnTo>
                  <a:lnTo>
                    <a:pt x="56" y="1148"/>
                  </a:lnTo>
                  <a:lnTo>
                    <a:pt x="64" y="1158"/>
                  </a:lnTo>
                  <a:lnTo>
                    <a:pt x="72" y="1167"/>
                  </a:lnTo>
                  <a:lnTo>
                    <a:pt x="81" y="1175"/>
                  </a:lnTo>
                  <a:lnTo>
                    <a:pt x="90" y="1184"/>
                  </a:lnTo>
                  <a:lnTo>
                    <a:pt x="99" y="1192"/>
                  </a:lnTo>
                  <a:lnTo>
                    <a:pt x="109" y="1200"/>
                  </a:lnTo>
                  <a:lnTo>
                    <a:pt x="130" y="1215"/>
                  </a:lnTo>
                  <a:lnTo>
                    <a:pt x="141" y="1221"/>
                  </a:lnTo>
                  <a:lnTo>
                    <a:pt x="152" y="1228"/>
                  </a:lnTo>
                  <a:lnTo>
                    <a:pt x="164" y="1234"/>
                  </a:lnTo>
                  <a:lnTo>
                    <a:pt x="176" y="1240"/>
                  </a:lnTo>
                  <a:lnTo>
                    <a:pt x="189" y="1245"/>
                  </a:lnTo>
                  <a:lnTo>
                    <a:pt x="202" y="1250"/>
                  </a:lnTo>
                  <a:lnTo>
                    <a:pt x="215" y="1254"/>
                  </a:lnTo>
                  <a:lnTo>
                    <a:pt x="229" y="1258"/>
                  </a:lnTo>
                  <a:lnTo>
                    <a:pt x="243" y="1262"/>
                  </a:lnTo>
                  <a:lnTo>
                    <a:pt x="257" y="1265"/>
                  </a:lnTo>
                  <a:lnTo>
                    <a:pt x="271" y="1268"/>
                  </a:lnTo>
                  <a:lnTo>
                    <a:pt x="286" y="1270"/>
                  </a:lnTo>
                  <a:lnTo>
                    <a:pt x="302" y="1272"/>
                  </a:lnTo>
                  <a:lnTo>
                    <a:pt x="317" y="1273"/>
                  </a:lnTo>
                  <a:lnTo>
                    <a:pt x="333" y="1274"/>
                  </a:lnTo>
                  <a:lnTo>
                    <a:pt x="350" y="1274"/>
                  </a:lnTo>
                  <a:lnTo>
                    <a:pt x="375" y="1274"/>
                  </a:lnTo>
                  <a:lnTo>
                    <a:pt x="400" y="1273"/>
                  </a:lnTo>
                  <a:lnTo>
                    <a:pt x="412" y="1272"/>
                  </a:lnTo>
                  <a:lnTo>
                    <a:pt x="424" y="1270"/>
                  </a:lnTo>
                  <a:lnTo>
                    <a:pt x="448" y="1267"/>
                  </a:lnTo>
                  <a:lnTo>
                    <a:pt x="472" y="1264"/>
                  </a:lnTo>
                  <a:lnTo>
                    <a:pt x="495" y="1259"/>
                  </a:lnTo>
                  <a:lnTo>
                    <a:pt x="517" y="1253"/>
                  </a:lnTo>
                  <a:lnTo>
                    <a:pt x="539" y="1247"/>
                  </a:lnTo>
                  <a:lnTo>
                    <a:pt x="561" y="1239"/>
                  </a:lnTo>
                  <a:lnTo>
                    <a:pt x="581" y="1231"/>
                  </a:lnTo>
                  <a:lnTo>
                    <a:pt x="602" y="1222"/>
                  </a:lnTo>
                  <a:lnTo>
                    <a:pt x="622" y="1212"/>
                  </a:lnTo>
                  <a:lnTo>
                    <a:pt x="641" y="1202"/>
                  </a:lnTo>
                  <a:lnTo>
                    <a:pt x="660" y="1190"/>
                  </a:lnTo>
                  <a:lnTo>
                    <a:pt x="678" y="1178"/>
                  </a:lnTo>
                  <a:lnTo>
                    <a:pt x="695" y="1164"/>
                  </a:lnTo>
                  <a:lnTo>
                    <a:pt x="713" y="1150"/>
                  </a:lnTo>
                  <a:lnTo>
                    <a:pt x="721" y="1143"/>
                  </a:lnTo>
                  <a:lnTo>
                    <a:pt x="730" y="1135"/>
                  </a:lnTo>
                  <a:lnTo>
                    <a:pt x="745" y="1120"/>
                  </a:lnTo>
                  <a:lnTo>
                    <a:pt x="759" y="1104"/>
                  </a:lnTo>
                  <a:lnTo>
                    <a:pt x="772" y="1087"/>
                  </a:lnTo>
                  <a:lnTo>
                    <a:pt x="778" y="1079"/>
                  </a:lnTo>
                  <a:lnTo>
                    <a:pt x="784" y="1071"/>
                  </a:lnTo>
                  <a:lnTo>
                    <a:pt x="795" y="1053"/>
                  </a:lnTo>
                  <a:lnTo>
                    <a:pt x="800" y="1045"/>
                  </a:lnTo>
                  <a:lnTo>
                    <a:pt x="805" y="1036"/>
                  </a:lnTo>
                  <a:lnTo>
                    <a:pt x="813" y="1017"/>
                  </a:lnTo>
                  <a:lnTo>
                    <a:pt x="817" y="1008"/>
                  </a:lnTo>
                  <a:lnTo>
                    <a:pt x="820" y="999"/>
                  </a:lnTo>
                  <a:lnTo>
                    <a:pt x="827" y="980"/>
                  </a:lnTo>
                  <a:lnTo>
                    <a:pt x="829" y="970"/>
                  </a:lnTo>
                  <a:lnTo>
                    <a:pt x="832" y="960"/>
                  </a:lnTo>
                  <a:lnTo>
                    <a:pt x="836" y="940"/>
                  </a:lnTo>
                  <a:lnTo>
                    <a:pt x="837" y="930"/>
                  </a:lnTo>
                  <a:lnTo>
                    <a:pt x="839" y="920"/>
                  </a:lnTo>
                  <a:lnTo>
                    <a:pt x="840" y="899"/>
                  </a:lnTo>
                  <a:lnTo>
                    <a:pt x="841" y="888"/>
                  </a:lnTo>
                  <a:lnTo>
                    <a:pt x="841" y="878"/>
                  </a:lnTo>
                  <a:lnTo>
                    <a:pt x="840" y="858"/>
                  </a:lnTo>
                  <a:lnTo>
                    <a:pt x="839" y="848"/>
                  </a:lnTo>
                  <a:lnTo>
                    <a:pt x="838" y="839"/>
                  </a:lnTo>
                  <a:lnTo>
                    <a:pt x="835" y="819"/>
                  </a:lnTo>
                  <a:lnTo>
                    <a:pt x="833" y="810"/>
                  </a:lnTo>
                  <a:lnTo>
                    <a:pt x="830" y="800"/>
                  </a:lnTo>
                  <a:lnTo>
                    <a:pt x="827" y="790"/>
                  </a:lnTo>
                  <a:lnTo>
                    <a:pt x="824" y="781"/>
                  </a:lnTo>
                  <a:lnTo>
                    <a:pt x="817" y="762"/>
                  </a:lnTo>
                  <a:lnTo>
                    <a:pt x="813" y="753"/>
                  </a:lnTo>
                  <a:lnTo>
                    <a:pt x="808" y="743"/>
                  </a:lnTo>
                  <a:lnTo>
                    <a:pt x="803" y="734"/>
                  </a:lnTo>
                  <a:lnTo>
                    <a:pt x="798" y="725"/>
                  </a:lnTo>
                  <a:lnTo>
                    <a:pt x="787" y="706"/>
                  </a:lnTo>
                  <a:lnTo>
                    <a:pt x="781" y="697"/>
                  </a:lnTo>
                  <a:lnTo>
                    <a:pt x="774" y="688"/>
                  </a:lnTo>
                  <a:lnTo>
                    <a:pt x="767" y="679"/>
                  </a:lnTo>
                  <a:lnTo>
                    <a:pt x="760" y="670"/>
                  </a:lnTo>
                  <a:lnTo>
                    <a:pt x="745" y="652"/>
                  </a:lnTo>
                  <a:lnTo>
                    <a:pt x="737" y="643"/>
                  </a:lnTo>
                  <a:lnTo>
                    <a:pt x="728" y="634"/>
                  </a:lnTo>
                  <a:lnTo>
                    <a:pt x="709" y="616"/>
                  </a:lnTo>
                  <a:lnTo>
                    <a:pt x="700" y="608"/>
                  </a:lnTo>
                  <a:lnTo>
                    <a:pt x="690" y="599"/>
                  </a:lnTo>
                  <a:lnTo>
                    <a:pt x="670" y="582"/>
                  </a:lnTo>
                  <a:lnTo>
                    <a:pt x="589" y="515"/>
                  </a:lnTo>
                  <a:lnTo>
                    <a:pt x="528" y="464"/>
                  </a:lnTo>
                  <a:lnTo>
                    <a:pt x="501" y="442"/>
                  </a:lnTo>
                  <a:lnTo>
                    <a:pt x="478" y="421"/>
                  </a:lnTo>
                  <a:lnTo>
                    <a:pt x="458" y="402"/>
                  </a:lnTo>
                  <a:lnTo>
                    <a:pt x="440" y="384"/>
                  </a:lnTo>
                  <a:lnTo>
                    <a:pt x="425" y="369"/>
                  </a:lnTo>
                  <a:lnTo>
                    <a:pt x="419" y="362"/>
                  </a:lnTo>
                  <a:lnTo>
                    <a:pt x="414" y="356"/>
                  </a:lnTo>
                  <a:lnTo>
                    <a:pt x="406" y="345"/>
                  </a:lnTo>
                  <a:lnTo>
                    <a:pt x="399" y="335"/>
                  </a:lnTo>
                  <a:lnTo>
                    <a:pt x="396" y="330"/>
                  </a:lnTo>
                  <a:lnTo>
                    <a:pt x="394" y="324"/>
                  </a:lnTo>
                  <a:lnTo>
                    <a:pt x="389" y="314"/>
                  </a:lnTo>
                  <a:lnTo>
                    <a:pt x="386" y="303"/>
                  </a:lnTo>
                  <a:lnTo>
                    <a:pt x="383" y="293"/>
                  </a:lnTo>
                  <a:lnTo>
                    <a:pt x="381" y="282"/>
                  </a:lnTo>
                  <a:lnTo>
                    <a:pt x="380" y="272"/>
                  </a:lnTo>
                  <a:lnTo>
                    <a:pt x="380" y="264"/>
                  </a:lnTo>
                  <a:lnTo>
                    <a:pt x="380" y="257"/>
                  </a:lnTo>
                  <a:lnTo>
                    <a:pt x="382" y="249"/>
                  </a:lnTo>
                  <a:lnTo>
                    <a:pt x="384" y="241"/>
                  </a:lnTo>
                  <a:lnTo>
                    <a:pt x="386" y="233"/>
                  </a:lnTo>
                  <a:lnTo>
                    <a:pt x="390" y="225"/>
                  </a:lnTo>
                  <a:lnTo>
                    <a:pt x="394" y="217"/>
                  </a:lnTo>
                  <a:lnTo>
                    <a:pt x="398" y="210"/>
                  </a:lnTo>
                  <a:lnTo>
                    <a:pt x="404" y="202"/>
                  </a:lnTo>
                  <a:lnTo>
                    <a:pt x="407" y="198"/>
                  </a:lnTo>
                  <a:lnTo>
                    <a:pt x="410" y="195"/>
                  </a:lnTo>
                  <a:lnTo>
                    <a:pt x="416" y="188"/>
                  </a:lnTo>
                  <a:lnTo>
                    <a:pt x="423" y="181"/>
                  </a:lnTo>
                  <a:lnTo>
                    <a:pt x="431" y="174"/>
                  </a:lnTo>
                  <a:lnTo>
                    <a:pt x="439" y="168"/>
                  </a:lnTo>
                  <a:lnTo>
                    <a:pt x="447" y="163"/>
                  </a:lnTo>
                  <a:lnTo>
                    <a:pt x="456" y="157"/>
                  </a:lnTo>
                  <a:lnTo>
                    <a:pt x="466" y="152"/>
                  </a:lnTo>
                  <a:lnTo>
                    <a:pt x="476" y="148"/>
                  </a:lnTo>
                  <a:lnTo>
                    <a:pt x="486" y="145"/>
                  </a:lnTo>
                  <a:lnTo>
                    <a:pt x="497" y="142"/>
                  </a:lnTo>
                  <a:lnTo>
                    <a:pt x="509" y="140"/>
                  </a:lnTo>
                  <a:lnTo>
                    <a:pt x="514" y="139"/>
                  </a:lnTo>
                  <a:lnTo>
                    <a:pt x="520" y="139"/>
                  </a:lnTo>
                  <a:lnTo>
                    <a:pt x="532" y="139"/>
                  </a:lnTo>
                  <a:lnTo>
                    <a:pt x="545" y="139"/>
                  </a:lnTo>
                  <a:lnTo>
                    <a:pt x="557" y="141"/>
                  </a:lnTo>
                  <a:lnTo>
                    <a:pt x="570" y="143"/>
                  </a:lnTo>
                  <a:lnTo>
                    <a:pt x="584" y="147"/>
                  </a:lnTo>
                  <a:lnTo>
                    <a:pt x="590" y="149"/>
                  </a:lnTo>
                  <a:lnTo>
                    <a:pt x="597" y="152"/>
                  </a:lnTo>
                  <a:lnTo>
                    <a:pt x="611" y="157"/>
                  </a:lnTo>
                  <a:lnTo>
                    <a:pt x="625" y="165"/>
                  </a:lnTo>
                  <a:lnTo>
                    <a:pt x="639" y="174"/>
                  </a:lnTo>
                  <a:lnTo>
                    <a:pt x="654" y="1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400" b="1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7799608A-87FA-4D3F-8FEB-DE365C567A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5554" y="2513316"/>
              <a:ext cx="1136894" cy="255853"/>
            </a:xfrm>
            <a:custGeom>
              <a:avLst/>
              <a:gdLst>
                <a:gd name="T0" fmla="*/ 355 w 2718"/>
                <a:gd name="T1" fmla="*/ 506 h 611"/>
                <a:gd name="T2" fmla="*/ 571 w 2718"/>
                <a:gd name="T3" fmla="*/ 436 h 611"/>
                <a:gd name="T4" fmla="*/ 776 w 2718"/>
                <a:gd name="T5" fmla="*/ 379 h 611"/>
                <a:gd name="T6" fmla="*/ 972 w 2718"/>
                <a:gd name="T7" fmla="*/ 334 h 611"/>
                <a:gd name="T8" fmla="*/ 1141 w 2718"/>
                <a:gd name="T9" fmla="*/ 303 h 611"/>
                <a:gd name="T10" fmla="*/ 1335 w 2718"/>
                <a:gd name="T11" fmla="*/ 278 h 611"/>
                <a:gd name="T12" fmla="*/ 1516 w 2718"/>
                <a:gd name="T13" fmla="*/ 265 h 611"/>
                <a:gd name="T14" fmla="*/ 1718 w 2718"/>
                <a:gd name="T15" fmla="*/ 262 h 611"/>
                <a:gd name="T16" fmla="*/ 1875 w 2718"/>
                <a:gd name="T17" fmla="*/ 270 h 611"/>
                <a:gd name="T18" fmla="*/ 2020 w 2718"/>
                <a:gd name="T19" fmla="*/ 286 h 611"/>
                <a:gd name="T20" fmla="*/ 2153 w 2718"/>
                <a:gd name="T21" fmla="*/ 309 h 611"/>
                <a:gd name="T22" fmla="*/ 2298 w 2718"/>
                <a:gd name="T23" fmla="*/ 345 h 611"/>
                <a:gd name="T24" fmla="*/ 2427 w 2718"/>
                <a:gd name="T25" fmla="*/ 387 h 611"/>
                <a:gd name="T26" fmla="*/ 2540 w 2718"/>
                <a:gd name="T27" fmla="*/ 433 h 611"/>
                <a:gd name="T28" fmla="*/ 2666 w 2718"/>
                <a:gd name="T29" fmla="*/ 500 h 611"/>
                <a:gd name="T30" fmla="*/ 2718 w 2718"/>
                <a:gd name="T31" fmla="*/ 526 h 611"/>
                <a:gd name="T32" fmla="*/ 2713 w 2718"/>
                <a:gd name="T33" fmla="*/ 509 h 611"/>
                <a:gd name="T34" fmla="*/ 2693 w 2718"/>
                <a:gd name="T35" fmla="*/ 478 h 611"/>
                <a:gd name="T36" fmla="*/ 2658 w 2718"/>
                <a:gd name="T37" fmla="*/ 440 h 611"/>
                <a:gd name="T38" fmla="*/ 2589 w 2718"/>
                <a:gd name="T39" fmla="*/ 383 h 611"/>
                <a:gd name="T40" fmla="*/ 2496 w 2718"/>
                <a:gd name="T41" fmla="*/ 323 h 611"/>
                <a:gd name="T42" fmla="*/ 2380 w 2718"/>
                <a:gd name="T43" fmla="*/ 262 h 611"/>
                <a:gd name="T44" fmla="*/ 2242 w 2718"/>
                <a:gd name="T45" fmla="*/ 204 h 611"/>
                <a:gd name="T46" fmla="*/ 2083 w 2718"/>
                <a:gd name="T47" fmla="*/ 153 h 611"/>
                <a:gd name="T48" fmla="*/ 1917 w 2718"/>
                <a:gd name="T49" fmla="*/ 115 h 611"/>
                <a:gd name="T50" fmla="*/ 1784 w 2718"/>
                <a:gd name="T51" fmla="*/ 97 h 611"/>
                <a:gd name="T52" fmla="*/ 1648 w 2718"/>
                <a:gd name="T53" fmla="*/ 87 h 611"/>
                <a:gd name="T54" fmla="*/ 1478 w 2718"/>
                <a:gd name="T55" fmla="*/ 87 h 611"/>
                <a:gd name="T56" fmla="*/ 1343 w 2718"/>
                <a:gd name="T57" fmla="*/ 96 h 611"/>
                <a:gd name="T58" fmla="*/ 1177 w 2718"/>
                <a:gd name="T59" fmla="*/ 114 h 611"/>
                <a:gd name="T60" fmla="*/ 1047 w 2718"/>
                <a:gd name="T61" fmla="*/ 135 h 611"/>
                <a:gd name="T62" fmla="*/ 893 w 2718"/>
                <a:gd name="T63" fmla="*/ 165 h 611"/>
                <a:gd name="T64" fmla="*/ 667 w 2718"/>
                <a:gd name="T65" fmla="*/ 220 h 611"/>
                <a:gd name="T66" fmla="*/ 477 w 2718"/>
                <a:gd name="T67" fmla="*/ 277 h 611"/>
                <a:gd name="T68" fmla="*/ 278 w 2718"/>
                <a:gd name="T69" fmla="*/ 345 h 611"/>
                <a:gd name="T70" fmla="*/ 252 w 2718"/>
                <a:gd name="T71" fmla="*/ 269 h 611"/>
                <a:gd name="T72" fmla="*/ 265 w 2718"/>
                <a:gd name="T73" fmla="*/ 153 h 611"/>
                <a:gd name="T74" fmla="*/ 263 w 2718"/>
                <a:gd name="T75" fmla="*/ 99 h 611"/>
                <a:gd name="T76" fmla="*/ 254 w 2718"/>
                <a:gd name="T77" fmla="*/ 62 h 611"/>
                <a:gd name="T78" fmla="*/ 237 w 2718"/>
                <a:gd name="T79" fmla="*/ 30 h 611"/>
                <a:gd name="T80" fmla="*/ 217 w 2718"/>
                <a:gd name="T81" fmla="*/ 12 h 611"/>
                <a:gd name="T82" fmla="*/ 192 w 2718"/>
                <a:gd name="T83" fmla="*/ 3 h 611"/>
                <a:gd name="T84" fmla="*/ 163 w 2718"/>
                <a:gd name="T85" fmla="*/ 1 h 611"/>
                <a:gd name="T86" fmla="*/ 132 w 2718"/>
                <a:gd name="T87" fmla="*/ 6 h 611"/>
                <a:gd name="T88" fmla="*/ 103 w 2718"/>
                <a:gd name="T89" fmla="*/ 20 h 611"/>
                <a:gd name="T90" fmla="*/ 76 w 2718"/>
                <a:gd name="T91" fmla="*/ 44 h 611"/>
                <a:gd name="T92" fmla="*/ 56 w 2718"/>
                <a:gd name="T93" fmla="*/ 79 h 611"/>
                <a:gd name="T94" fmla="*/ 43 w 2718"/>
                <a:gd name="T95" fmla="*/ 126 h 611"/>
                <a:gd name="T96" fmla="*/ 26 w 2718"/>
                <a:gd name="T97" fmla="*/ 308 h 611"/>
                <a:gd name="T98" fmla="*/ 0 w 2718"/>
                <a:gd name="T99" fmla="*/ 527 h 611"/>
                <a:gd name="T100" fmla="*/ 3 w 2718"/>
                <a:gd name="T101" fmla="*/ 570 h 611"/>
                <a:gd name="T102" fmla="*/ 14 w 2718"/>
                <a:gd name="T103" fmla="*/ 596 h 611"/>
                <a:gd name="T104" fmla="*/ 34 w 2718"/>
                <a:gd name="T105" fmla="*/ 609 h 611"/>
                <a:gd name="T106" fmla="*/ 61 w 2718"/>
                <a:gd name="T107" fmla="*/ 610 h 611"/>
                <a:gd name="T108" fmla="*/ 110 w 2718"/>
                <a:gd name="T109" fmla="*/ 598 h 611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718"/>
                <a:gd name="T166" fmla="*/ 0 h 611"/>
                <a:gd name="T167" fmla="*/ 2718 w 2718"/>
                <a:gd name="T168" fmla="*/ 611 h 611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718" h="611">
                  <a:moveTo>
                    <a:pt x="187" y="568"/>
                  </a:moveTo>
                  <a:lnTo>
                    <a:pt x="244" y="546"/>
                  </a:lnTo>
                  <a:lnTo>
                    <a:pt x="300" y="526"/>
                  </a:lnTo>
                  <a:lnTo>
                    <a:pt x="355" y="506"/>
                  </a:lnTo>
                  <a:lnTo>
                    <a:pt x="410" y="487"/>
                  </a:lnTo>
                  <a:lnTo>
                    <a:pt x="464" y="469"/>
                  </a:lnTo>
                  <a:lnTo>
                    <a:pt x="518" y="452"/>
                  </a:lnTo>
                  <a:lnTo>
                    <a:pt x="571" y="436"/>
                  </a:lnTo>
                  <a:lnTo>
                    <a:pt x="623" y="420"/>
                  </a:lnTo>
                  <a:lnTo>
                    <a:pt x="675" y="406"/>
                  </a:lnTo>
                  <a:lnTo>
                    <a:pt x="726" y="392"/>
                  </a:lnTo>
                  <a:lnTo>
                    <a:pt x="776" y="379"/>
                  </a:lnTo>
                  <a:lnTo>
                    <a:pt x="826" y="366"/>
                  </a:lnTo>
                  <a:lnTo>
                    <a:pt x="876" y="355"/>
                  </a:lnTo>
                  <a:lnTo>
                    <a:pt x="924" y="344"/>
                  </a:lnTo>
                  <a:lnTo>
                    <a:pt x="972" y="334"/>
                  </a:lnTo>
                  <a:lnTo>
                    <a:pt x="1020" y="325"/>
                  </a:lnTo>
                  <a:lnTo>
                    <a:pt x="1061" y="317"/>
                  </a:lnTo>
                  <a:lnTo>
                    <a:pt x="1101" y="310"/>
                  </a:lnTo>
                  <a:lnTo>
                    <a:pt x="1141" y="303"/>
                  </a:lnTo>
                  <a:lnTo>
                    <a:pt x="1181" y="297"/>
                  </a:lnTo>
                  <a:lnTo>
                    <a:pt x="1259" y="287"/>
                  </a:lnTo>
                  <a:lnTo>
                    <a:pt x="1297" y="282"/>
                  </a:lnTo>
                  <a:lnTo>
                    <a:pt x="1335" y="278"/>
                  </a:lnTo>
                  <a:lnTo>
                    <a:pt x="1409" y="271"/>
                  </a:lnTo>
                  <a:lnTo>
                    <a:pt x="1445" y="269"/>
                  </a:lnTo>
                  <a:lnTo>
                    <a:pt x="1481" y="266"/>
                  </a:lnTo>
                  <a:lnTo>
                    <a:pt x="1516" y="265"/>
                  </a:lnTo>
                  <a:lnTo>
                    <a:pt x="1551" y="263"/>
                  </a:lnTo>
                  <a:lnTo>
                    <a:pt x="1619" y="262"/>
                  </a:lnTo>
                  <a:lnTo>
                    <a:pt x="1686" y="261"/>
                  </a:lnTo>
                  <a:lnTo>
                    <a:pt x="1718" y="262"/>
                  </a:lnTo>
                  <a:lnTo>
                    <a:pt x="1751" y="263"/>
                  </a:lnTo>
                  <a:lnTo>
                    <a:pt x="1814" y="266"/>
                  </a:lnTo>
                  <a:lnTo>
                    <a:pt x="1844" y="268"/>
                  </a:lnTo>
                  <a:lnTo>
                    <a:pt x="1875" y="270"/>
                  </a:lnTo>
                  <a:lnTo>
                    <a:pt x="1934" y="276"/>
                  </a:lnTo>
                  <a:lnTo>
                    <a:pt x="1963" y="279"/>
                  </a:lnTo>
                  <a:lnTo>
                    <a:pt x="1992" y="282"/>
                  </a:lnTo>
                  <a:lnTo>
                    <a:pt x="2020" y="286"/>
                  </a:lnTo>
                  <a:lnTo>
                    <a:pt x="2047" y="290"/>
                  </a:lnTo>
                  <a:lnTo>
                    <a:pt x="2074" y="295"/>
                  </a:lnTo>
                  <a:lnTo>
                    <a:pt x="2101" y="299"/>
                  </a:lnTo>
                  <a:lnTo>
                    <a:pt x="2153" y="309"/>
                  </a:lnTo>
                  <a:lnTo>
                    <a:pt x="2203" y="320"/>
                  </a:lnTo>
                  <a:lnTo>
                    <a:pt x="2252" y="332"/>
                  </a:lnTo>
                  <a:lnTo>
                    <a:pt x="2275" y="338"/>
                  </a:lnTo>
                  <a:lnTo>
                    <a:pt x="2298" y="345"/>
                  </a:lnTo>
                  <a:lnTo>
                    <a:pt x="2343" y="358"/>
                  </a:lnTo>
                  <a:lnTo>
                    <a:pt x="2365" y="365"/>
                  </a:lnTo>
                  <a:lnTo>
                    <a:pt x="2386" y="372"/>
                  </a:lnTo>
                  <a:lnTo>
                    <a:pt x="2427" y="387"/>
                  </a:lnTo>
                  <a:lnTo>
                    <a:pt x="2467" y="402"/>
                  </a:lnTo>
                  <a:lnTo>
                    <a:pt x="2504" y="417"/>
                  </a:lnTo>
                  <a:lnTo>
                    <a:pt x="2522" y="425"/>
                  </a:lnTo>
                  <a:lnTo>
                    <a:pt x="2540" y="433"/>
                  </a:lnTo>
                  <a:lnTo>
                    <a:pt x="2574" y="450"/>
                  </a:lnTo>
                  <a:lnTo>
                    <a:pt x="2606" y="466"/>
                  </a:lnTo>
                  <a:lnTo>
                    <a:pt x="2638" y="483"/>
                  </a:lnTo>
                  <a:lnTo>
                    <a:pt x="2666" y="500"/>
                  </a:lnTo>
                  <a:lnTo>
                    <a:pt x="2680" y="508"/>
                  </a:lnTo>
                  <a:lnTo>
                    <a:pt x="2693" y="517"/>
                  </a:lnTo>
                  <a:lnTo>
                    <a:pt x="2718" y="534"/>
                  </a:lnTo>
                  <a:lnTo>
                    <a:pt x="2718" y="526"/>
                  </a:lnTo>
                  <a:lnTo>
                    <a:pt x="2717" y="523"/>
                  </a:lnTo>
                  <a:lnTo>
                    <a:pt x="2716" y="518"/>
                  </a:lnTo>
                  <a:lnTo>
                    <a:pt x="2715" y="514"/>
                  </a:lnTo>
                  <a:lnTo>
                    <a:pt x="2713" y="509"/>
                  </a:lnTo>
                  <a:lnTo>
                    <a:pt x="2710" y="505"/>
                  </a:lnTo>
                  <a:lnTo>
                    <a:pt x="2708" y="499"/>
                  </a:lnTo>
                  <a:lnTo>
                    <a:pt x="2701" y="489"/>
                  </a:lnTo>
                  <a:lnTo>
                    <a:pt x="2693" y="478"/>
                  </a:lnTo>
                  <a:lnTo>
                    <a:pt x="2683" y="466"/>
                  </a:lnTo>
                  <a:lnTo>
                    <a:pt x="2671" y="453"/>
                  </a:lnTo>
                  <a:lnTo>
                    <a:pt x="2665" y="447"/>
                  </a:lnTo>
                  <a:lnTo>
                    <a:pt x="2658" y="440"/>
                  </a:lnTo>
                  <a:lnTo>
                    <a:pt x="2643" y="426"/>
                  </a:lnTo>
                  <a:lnTo>
                    <a:pt x="2627" y="412"/>
                  </a:lnTo>
                  <a:lnTo>
                    <a:pt x="2608" y="398"/>
                  </a:lnTo>
                  <a:lnTo>
                    <a:pt x="2589" y="383"/>
                  </a:lnTo>
                  <a:lnTo>
                    <a:pt x="2568" y="368"/>
                  </a:lnTo>
                  <a:lnTo>
                    <a:pt x="2545" y="353"/>
                  </a:lnTo>
                  <a:lnTo>
                    <a:pt x="2521" y="338"/>
                  </a:lnTo>
                  <a:lnTo>
                    <a:pt x="2496" y="323"/>
                  </a:lnTo>
                  <a:lnTo>
                    <a:pt x="2469" y="307"/>
                  </a:lnTo>
                  <a:lnTo>
                    <a:pt x="2441" y="292"/>
                  </a:lnTo>
                  <a:lnTo>
                    <a:pt x="2411" y="277"/>
                  </a:lnTo>
                  <a:lnTo>
                    <a:pt x="2380" y="262"/>
                  </a:lnTo>
                  <a:lnTo>
                    <a:pt x="2348" y="247"/>
                  </a:lnTo>
                  <a:lnTo>
                    <a:pt x="2314" y="232"/>
                  </a:lnTo>
                  <a:lnTo>
                    <a:pt x="2279" y="218"/>
                  </a:lnTo>
                  <a:lnTo>
                    <a:pt x="2242" y="204"/>
                  </a:lnTo>
                  <a:lnTo>
                    <a:pt x="2204" y="190"/>
                  </a:lnTo>
                  <a:lnTo>
                    <a:pt x="2165" y="177"/>
                  </a:lnTo>
                  <a:lnTo>
                    <a:pt x="2125" y="165"/>
                  </a:lnTo>
                  <a:lnTo>
                    <a:pt x="2083" y="153"/>
                  </a:lnTo>
                  <a:lnTo>
                    <a:pt x="2040" y="142"/>
                  </a:lnTo>
                  <a:lnTo>
                    <a:pt x="1996" y="131"/>
                  </a:lnTo>
                  <a:lnTo>
                    <a:pt x="1950" y="122"/>
                  </a:lnTo>
                  <a:lnTo>
                    <a:pt x="1917" y="115"/>
                  </a:lnTo>
                  <a:lnTo>
                    <a:pt x="1884" y="110"/>
                  </a:lnTo>
                  <a:lnTo>
                    <a:pt x="1851" y="105"/>
                  </a:lnTo>
                  <a:lnTo>
                    <a:pt x="1817" y="100"/>
                  </a:lnTo>
                  <a:lnTo>
                    <a:pt x="1784" y="97"/>
                  </a:lnTo>
                  <a:lnTo>
                    <a:pt x="1750" y="93"/>
                  </a:lnTo>
                  <a:lnTo>
                    <a:pt x="1716" y="91"/>
                  </a:lnTo>
                  <a:lnTo>
                    <a:pt x="1682" y="89"/>
                  </a:lnTo>
                  <a:lnTo>
                    <a:pt x="1648" y="87"/>
                  </a:lnTo>
                  <a:lnTo>
                    <a:pt x="1614" y="86"/>
                  </a:lnTo>
                  <a:lnTo>
                    <a:pt x="1580" y="86"/>
                  </a:lnTo>
                  <a:lnTo>
                    <a:pt x="1546" y="86"/>
                  </a:lnTo>
                  <a:lnTo>
                    <a:pt x="1478" y="87"/>
                  </a:lnTo>
                  <a:lnTo>
                    <a:pt x="1444" y="89"/>
                  </a:lnTo>
                  <a:lnTo>
                    <a:pt x="1410" y="91"/>
                  </a:lnTo>
                  <a:lnTo>
                    <a:pt x="1377" y="93"/>
                  </a:lnTo>
                  <a:lnTo>
                    <a:pt x="1343" y="96"/>
                  </a:lnTo>
                  <a:lnTo>
                    <a:pt x="1309" y="99"/>
                  </a:lnTo>
                  <a:lnTo>
                    <a:pt x="1276" y="102"/>
                  </a:lnTo>
                  <a:lnTo>
                    <a:pt x="1210" y="110"/>
                  </a:lnTo>
                  <a:lnTo>
                    <a:pt x="1177" y="114"/>
                  </a:lnTo>
                  <a:lnTo>
                    <a:pt x="1143" y="119"/>
                  </a:lnTo>
                  <a:lnTo>
                    <a:pt x="1111" y="124"/>
                  </a:lnTo>
                  <a:lnTo>
                    <a:pt x="1079" y="129"/>
                  </a:lnTo>
                  <a:lnTo>
                    <a:pt x="1047" y="135"/>
                  </a:lnTo>
                  <a:lnTo>
                    <a:pt x="1015" y="140"/>
                  </a:lnTo>
                  <a:lnTo>
                    <a:pt x="984" y="146"/>
                  </a:lnTo>
                  <a:lnTo>
                    <a:pt x="953" y="152"/>
                  </a:lnTo>
                  <a:lnTo>
                    <a:pt x="893" y="165"/>
                  </a:lnTo>
                  <a:lnTo>
                    <a:pt x="833" y="178"/>
                  </a:lnTo>
                  <a:lnTo>
                    <a:pt x="776" y="192"/>
                  </a:lnTo>
                  <a:lnTo>
                    <a:pt x="721" y="206"/>
                  </a:lnTo>
                  <a:lnTo>
                    <a:pt x="667" y="220"/>
                  </a:lnTo>
                  <a:lnTo>
                    <a:pt x="616" y="235"/>
                  </a:lnTo>
                  <a:lnTo>
                    <a:pt x="567" y="249"/>
                  </a:lnTo>
                  <a:lnTo>
                    <a:pt x="520" y="263"/>
                  </a:lnTo>
                  <a:lnTo>
                    <a:pt x="477" y="277"/>
                  </a:lnTo>
                  <a:lnTo>
                    <a:pt x="436" y="290"/>
                  </a:lnTo>
                  <a:lnTo>
                    <a:pt x="397" y="303"/>
                  </a:lnTo>
                  <a:lnTo>
                    <a:pt x="331" y="326"/>
                  </a:lnTo>
                  <a:lnTo>
                    <a:pt x="278" y="345"/>
                  </a:lnTo>
                  <a:lnTo>
                    <a:pt x="239" y="360"/>
                  </a:lnTo>
                  <a:lnTo>
                    <a:pt x="242" y="338"/>
                  </a:lnTo>
                  <a:lnTo>
                    <a:pt x="245" y="316"/>
                  </a:lnTo>
                  <a:lnTo>
                    <a:pt x="252" y="269"/>
                  </a:lnTo>
                  <a:lnTo>
                    <a:pt x="259" y="222"/>
                  </a:lnTo>
                  <a:lnTo>
                    <a:pt x="262" y="199"/>
                  </a:lnTo>
                  <a:lnTo>
                    <a:pt x="264" y="175"/>
                  </a:lnTo>
                  <a:lnTo>
                    <a:pt x="265" y="153"/>
                  </a:lnTo>
                  <a:lnTo>
                    <a:pt x="266" y="131"/>
                  </a:lnTo>
                  <a:lnTo>
                    <a:pt x="265" y="120"/>
                  </a:lnTo>
                  <a:lnTo>
                    <a:pt x="264" y="110"/>
                  </a:lnTo>
                  <a:lnTo>
                    <a:pt x="263" y="99"/>
                  </a:lnTo>
                  <a:lnTo>
                    <a:pt x="262" y="89"/>
                  </a:lnTo>
                  <a:lnTo>
                    <a:pt x="260" y="80"/>
                  </a:lnTo>
                  <a:lnTo>
                    <a:pt x="257" y="71"/>
                  </a:lnTo>
                  <a:lnTo>
                    <a:pt x="254" y="62"/>
                  </a:lnTo>
                  <a:lnTo>
                    <a:pt x="251" y="53"/>
                  </a:lnTo>
                  <a:lnTo>
                    <a:pt x="247" y="45"/>
                  </a:lnTo>
                  <a:lnTo>
                    <a:pt x="242" y="37"/>
                  </a:lnTo>
                  <a:lnTo>
                    <a:pt x="237" y="30"/>
                  </a:lnTo>
                  <a:lnTo>
                    <a:pt x="231" y="23"/>
                  </a:lnTo>
                  <a:lnTo>
                    <a:pt x="227" y="19"/>
                  </a:lnTo>
                  <a:lnTo>
                    <a:pt x="222" y="16"/>
                  </a:lnTo>
                  <a:lnTo>
                    <a:pt x="217" y="12"/>
                  </a:lnTo>
                  <a:lnTo>
                    <a:pt x="211" y="9"/>
                  </a:lnTo>
                  <a:lnTo>
                    <a:pt x="205" y="7"/>
                  </a:lnTo>
                  <a:lnTo>
                    <a:pt x="199" y="5"/>
                  </a:lnTo>
                  <a:lnTo>
                    <a:pt x="192" y="3"/>
                  </a:lnTo>
                  <a:lnTo>
                    <a:pt x="185" y="2"/>
                  </a:lnTo>
                  <a:lnTo>
                    <a:pt x="178" y="1"/>
                  </a:lnTo>
                  <a:lnTo>
                    <a:pt x="171" y="0"/>
                  </a:lnTo>
                  <a:lnTo>
                    <a:pt x="163" y="1"/>
                  </a:lnTo>
                  <a:lnTo>
                    <a:pt x="155" y="1"/>
                  </a:lnTo>
                  <a:lnTo>
                    <a:pt x="148" y="2"/>
                  </a:lnTo>
                  <a:lnTo>
                    <a:pt x="140" y="4"/>
                  </a:lnTo>
                  <a:lnTo>
                    <a:pt x="132" y="6"/>
                  </a:lnTo>
                  <a:lnTo>
                    <a:pt x="125" y="9"/>
                  </a:lnTo>
                  <a:lnTo>
                    <a:pt x="117" y="12"/>
                  </a:lnTo>
                  <a:lnTo>
                    <a:pt x="110" y="16"/>
                  </a:lnTo>
                  <a:lnTo>
                    <a:pt x="103" y="20"/>
                  </a:lnTo>
                  <a:lnTo>
                    <a:pt x="96" y="25"/>
                  </a:lnTo>
                  <a:lnTo>
                    <a:pt x="89" y="31"/>
                  </a:lnTo>
                  <a:lnTo>
                    <a:pt x="82" y="37"/>
                  </a:lnTo>
                  <a:lnTo>
                    <a:pt x="76" y="44"/>
                  </a:lnTo>
                  <a:lnTo>
                    <a:pt x="70" y="52"/>
                  </a:lnTo>
                  <a:lnTo>
                    <a:pt x="65" y="60"/>
                  </a:lnTo>
                  <a:lnTo>
                    <a:pt x="60" y="69"/>
                  </a:lnTo>
                  <a:lnTo>
                    <a:pt x="56" y="79"/>
                  </a:lnTo>
                  <a:lnTo>
                    <a:pt x="52" y="89"/>
                  </a:lnTo>
                  <a:lnTo>
                    <a:pt x="48" y="101"/>
                  </a:lnTo>
                  <a:lnTo>
                    <a:pt x="46" y="113"/>
                  </a:lnTo>
                  <a:lnTo>
                    <a:pt x="43" y="126"/>
                  </a:lnTo>
                  <a:lnTo>
                    <a:pt x="42" y="139"/>
                  </a:lnTo>
                  <a:lnTo>
                    <a:pt x="39" y="180"/>
                  </a:lnTo>
                  <a:lnTo>
                    <a:pt x="35" y="221"/>
                  </a:lnTo>
                  <a:lnTo>
                    <a:pt x="26" y="308"/>
                  </a:lnTo>
                  <a:lnTo>
                    <a:pt x="15" y="401"/>
                  </a:lnTo>
                  <a:lnTo>
                    <a:pt x="3" y="498"/>
                  </a:lnTo>
                  <a:lnTo>
                    <a:pt x="1" y="513"/>
                  </a:lnTo>
                  <a:lnTo>
                    <a:pt x="0" y="527"/>
                  </a:lnTo>
                  <a:lnTo>
                    <a:pt x="0" y="539"/>
                  </a:lnTo>
                  <a:lnTo>
                    <a:pt x="0" y="551"/>
                  </a:lnTo>
                  <a:lnTo>
                    <a:pt x="1" y="561"/>
                  </a:lnTo>
                  <a:lnTo>
                    <a:pt x="3" y="570"/>
                  </a:lnTo>
                  <a:lnTo>
                    <a:pt x="5" y="578"/>
                  </a:lnTo>
                  <a:lnTo>
                    <a:pt x="7" y="585"/>
                  </a:lnTo>
                  <a:lnTo>
                    <a:pt x="11" y="591"/>
                  </a:lnTo>
                  <a:lnTo>
                    <a:pt x="14" y="596"/>
                  </a:lnTo>
                  <a:lnTo>
                    <a:pt x="19" y="601"/>
                  </a:lnTo>
                  <a:lnTo>
                    <a:pt x="23" y="604"/>
                  </a:lnTo>
                  <a:lnTo>
                    <a:pt x="29" y="607"/>
                  </a:lnTo>
                  <a:lnTo>
                    <a:pt x="34" y="609"/>
                  </a:lnTo>
                  <a:lnTo>
                    <a:pt x="40" y="610"/>
                  </a:lnTo>
                  <a:lnTo>
                    <a:pt x="47" y="611"/>
                  </a:lnTo>
                  <a:lnTo>
                    <a:pt x="54" y="611"/>
                  </a:lnTo>
                  <a:lnTo>
                    <a:pt x="61" y="610"/>
                  </a:lnTo>
                  <a:lnTo>
                    <a:pt x="68" y="609"/>
                  </a:lnTo>
                  <a:lnTo>
                    <a:pt x="76" y="608"/>
                  </a:lnTo>
                  <a:lnTo>
                    <a:pt x="93" y="603"/>
                  </a:lnTo>
                  <a:lnTo>
                    <a:pt x="110" y="598"/>
                  </a:lnTo>
                  <a:lnTo>
                    <a:pt x="129" y="591"/>
                  </a:lnTo>
                  <a:lnTo>
                    <a:pt x="148" y="583"/>
                  </a:lnTo>
                  <a:lnTo>
                    <a:pt x="187" y="5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400" b="1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2001348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IGMA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849DC93-5CBB-4C76-8CD4-2BCE47B9D203}"/>
              </a:ext>
            </a:extLst>
          </p:cNvPr>
          <p:cNvSpPr/>
          <p:nvPr/>
        </p:nvSpPr>
        <p:spPr>
          <a:xfrm>
            <a:off x="0" y="6762804"/>
            <a:ext cx="12192000" cy="106704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2400"/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58D22A4B-7949-41FA-A1DE-3A0686E6F6A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671421" y="1"/>
            <a:ext cx="520579" cy="366183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ysClr val="windowText" lastClr="000000"/>
                </a:solidFill>
              </a:defRPr>
            </a:lvl1pPr>
          </a:lstStyle>
          <a:p>
            <a:fld id="{95E63616-A2E2-49CD-8B48-1F006743AC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5014791-4FA1-4A5D-893F-79607C3EBC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392" y="132618"/>
            <a:ext cx="8260899" cy="853879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ES_tradnl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A60B6C6-8585-4655-AE49-8DA2FDC747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7392" y="1165496"/>
            <a:ext cx="11548005" cy="516137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FFCB06"/>
              </a:buClr>
              <a:defRPr sz="2133"/>
            </a:lvl1pPr>
            <a:lvl2pPr>
              <a:buClr>
                <a:srgbClr val="FFCB06"/>
              </a:buClr>
              <a:defRPr sz="2133"/>
            </a:lvl2pPr>
            <a:lvl3pPr>
              <a:buClr>
                <a:srgbClr val="FFCB06"/>
              </a:buClr>
              <a:defRPr sz="2133"/>
            </a:lvl3pPr>
            <a:lvl4pPr>
              <a:buClr>
                <a:srgbClr val="FFCB06"/>
              </a:buClr>
              <a:defRPr sz="2133"/>
            </a:lvl4pPr>
            <a:lvl5pPr>
              <a:buClr>
                <a:srgbClr val="FFCB06"/>
              </a:buClr>
              <a:defRPr sz="2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_tradnl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286AAEF-7761-4AC6-81AC-ED84C613BED5}"/>
              </a:ext>
            </a:extLst>
          </p:cNvPr>
          <p:cNvSpPr/>
          <p:nvPr/>
        </p:nvSpPr>
        <p:spPr>
          <a:xfrm>
            <a:off x="467577" y="990641"/>
            <a:ext cx="1199984" cy="93953"/>
          </a:xfrm>
          <a:prstGeom prst="rect">
            <a:avLst/>
          </a:prstGeom>
          <a:solidFill>
            <a:srgbClr val="D50032"/>
          </a:solidFill>
          <a:ln w="2857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C964355-6BCC-4BDE-A9AC-E95C53F4FC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79657" y="6377611"/>
            <a:ext cx="585267" cy="341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289521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_SIGMA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46D9076B-2B00-46BE-8102-7CCEC9936D6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671421" y="1"/>
            <a:ext cx="520579" cy="366183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tx1"/>
                </a:solidFill>
              </a:defRPr>
            </a:lvl1pPr>
          </a:lstStyle>
          <a:p>
            <a:fld id="{95E63616-A2E2-49CD-8B48-1F006743AC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9102026-6E32-4BB2-829F-26194ED551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86001" y="134400"/>
            <a:ext cx="5978924" cy="85440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2933"/>
            </a:lvl1pPr>
          </a:lstStyle>
          <a:p>
            <a:r>
              <a:rPr lang="es-ES_tradnl"/>
              <a:t>Agenda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CBDD2E9-39B6-4C39-B5DE-3EB15B91FD55}"/>
              </a:ext>
            </a:extLst>
          </p:cNvPr>
          <p:cNvSpPr/>
          <p:nvPr/>
        </p:nvSpPr>
        <p:spPr>
          <a:xfrm>
            <a:off x="6207977" y="984862"/>
            <a:ext cx="1199984" cy="93953"/>
          </a:xfrm>
          <a:prstGeom prst="rect">
            <a:avLst/>
          </a:prstGeom>
          <a:solidFill>
            <a:srgbClr val="D50032"/>
          </a:solidFill>
          <a:ln w="2857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78E82A3-6AA3-4FA3-941D-D1A838374936}"/>
              </a:ext>
            </a:extLst>
          </p:cNvPr>
          <p:cNvSpPr/>
          <p:nvPr/>
        </p:nvSpPr>
        <p:spPr>
          <a:xfrm rot="16200000">
            <a:off x="2485222" y="3359197"/>
            <a:ext cx="6857999" cy="139607"/>
          </a:xfrm>
          <a:prstGeom prst="rect">
            <a:avLst/>
          </a:prstGeom>
          <a:solidFill>
            <a:srgbClr val="FFBE1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240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E388F7C-1DA5-4F07-9442-87B2E3C19A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86000" y="1270820"/>
            <a:ext cx="5799667" cy="5016776"/>
          </a:xfrm>
          <a:prstGeom prst="rect">
            <a:avLst/>
          </a:prstGeom>
        </p:spPr>
        <p:txBody>
          <a:bodyPr/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2667"/>
            </a:lvl4pPr>
            <a:lvl5pPr>
              <a:defRPr sz="26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BEF6B0B-11BE-4FA6-8AB9-31B227E31E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79657" y="6377611"/>
            <a:ext cx="585267" cy="341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534581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SIGMA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354E0B01-46FA-40B3-8C7A-8BF88EBE89C1}"/>
              </a:ext>
            </a:extLst>
          </p:cNvPr>
          <p:cNvGrpSpPr>
            <a:grpSpLocks noChangeAspect="1"/>
          </p:cNvGrpSpPr>
          <p:nvPr/>
        </p:nvGrpSpPr>
        <p:grpSpPr>
          <a:xfrm>
            <a:off x="11470709" y="6377611"/>
            <a:ext cx="589936" cy="336000"/>
            <a:chOff x="1188944" y="2513316"/>
            <a:chExt cx="1814513" cy="1033463"/>
          </a:xfrm>
          <a:solidFill>
            <a:schemeClr val="bg1"/>
          </a:solidFill>
        </p:grpSpPr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206C00A7-A240-4A2B-BECE-95CD3AE45E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54942" y="2833656"/>
              <a:ext cx="1448515" cy="713123"/>
            </a:xfrm>
            <a:custGeom>
              <a:avLst/>
              <a:gdLst>
                <a:gd name="T0" fmla="*/ 2937 w 3463"/>
                <a:gd name="T1" fmla="*/ 123 h 1703"/>
                <a:gd name="T2" fmla="*/ 2655 w 3463"/>
                <a:gd name="T3" fmla="*/ 476 h 1703"/>
                <a:gd name="T4" fmla="*/ 2529 w 3463"/>
                <a:gd name="T5" fmla="*/ 752 h 1703"/>
                <a:gd name="T6" fmla="*/ 2571 w 3463"/>
                <a:gd name="T7" fmla="*/ 266 h 1703"/>
                <a:gd name="T8" fmla="*/ 2529 w 3463"/>
                <a:gd name="T9" fmla="*/ 44 h 1703"/>
                <a:gd name="T10" fmla="*/ 2296 w 3463"/>
                <a:gd name="T11" fmla="*/ 64 h 1703"/>
                <a:gd name="T12" fmla="*/ 2102 w 3463"/>
                <a:gd name="T13" fmla="*/ 101 h 1703"/>
                <a:gd name="T14" fmla="*/ 1962 w 3463"/>
                <a:gd name="T15" fmla="*/ 15 h 1703"/>
                <a:gd name="T16" fmla="*/ 1673 w 3463"/>
                <a:gd name="T17" fmla="*/ 210 h 1703"/>
                <a:gd name="T18" fmla="*/ 1605 w 3463"/>
                <a:gd name="T19" fmla="*/ 37 h 1703"/>
                <a:gd name="T20" fmla="*/ 1447 w 3463"/>
                <a:gd name="T21" fmla="*/ 60 h 1703"/>
                <a:gd name="T22" fmla="*/ 1235 w 3463"/>
                <a:gd name="T23" fmla="*/ 79 h 1703"/>
                <a:gd name="T24" fmla="*/ 1019 w 3463"/>
                <a:gd name="T25" fmla="*/ 31 h 1703"/>
                <a:gd name="T26" fmla="*/ 703 w 3463"/>
                <a:gd name="T27" fmla="*/ 139 h 1703"/>
                <a:gd name="T28" fmla="*/ 437 w 3463"/>
                <a:gd name="T29" fmla="*/ 471 h 1703"/>
                <a:gd name="T30" fmla="*/ 271 w 3463"/>
                <a:gd name="T31" fmla="*/ 734 h 1703"/>
                <a:gd name="T32" fmla="*/ 307 w 3463"/>
                <a:gd name="T33" fmla="*/ 221 h 1703"/>
                <a:gd name="T34" fmla="*/ 261 w 3463"/>
                <a:gd name="T35" fmla="*/ 17 h 1703"/>
                <a:gd name="T36" fmla="*/ 105 w 3463"/>
                <a:gd name="T37" fmla="*/ 30 h 1703"/>
                <a:gd name="T38" fmla="*/ 21 w 3463"/>
                <a:gd name="T39" fmla="*/ 927 h 1703"/>
                <a:gd name="T40" fmla="*/ 185 w 3463"/>
                <a:gd name="T41" fmla="*/ 961 h 1703"/>
                <a:gd name="T42" fmla="*/ 393 w 3463"/>
                <a:gd name="T43" fmla="*/ 839 h 1703"/>
                <a:gd name="T44" fmla="*/ 223 w 3463"/>
                <a:gd name="T45" fmla="*/ 1153 h 1703"/>
                <a:gd name="T46" fmla="*/ 140 w 3463"/>
                <a:gd name="T47" fmla="*/ 1447 h 1703"/>
                <a:gd name="T48" fmla="*/ 283 w 3463"/>
                <a:gd name="T49" fmla="*/ 1659 h 1703"/>
                <a:gd name="T50" fmla="*/ 629 w 3463"/>
                <a:gd name="T51" fmla="*/ 1676 h 1703"/>
                <a:gd name="T52" fmla="*/ 963 w 3463"/>
                <a:gd name="T53" fmla="*/ 1455 h 1703"/>
                <a:gd name="T54" fmla="*/ 1128 w 3463"/>
                <a:gd name="T55" fmla="*/ 1112 h 1703"/>
                <a:gd name="T56" fmla="*/ 1403 w 3463"/>
                <a:gd name="T57" fmla="*/ 251 h 1703"/>
                <a:gd name="T58" fmla="*/ 1401 w 3463"/>
                <a:gd name="T59" fmla="*/ 955 h 1703"/>
                <a:gd name="T60" fmla="*/ 1556 w 3463"/>
                <a:gd name="T61" fmla="*/ 963 h 1703"/>
                <a:gd name="T62" fmla="*/ 1633 w 3463"/>
                <a:gd name="T63" fmla="*/ 552 h 1703"/>
                <a:gd name="T64" fmla="*/ 1846 w 3463"/>
                <a:gd name="T65" fmla="*/ 233 h 1703"/>
                <a:gd name="T66" fmla="*/ 1874 w 3463"/>
                <a:gd name="T67" fmla="*/ 338 h 1703"/>
                <a:gd name="T68" fmla="*/ 1867 w 3463"/>
                <a:gd name="T69" fmla="*/ 962 h 1703"/>
                <a:gd name="T70" fmla="*/ 2040 w 3463"/>
                <a:gd name="T71" fmla="*/ 947 h 1703"/>
                <a:gd name="T72" fmla="*/ 2125 w 3463"/>
                <a:gd name="T73" fmla="*/ 476 h 1703"/>
                <a:gd name="T74" fmla="*/ 2330 w 3463"/>
                <a:gd name="T75" fmla="*/ 229 h 1703"/>
                <a:gd name="T76" fmla="*/ 2278 w 3463"/>
                <a:gd name="T77" fmla="*/ 756 h 1703"/>
                <a:gd name="T78" fmla="*/ 2335 w 3463"/>
                <a:gd name="T79" fmla="*/ 975 h 1703"/>
                <a:gd name="T80" fmla="*/ 2562 w 3463"/>
                <a:gd name="T81" fmla="*/ 909 h 1703"/>
                <a:gd name="T82" fmla="*/ 2691 w 3463"/>
                <a:gd name="T83" fmla="*/ 966 h 1703"/>
                <a:gd name="T84" fmla="*/ 2940 w 3463"/>
                <a:gd name="T85" fmla="*/ 936 h 1703"/>
                <a:gd name="T86" fmla="*/ 3135 w 3463"/>
                <a:gd name="T87" fmla="*/ 907 h 1703"/>
                <a:gd name="T88" fmla="*/ 3243 w 3463"/>
                <a:gd name="T89" fmla="*/ 991 h 1703"/>
                <a:gd name="T90" fmla="*/ 3351 w 3463"/>
                <a:gd name="T91" fmla="*/ 889 h 1703"/>
                <a:gd name="T92" fmla="*/ 3452 w 3463"/>
                <a:gd name="T93" fmla="*/ 82 h 1703"/>
                <a:gd name="T94" fmla="*/ 917 w 3463"/>
                <a:gd name="T95" fmla="*/ 950 h 1703"/>
                <a:gd name="T96" fmla="*/ 791 w 3463"/>
                <a:gd name="T97" fmla="*/ 1460 h 1703"/>
                <a:gd name="T98" fmla="*/ 565 w 3463"/>
                <a:gd name="T99" fmla="*/ 1554 h 1703"/>
                <a:gd name="T100" fmla="*/ 373 w 3463"/>
                <a:gd name="T101" fmla="*/ 1411 h 1703"/>
                <a:gd name="T102" fmla="*/ 461 w 3463"/>
                <a:gd name="T103" fmla="*/ 1066 h 1703"/>
                <a:gd name="T104" fmla="*/ 738 w 3463"/>
                <a:gd name="T105" fmla="*/ 916 h 1703"/>
                <a:gd name="T106" fmla="*/ 950 w 3463"/>
                <a:gd name="T107" fmla="*/ 445 h 1703"/>
                <a:gd name="T108" fmla="*/ 703 w 3463"/>
                <a:gd name="T109" fmla="*/ 743 h 1703"/>
                <a:gd name="T110" fmla="*/ 630 w 3463"/>
                <a:gd name="T111" fmla="*/ 641 h 1703"/>
                <a:gd name="T112" fmla="*/ 748 w 3463"/>
                <a:gd name="T113" fmla="*/ 291 h 1703"/>
                <a:gd name="T114" fmla="*/ 998 w 3463"/>
                <a:gd name="T115" fmla="*/ 229 h 1703"/>
                <a:gd name="T116" fmla="*/ 3056 w 3463"/>
                <a:gd name="T117" fmla="*/ 628 h 1703"/>
                <a:gd name="T118" fmla="*/ 2862 w 3463"/>
                <a:gd name="T119" fmla="*/ 759 h 1703"/>
                <a:gd name="T120" fmla="*/ 2896 w 3463"/>
                <a:gd name="T121" fmla="*/ 416 h 1703"/>
                <a:gd name="T122" fmla="*/ 3071 w 3463"/>
                <a:gd name="T123" fmla="*/ 214 h 1703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463"/>
                <a:gd name="T187" fmla="*/ 0 h 1703"/>
                <a:gd name="T188" fmla="*/ 3463 w 3463"/>
                <a:gd name="T189" fmla="*/ 1703 h 1703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463" h="1703">
                  <a:moveTo>
                    <a:pt x="3244" y="27"/>
                  </a:moveTo>
                  <a:lnTo>
                    <a:pt x="3228" y="28"/>
                  </a:lnTo>
                  <a:lnTo>
                    <a:pt x="3212" y="29"/>
                  </a:lnTo>
                  <a:lnTo>
                    <a:pt x="3197" y="30"/>
                  </a:lnTo>
                  <a:lnTo>
                    <a:pt x="3181" y="32"/>
                  </a:lnTo>
                  <a:lnTo>
                    <a:pt x="3166" y="34"/>
                  </a:lnTo>
                  <a:lnTo>
                    <a:pt x="3151" y="37"/>
                  </a:lnTo>
                  <a:lnTo>
                    <a:pt x="3135" y="40"/>
                  </a:lnTo>
                  <a:lnTo>
                    <a:pt x="3120" y="43"/>
                  </a:lnTo>
                  <a:lnTo>
                    <a:pt x="3106" y="47"/>
                  </a:lnTo>
                  <a:lnTo>
                    <a:pt x="3091" y="51"/>
                  </a:lnTo>
                  <a:lnTo>
                    <a:pt x="3076" y="55"/>
                  </a:lnTo>
                  <a:lnTo>
                    <a:pt x="3062" y="60"/>
                  </a:lnTo>
                  <a:lnTo>
                    <a:pt x="3033" y="71"/>
                  </a:lnTo>
                  <a:lnTo>
                    <a:pt x="3019" y="78"/>
                  </a:lnTo>
                  <a:lnTo>
                    <a:pt x="3005" y="84"/>
                  </a:lnTo>
                  <a:lnTo>
                    <a:pt x="2991" y="91"/>
                  </a:lnTo>
                  <a:lnTo>
                    <a:pt x="2977" y="98"/>
                  </a:lnTo>
                  <a:lnTo>
                    <a:pt x="2950" y="114"/>
                  </a:lnTo>
                  <a:lnTo>
                    <a:pt x="2937" y="123"/>
                  </a:lnTo>
                  <a:lnTo>
                    <a:pt x="2924" y="132"/>
                  </a:lnTo>
                  <a:lnTo>
                    <a:pt x="2911" y="141"/>
                  </a:lnTo>
                  <a:lnTo>
                    <a:pt x="2898" y="150"/>
                  </a:lnTo>
                  <a:lnTo>
                    <a:pt x="2885" y="160"/>
                  </a:lnTo>
                  <a:lnTo>
                    <a:pt x="2873" y="171"/>
                  </a:lnTo>
                  <a:lnTo>
                    <a:pt x="2848" y="193"/>
                  </a:lnTo>
                  <a:lnTo>
                    <a:pt x="2836" y="205"/>
                  </a:lnTo>
                  <a:lnTo>
                    <a:pt x="2824" y="217"/>
                  </a:lnTo>
                  <a:lnTo>
                    <a:pt x="2800" y="242"/>
                  </a:lnTo>
                  <a:lnTo>
                    <a:pt x="2783" y="261"/>
                  </a:lnTo>
                  <a:lnTo>
                    <a:pt x="2767" y="281"/>
                  </a:lnTo>
                  <a:lnTo>
                    <a:pt x="2751" y="302"/>
                  </a:lnTo>
                  <a:lnTo>
                    <a:pt x="2737" y="322"/>
                  </a:lnTo>
                  <a:lnTo>
                    <a:pt x="2722" y="343"/>
                  </a:lnTo>
                  <a:lnTo>
                    <a:pt x="2709" y="364"/>
                  </a:lnTo>
                  <a:lnTo>
                    <a:pt x="2696" y="386"/>
                  </a:lnTo>
                  <a:lnTo>
                    <a:pt x="2685" y="408"/>
                  </a:lnTo>
                  <a:lnTo>
                    <a:pt x="2674" y="430"/>
                  </a:lnTo>
                  <a:lnTo>
                    <a:pt x="2664" y="453"/>
                  </a:lnTo>
                  <a:lnTo>
                    <a:pt x="2655" y="476"/>
                  </a:lnTo>
                  <a:lnTo>
                    <a:pt x="2647" y="499"/>
                  </a:lnTo>
                  <a:lnTo>
                    <a:pt x="2643" y="511"/>
                  </a:lnTo>
                  <a:lnTo>
                    <a:pt x="2639" y="523"/>
                  </a:lnTo>
                  <a:lnTo>
                    <a:pt x="2632" y="547"/>
                  </a:lnTo>
                  <a:lnTo>
                    <a:pt x="2627" y="571"/>
                  </a:lnTo>
                  <a:lnTo>
                    <a:pt x="2621" y="596"/>
                  </a:lnTo>
                  <a:lnTo>
                    <a:pt x="2618" y="608"/>
                  </a:lnTo>
                  <a:lnTo>
                    <a:pt x="2612" y="625"/>
                  </a:lnTo>
                  <a:lnTo>
                    <a:pt x="2604" y="645"/>
                  </a:lnTo>
                  <a:lnTo>
                    <a:pt x="2600" y="656"/>
                  </a:lnTo>
                  <a:lnTo>
                    <a:pt x="2594" y="667"/>
                  </a:lnTo>
                  <a:lnTo>
                    <a:pt x="2588" y="678"/>
                  </a:lnTo>
                  <a:lnTo>
                    <a:pt x="2582" y="690"/>
                  </a:lnTo>
                  <a:lnTo>
                    <a:pt x="2575" y="701"/>
                  </a:lnTo>
                  <a:lnTo>
                    <a:pt x="2567" y="712"/>
                  </a:lnTo>
                  <a:lnTo>
                    <a:pt x="2558" y="723"/>
                  </a:lnTo>
                  <a:lnTo>
                    <a:pt x="2549" y="734"/>
                  </a:lnTo>
                  <a:lnTo>
                    <a:pt x="2544" y="739"/>
                  </a:lnTo>
                  <a:lnTo>
                    <a:pt x="2539" y="743"/>
                  </a:lnTo>
                  <a:lnTo>
                    <a:pt x="2529" y="752"/>
                  </a:lnTo>
                  <a:lnTo>
                    <a:pt x="2525" y="755"/>
                  </a:lnTo>
                  <a:lnTo>
                    <a:pt x="2522" y="757"/>
                  </a:lnTo>
                  <a:lnTo>
                    <a:pt x="2520" y="758"/>
                  </a:lnTo>
                  <a:lnTo>
                    <a:pt x="2517" y="759"/>
                  </a:lnTo>
                  <a:lnTo>
                    <a:pt x="2515" y="759"/>
                  </a:lnTo>
                  <a:lnTo>
                    <a:pt x="2513" y="759"/>
                  </a:lnTo>
                  <a:lnTo>
                    <a:pt x="2512" y="759"/>
                  </a:lnTo>
                  <a:lnTo>
                    <a:pt x="2510" y="758"/>
                  </a:lnTo>
                  <a:lnTo>
                    <a:pt x="2508" y="756"/>
                  </a:lnTo>
                  <a:lnTo>
                    <a:pt x="2507" y="754"/>
                  </a:lnTo>
                  <a:lnTo>
                    <a:pt x="2506" y="751"/>
                  </a:lnTo>
                  <a:lnTo>
                    <a:pt x="2506" y="748"/>
                  </a:lnTo>
                  <a:lnTo>
                    <a:pt x="2505" y="738"/>
                  </a:lnTo>
                  <a:lnTo>
                    <a:pt x="2506" y="729"/>
                  </a:lnTo>
                  <a:lnTo>
                    <a:pt x="2509" y="711"/>
                  </a:lnTo>
                  <a:lnTo>
                    <a:pt x="2516" y="658"/>
                  </a:lnTo>
                  <a:lnTo>
                    <a:pt x="2537" y="508"/>
                  </a:lnTo>
                  <a:lnTo>
                    <a:pt x="2566" y="300"/>
                  </a:lnTo>
                  <a:lnTo>
                    <a:pt x="2569" y="283"/>
                  </a:lnTo>
                  <a:lnTo>
                    <a:pt x="2571" y="266"/>
                  </a:lnTo>
                  <a:lnTo>
                    <a:pt x="2574" y="234"/>
                  </a:lnTo>
                  <a:lnTo>
                    <a:pt x="2576" y="218"/>
                  </a:lnTo>
                  <a:lnTo>
                    <a:pt x="2576" y="204"/>
                  </a:lnTo>
                  <a:lnTo>
                    <a:pt x="2577" y="176"/>
                  </a:lnTo>
                  <a:lnTo>
                    <a:pt x="2577" y="163"/>
                  </a:lnTo>
                  <a:lnTo>
                    <a:pt x="2576" y="150"/>
                  </a:lnTo>
                  <a:lnTo>
                    <a:pt x="2575" y="138"/>
                  </a:lnTo>
                  <a:lnTo>
                    <a:pt x="2573" y="127"/>
                  </a:lnTo>
                  <a:lnTo>
                    <a:pt x="2571" y="117"/>
                  </a:lnTo>
                  <a:lnTo>
                    <a:pt x="2568" y="107"/>
                  </a:lnTo>
                  <a:lnTo>
                    <a:pt x="2565" y="98"/>
                  </a:lnTo>
                  <a:lnTo>
                    <a:pt x="2562" y="89"/>
                  </a:lnTo>
                  <a:lnTo>
                    <a:pt x="2558" y="81"/>
                  </a:lnTo>
                  <a:lnTo>
                    <a:pt x="2554" y="74"/>
                  </a:lnTo>
                  <a:lnTo>
                    <a:pt x="2551" y="70"/>
                  </a:lnTo>
                  <a:lnTo>
                    <a:pt x="2549" y="67"/>
                  </a:lnTo>
                  <a:lnTo>
                    <a:pt x="2545" y="60"/>
                  </a:lnTo>
                  <a:lnTo>
                    <a:pt x="2540" y="55"/>
                  </a:lnTo>
                  <a:lnTo>
                    <a:pt x="2535" y="49"/>
                  </a:lnTo>
                  <a:lnTo>
                    <a:pt x="2529" y="44"/>
                  </a:lnTo>
                  <a:lnTo>
                    <a:pt x="2524" y="40"/>
                  </a:lnTo>
                  <a:lnTo>
                    <a:pt x="2513" y="33"/>
                  </a:lnTo>
                  <a:lnTo>
                    <a:pt x="2507" y="29"/>
                  </a:lnTo>
                  <a:lnTo>
                    <a:pt x="2502" y="27"/>
                  </a:lnTo>
                  <a:lnTo>
                    <a:pt x="2490" y="22"/>
                  </a:lnTo>
                  <a:lnTo>
                    <a:pt x="2479" y="19"/>
                  </a:lnTo>
                  <a:lnTo>
                    <a:pt x="2468" y="16"/>
                  </a:lnTo>
                  <a:lnTo>
                    <a:pt x="2458" y="15"/>
                  </a:lnTo>
                  <a:lnTo>
                    <a:pt x="2448" y="14"/>
                  </a:lnTo>
                  <a:lnTo>
                    <a:pt x="2440" y="14"/>
                  </a:lnTo>
                  <a:lnTo>
                    <a:pt x="2426" y="14"/>
                  </a:lnTo>
                  <a:lnTo>
                    <a:pt x="2412" y="16"/>
                  </a:lnTo>
                  <a:lnTo>
                    <a:pt x="2398" y="18"/>
                  </a:lnTo>
                  <a:lnTo>
                    <a:pt x="2384" y="22"/>
                  </a:lnTo>
                  <a:lnTo>
                    <a:pt x="2370" y="26"/>
                  </a:lnTo>
                  <a:lnTo>
                    <a:pt x="2355" y="32"/>
                  </a:lnTo>
                  <a:lnTo>
                    <a:pt x="2340" y="38"/>
                  </a:lnTo>
                  <a:lnTo>
                    <a:pt x="2326" y="46"/>
                  </a:lnTo>
                  <a:lnTo>
                    <a:pt x="2311" y="54"/>
                  </a:lnTo>
                  <a:lnTo>
                    <a:pt x="2296" y="64"/>
                  </a:lnTo>
                  <a:lnTo>
                    <a:pt x="2280" y="74"/>
                  </a:lnTo>
                  <a:lnTo>
                    <a:pt x="2265" y="86"/>
                  </a:lnTo>
                  <a:lnTo>
                    <a:pt x="2249" y="98"/>
                  </a:lnTo>
                  <a:lnTo>
                    <a:pt x="2234" y="112"/>
                  </a:lnTo>
                  <a:lnTo>
                    <a:pt x="2218" y="126"/>
                  </a:lnTo>
                  <a:lnTo>
                    <a:pt x="2202" y="142"/>
                  </a:lnTo>
                  <a:lnTo>
                    <a:pt x="2189" y="155"/>
                  </a:lnTo>
                  <a:lnTo>
                    <a:pt x="2177" y="168"/>
                  </a:lnTo>
                  <a:lnTo>
                    <a:pt x="2165" y="181"/>
                  </a:lnTo>
                  <a:lnTo>
                    <a:pt x="2153" y="195"/>
                  </a:lnTo>
                  <a:lnTo>
                    <a:pt x="2130" y="224"/>
                  </a:lnTo>
                  <a:lnTo>
                    <a:pt x="2108" y="253"/>
                  </a:lnTo>
                  <a:lnTo>
                    <a:pt x="2113" y="182"/>
                  </a:lnTo>
                  <a:lnTo>
                    <a:pt x="2113" y="168"/>
                  </a:lnTo>
                  <a:lnTo>
                    <a:pt x="2112" y="155"/>
                  </a:lnTo>
                  <a:lnTo>
                    <a:pt x="2111" y="143"/>
                  </a:lnTo>
                  <a:lnTo>
                    <a:pt x="2109" y="131"/>
                  </a:lnTo>
                  <a:lnTo>
                    <a:pt x="2107" y="120"/>
                  </a:lnTo>
                  <a:lnTo>
                    <a:pt x="2105" y="110"/>
                  </a:lnTo>
                  <a:lnTo>
                    <a:pt x="2102" y="101"/>
                  </a:lnTo>
                  <a:lnTo>
                    <a:pt x="2098" y="92"/>
                  </a:lnTo>
                  <a:lnTo>
                    <a:pt x="2095" y="83"/>
                  </a:lnTo>
                  <a:lnTo>
                    <a:pt x="2091" y="76"/>
                  </a:lnTo>
                  <a:lnTo>
                    <a:pt x="2087" y="69"/>
                  </a:lnTo>
                  <a:lnTo>
                    <a:pt x="2082" y="62"/>
                  </a:lnTo>
                  <a:lnTo>
                    <a:pt x="2078" y="56"/>
                  </a:lnTo>
                  <a:lnTo>
                    <a:pt x="2073" y="51"/>
                  </a:lnTo>
                  <a:lnTo>
                    <a:pt x="2068" y="46"/>
                  </a:lnTo>
                  <a:lnTo>
                    <a:pt x="2062" y="41"/>
                  </a:lnTo>
                  <a:lnTo>
                    <a:pt x="2057" y="37"/>
                  </a:lnTo>
                  <a:lnTo>
                    <a:pt x="2052" y="33"/>
                  </a:lnTo>
                  <a:lnTo>
                    <a:pt x="2041" y="27"/>
                  </a:lnTo>
                  <a:lnTo>
                    <a:pt x="2035" y="24"/>
                  </a:lnTo>
                  <a:lnTo>
                    <a:pt x="2030" y="22"/>
                  </a:lnTo>
                  <a:lnTo>
                    <a:pt x="2019" y="19"/>
                  </a:lnTo>
                  <a:lnTo>
                    <a:pt x="2009" y="16"/>
                  </a:lnTo>
                  <a:lnTo>
                    <a:pt x="1999" y="15"/>
                  </a:lnTo>
                  <a:lnTo>
                    <a:pt x="1990" y="14"/>
                  </a:lnTo>
                  <a:lnTo>
                    <a:pt x="1982" y="14"/>
                  </a:lnTo>
                  <a:lnTo>
                    <a:pt x="1962" y="15"/>
                  </a:lnTo>
                  <a:lnTo>
                    <a:pt x="1952" y="16"/>
                  </a:lnTo>
                  <a:lnTo>
                    <a:pt x="1941" y="17"/>
                  </a:lnTo>
                  <a:lnTo>
                    <a:pt x="1931" y="19"/>
                  </a:lnTo>
                  <a:lnTo>
                    <a:pt x="1921" y="22"/>
                  </a:lnTo>
                  <a:lnTo>
                    <a:pt x="1901" y="28"/>
                  </a:lnTo>
                  <a:lnTo>
                    <a:pt x="1891" y="31"/>
                  </a:lnTo>
                  <a:lnTo>
                    <a:pt x="1880" y="36"/>
                  </a:lnTo>
                  <a:lnTo>
                    <a:pt x="1870" y="40"/>
                  </a:lnTo>
                  <a:lnTo>
                    <a:pt x="1860" y="45"/>
                  </a:lnTo>
                  <a:lnTo>
                    <a:pt x="1839" y="57"/>
                  </a:lnTo>
                  <a:lnTo>
                    <a:pt x="1819" y="70"/>
                  </a:lnTo>
                  <a:lnTo>
                    <a:pt x="1798" y="85"/>
                  </a:lnTo>
                  <a:lnTo>
                    <a:pt x="1778" y="101"/>
                  </a:lnTo>
                  <a:lnTo>
                    <a:pt x="1767" y="110"/>
                  </a:lnTo>
                  <a:lnTo>
                    <a:pt x="1757" y="119"/>
                  </a:lnTo>
                  <a:lnTo>
                    <a:pt x="1746" y="129"/>
                  </a:lnTo>
                  <a:lnTo>
                    <a:pt x="1736" y="140"/>
                  </a:lnTo>
                  <a:lnTo>
                    <a:pt x="1715" y="161"/>
                  </a:lnTo>
                  <a:lnTo>
                    <a:pt x="1694" y="185"/>
                  </a:lnTo>
                  <a:lnTo>
                    <a:pt x="1673" y="210"/>
                  </a:lnTo>
                  <a:lnTo>
                    <a:pt x="1662" y="224"/>
                  </a:lnTo>
                  <a:lnTo>
                    <a:pt x="1651" y="238"/>
                  </a:lnTo>
                  <a:lnTo>
                    <a:pt x="1652" y="232"/>
                  </a:lnTo>
                  <a:lnTo>
                    <a:pt x="1657" y="160"/>
                  </a:lnTo>
                  <a:lnTo>
                    <a:pt x="1656" y="148"/>
                  </a:lnTo>
                  <a:lnTo>
                    <a:pt x="1656" y="136"/>
                  </a:lnTo>
                  <a:lnTo>
                    <a:pt x="1654" y="125"/>
                  </a:lnTo>
                  <a:lnTo>
                    <a:pt x="1653" y="115"/>
                  </a:lnTo>
                  <a:lnTo>
                    <a:pt x="1650" y="105"/>
                  </a:lnTo>
                  <a:lnTo>
                    <a:pt x="1648" y="96"/>
                  </a:lnTo>
                  <a:lnTo>
                    <a:pt x="1645" y="88"/>
                  </a:lnTo>
                  <a:lnTo>
                    <a:pt x="1641" y="80"/>
                  </a:lnTo>
                  <a:lnTo>
                    <a:pt x="1638" y="73"/>
                  </a:lnTo>
                  <a:lnTo>
                    <a:pt x="1634" y="66"/>
                  </a:lnTo>
                  <a:lnTo>
                    <a:pt x="1629" y="60"/>
                  </a:lnTo>
                  <a:lnTo>
                    <a:pt x="1625" y="55"/>
                  </a:lnTo>
                  <a:lnTo>
                    <a:pt x="1620" y="49"/>
                  </a:lnTo>
                  <a:lnTo>
                    <a:pt x="1615" y="45"/>
                  </a:lnTo>
                  <a:lnTo>
                    <a:pt x="1610" y="41"/>
                  </a:lnTo>
                  <a:lnTo>
                    <a:pt x="1605" y="37"/>
                  </a:lnTo>
                  <a:lnTo>
                    <a:pt x="1600" y="33"/>
                  </a:lnTo>
                  <a:lnTo>
                    <a:pt x="1595" y="30"/>
                  </a:lnTo>
                  <a:lnTo>
                    <a:pt x="1589" y="28"/>
                  </a:lnTo>
                  <a:lnTo>
                    <a:pt x="1584" y="25"/>
                  </a:lnTo>
                  <a:lnTo>
                    <a:pt x="1574" y="22"/>
                  </a:lnTo>
                  <a:lnTo>
                    <a:pt x="1568" y="20"/>
                  </a:lnTo>
                  <a:lnTo>
                    <a:pt x="1563" y="19"/>
                  </a:lnTo>
                  <a:lnTo>
                    <a:pt x="1554" y="17"/>
                  </a:lnTo>
                  <a:lnTo>
                    <a:pt x="1545" y="17"/>
                  </a:lnTo>
                  <a:lnTo>
                    <a:pt x="1531" y="16"/>
                  </a:lnTo>
                  <a:lnTo>
                    <a:pt x="1526" y="17"/>
                  </a:lnTo>
                  <a:lnTo>
                    <a:pt x="1520" y="19"/>
                  </a:lnTo>
                  <a:lnTo>
                    <a:pt x="1514" y="21"/>
                  </a:lnTo>
                  <a:lnTo>
                    <a:pt x="1507" y="24"/>
                  </a:lnTo>
                  <a:lnTo>
                    <a:pt x="1500" y="27"/>
                  </a:lnTo>
                  <a:lnTo>
                    <a:pt x="1492" y="31"/>
                  </a:lnTo>
                  <a:lnTo>
                    <a:pt x="1475" y="41"/>
                  </a:lnTo>
                  <a:lnTo>
                    <a:pt x="1466" y="47"/>
                  </a:lnTo>
                  <a:lnTo>
                    <a:pt x="1456" y="53"/>
                  </a:lnTo>
                  <a:lnTo>
                    <a:pt x="1447" y="60"/>
                  </a:lnTo>
                  <a:lnTo>
                    <a:pt x="1436" y="67"/>
                  </a:lnTo>
                  <a:lnTo>
                    <a:pt x="1416" y="83"/>
                  </a:lnTo>
                  <a:lnTo>
                    <a:pt x="1394" y="100"/>
                  </a:lnTo>
                  <a:lnTo>
                    <a:pt x="1372" y="118"/>
                  </a:lnTo>
                  <a:lnTo>
                    <a:pt x="1349" y="137"/>
                  </a:lnTo>
                  <a:lnTo>
                    <a:pt x="1305" y="177"/>
                  </a:lnTo>
                  <a:lnTo>
                    <a:pt x="1282" y="197"/>
                  </a:lnTo>
                  <a:lnTo>
                    <a:pt x="1261" y="217"/>
                  </a:lnTo>
                  <a:lnTo>
                    <a:pt x="1241" y="236"/>
                  </a:lnTo>
                  <a:lnTo>
                    <a:pt x="1222" y="255"/>
                  </a:lnTo>
                  <a:lnTo>
                    <a:pt x="1239" y="130"/>
                  </a:lnTo>
                  <a:lnTo>
                    <a:pt x="1240" y="123"/>
                  </a:lnTo>
                  <a:lnTo>
                    <a:pt x="1241" y="117"/>
                  </a:lnTo>
                  <a:lnTo>
                    <a:pt x="1241" y="111"/>
                  </a:lnTo>
                  <a:lnTo>
                    <a:pt x="1241" y="105"/>
                  </a:lnTo>
                  <a:lnTo>
                    <a:pt x="1241" y="99"/>
                  </a:lnTo>
                  <a:lnTo>
                    <a:pt x="1240" y="94"/>
                  </a:lnTo>
                  <a:lnTo>
                    <a:pt x="1239" y="89"/>
                  </a:lnTo>
                  <a:lnTo>
                    <a:pt x="1237" y="84"/>
                  </a:lnTo>
                  <a:lnTo>
                    <a:pt x="1235" y="79"/>
                  </a:lnTo>
                  <a:lnTo>
                    <a:pt x="1233" y="75"/>
                  </a:lnTo>
                  <a:lnTo>
                    <a:pt x="1230" y="70"/>
                  </a:lnTo>
                  <a:lnTo>
                    <a:pt x="1226" y="66"/>
                  </a:lnTo>
                  <a:lnTo>
                    <a:pt x="1223" y="62"/>
                  </a:lnTo>
                  <a:lnTo>
                    <a:pt x="1218" y="59"/>
                  </a:lnTo>
                  <a:lnTo>
                    <a:pt x="1213" y="55"/>
                  </a:lnTo>
                  <a:lnTo>
                    <a:pt x="1208" y="52"/>
                  </a:lnTo>
                  <a:lnTo>
                    <a:pt x="1196" y="47"/>
                  </a:lnTo>
                  <a:lnTo>
                    <a:pt x="1190" y="44"/>
                  </a:lnTo>
                  <a:lnTo>
                    <a:pt x="1182" y="42"/>
                  </a:lnTo>
                  <a:lnTo>
                    <a:pt x="1166" y="38"/>
                  </a:lnTo>
                  <a:lnTo>
                    <a:pt x="1148" y="35"/>
                  </a:lnTo>
                  <a:lnTo>
                    <a:pt x="1128" y="32"/>
                  </a:lnTo>
                  <a:lnTo>
                    <a:pt x="1117" y="31"/>
                  </a:lnTo>
                  <a:lnTo>
                    <a:pt x="1105" y="31"/>
                  </a:lnTo>
                  <a:lnTo>
                    <a:pt x="1093" y="30"/>
                  </a:lnTo>
                  <a:lnTo>
                    <a:pt x="1080" y="30"/>
                  </a:lnTo>
                  <a:lnTo>
                    <a:pt x="1052" y="30"/>
                  </a:lnTo>
                  <a:lnTo>
                    <a:pt x="1036" y="30"/>
                  </a:lnTo>
                  <a:lnTo>
                    <a:pt x="1019" y="31"/>
                  </a:lnTo>
                  <a:lnTo>
                    <a:pt x="1003" y="32"/>
                  </a:lnTo>
                  <a:lnTo>
                    <a:pt x="987" y="33"/>
                  </a:lnTo>
                  <a:lnTo>
                    <a:pt x="971" y="35"/>
                  </a:lnTo>
                  <a:lnTo>
                    <a:pt x="955" y="38"/>
                  </a:lnTo>
                  <a:lnTo>
                    <a:pt x="923" y="44"/>
                  </a:lnTo>
                  <a:lnTo>
                    <a:pt x="908" y="47"/>
                  </a:lnTo>
                  <a:lnTo>
                    <a:pt x="892" y="51"/>
                  </a:lnTo>
                  <a:lnTo>
                    <a:pt x="877" y="55"/>
                  </a:lnTo>
                  <a:lnTo>
                    <a:pt x="862" y="60"/>
                  </a:lnTo>
                  <a:lnTo>
                    <a:pt x="847" y="65"/>
                  </a:lnTo>
                  <a:lnTo>
                    <a:pt x="832" y="71"/>
                  </a:lnTo>
                  <a:lnTo>
                    <a:pt x="817" y="77"/>
                  </a:lnTo>
                  <a:lnTo>
                    <a:pt x="802" y="83"/>
                  </a:lnTo>
                  <a:lnTo>
                    <a:pt x="788" y="90"/>
                  </a:lnTo>
                  <a:lnTo>
                    <a:pt x="773" y="97"/>
                  </a:lnTo>
                  <a:lnTo>
                    <a:pt x="759" y="105"/>
                  </a:lnTo>
                  <a:lnTo>
                    <a:pt x="745" y="113"/>
                  </a:lnTo>
                  <a:lnTo>
                    <a:pt x="731" y="121"/>
                  </a:lnTo>
                  <a:lnTo>
                    <a:pt x="717" y="130"/>
                  </a:lnTo>
                  <a:lnTo>
                    <a:pt x="703" y="139"/>
                  </a:lnTo>
                  <a:lnTo>
                    <a:pt x="690" y="149"/>
                  </a:lnTo>
                  <a:lnTo>
                    <a:pt x="676" y="159"/>
                  </a:lnTo>
                  <a:lnTo>
                    <a:pt x="663" y="170"/>
                  </a:lnTo>
                  <a:lnTo>
                    <a:pt x="637" y="192"/>
                  </a:lnTo>
                  <a:lnTo>
                    <a:pt x="624" y="204"/>
                  </a:lnTo>
                  <a:lnTo>
                    <a:pt x="611" y="216"/>
                  </a:lnTo>
                  <a:lnTo>
                    <a:pt x="598" y="228"/>
                  </a:lnTo>
                  <a:lnTo>
                    <a:pt x="586" y="241"/>
                  </a:lnTo>
                  <a:lnTo>
                    <a:pt x="570" y="259"/>
                  </a:lnTo>
                  <a:lnTo>
                    <a:pt x="555" y="277"/>
                  </a:lnTo>
                  <a:lnTo>
                    <a:pt x="540" y="295"/>
                  </a:lnTo>
                  <a:lnTo>
                    <a:pt x="526" y="314"/>
                  </a:lnTo>
                  <a:lnTo>
                    <a:pt x="512" y="332"/>
                  </a:lnTo>
                  <a:lnTo>
                    <a:pt x="500" y="351"/>
                  </a:lnTo>
                  <a:lnTo>
                    <a:pt x="488" y="371"/>
                  </a:lnTo>
                  <a:lnTo>
                    <a:pt x="476" y="390"/>
                  </a:lnTo>
                  <a:lnTo>
                    <a:pt x="465" y="410"/>
                  </a:lnTo>
                  <a:lnTo>
                    <a:pt x="455" y="430"/>
                  </a:lnTo>
                  <a:lnTo>
                    <a:pt x="446" y="451"/>
                  </a:lnTo>
                  <a:lnTo>
                    <a:pt x="437" y="471"/>
                  </a:lnTo>
                  <a:lnTo>
                    <a:pt x="429" y="492"/>
                  </a:lnTo>
                  <a:lnTo>
                    <a:pt x="421" y="513"/>
                  </a:lnTo>
                  <a:lnTo>
                    <a:pt x="418" y="524"/>
                  </a:lnTo>
                  <a:lnTo>
                    <a:pt x="415" y="535"/>
                  </a:lnTo>
                  <a:lnTo>
                    <a:pt x="408" y="557"/>
                  </a:lnTo>
                  <a:lnTo>
                    <a:pt x="397" y="580"/>
                  </a:lnTo>
                  <a:lnTo>
                    <a:pt x="383" y="606"/>
                  </a:lnTo>
                  <a:lnTo>
                    <a:pt x="375" y="619"/>
                  </a:lnTo>
                  <a:lnTo>
                    <a:pt x="367" y="632"/>
                  </a:lnTo>
                  <a:lnTo>
                    <a:pt x="358" y="645"/>
                  </a:lnTo>
                  <a:lnTo>
                    <a:pt x="349" y="658"/>
                  </a:lnTo>
                  <a:lnTo>
                    <a:pt x="340" y="670"/>
                  </a:lnTo>
                  <a:lnTo>
                    <a:pt x="329" y="683"/>
                  </a:lnTo>
                  <a:lnTo>
                    <a:pt x="319" y="694"/>
                  </a:lnTo>
                  <a:lnTo>
                    <a:pt x="313" y="700"/>
                  </a:lnTo>
                  <a:lnTo>
                    <a:pt x="308" y="705"/>
                  </a:lnTo>
                  <a:lnTo>
                    <a:pt x="296" y="716"/>
                  </a:lnTo>
                  <a:lnTo>
                    <a:pt x="284" y="725"/>
                  </a:lnTo>
                  <a:lnTo>
                    <a:pt x="278" y="730"/>
                  </a:lnTo>
                  <a:lnTo>
                    <a:pt x="271" y="734"/>
                  </a:lnTo>
                  <a:lnTo>
                    <a:pt x="265" y="738"/>
                  </a:lnTo>
                  <a:lnTo>
                    <a:pt x="258" y="741"/>
                  </a:lnTo>
                  <a:lnTo>
                    <a:pt x="255" y="743"/>
                  </a:lnTo>
                  <a:lnTo>
                    <a:pt x="251" y="743"/>
                  </a:lnTo>
                  <a:lnTo>
                    <a:pt x="248" y="743"/>
                  </a:lnTo>
                  <a:lnTo>
                    <a:pt x="246" y="742"/>
                  </a:lnTo>
                  <a:lnTo>
                    <a:pt x="244" y="741"/>
                  </a:lnTo>
                  <a:lnTo>
                    <a:pt x="242" y="740"/>
                  </a:lnTo>
                  <a:lnTo>
                    <a:pt x="241" y="738"/>
                  </a:lnTo>
                  <a:lnTo>
                    <a:pt x="240" y="736"/>
                  </a:lnTo>
                  <a:lnTo>
                    <a:pt x="239" y="733"/>
                  </a:lnTo>
                  <a:lnTo>
                    <a:pt x="238" y="729"/>
                  </a:lnTo>
                  <a:lnTo>
                    <a:pt x="238" y="725"/>
                  </a:lnTo>
                  <a:lnTo>
                    <a:pt x="238" y="719"/>
                  </a:lnTo>
                  <a:lnTo>
                    <a:pt x="239" y="714"/>
                  </a:lnTo>
                  <a:lnTo>
                    <a:pt x="259" y="575"/>
                  </a:lnTo>
                  <a:lnTo>
                    <a:pt x="286" y="391"/>
                  </a:lnTo>
                  <a:lnTo>
                    <a:pt x="298" y="301"/>
                  </a:lnTo>
                  <a:lnTo>
                    <a:pt x="303" y="259"/>
                  </a:lnTo>
                  <a:lnTo>
                    <a:pt x="307" y="221"/>
                  </a:lnTo>
                  <a:lnTo>
                    <a:pt x="311" y="188"/>
                  </a:lnTo>
                  <a:lnTo>
                    <a:pt x="313" y="161"/>
                  </a:lnTo>
                  <a:lnTo>
                    <a:pt x="314" y="149"/>
                  </a:lnTo>
                  <a:lnTo>
                    <a:pt x="314" y="140"/>
                  </a:lnTo>
                  <a:lnTo>
                    <a:pt x="314" y="132"/>
                  </a:lnTo>
                  <a:lnTo>
                    <a:pt x="314" y="127"/>
                  </a:lnTo>
                  <a:lnTo>
                    <a:pt x="312" y="114"/>
                  </a:lnTo>
                  <a:lnTo>
                    <a:pt x="310" y="98"/>
                  </a:lnTo>
                  <a:lnTo>
                    <a:pt x="305" y="79"/>
                  </a:lnTo>
                  <a:lnTo>
                    <a:pt x="302" y="69"/>
                  </a:lnTo>
                  <a:lnTo>
                    <a:pt x="300" y="65"/>
                  </a:lnTo>
                  <a:lnTo>
                    <a:pt x="298" y="60"/>
                  </a:lnTo>
                  <a:lnTo>
                    <a:pt x="293" y="50"/>
                  </a:lnTo>
                  <a:lnTo>
                    <a:pt x="287" y="41"/>
                  </a:lnTo>
                  <a:lnTo>
                    <a:pt x="283" y="37"/>
                  </a:lnTo>
                  <a:lnTo>
                    <a:pt x="279" y="32"/>
                  </a:lnTo>
                  <a:lnTo>
                    <a:pt x="275" y="28"/>
                  </a:lnTo>
                  <a:lnTo>
                    <a:pt x="271" y="24"/>
                  </a:lnTo>
                  <a:lnTo>
                    <a:pt x="266" y="21"/>
                  </a:lnTo>
                  <a:lnTo>
                    <a:pt x="261" y="17"/>
                  </a:lnTo>
                  <a:lnTo>
                    <a:pt x="256" y="14"/>
                  </a:lnTo>
                  <a:lnTo>
                    <a:pt x="250" y="11"/>
                  </a:lnTo>
                  <a:lnTo>
                    <a:pt x="243" y="9"/>
                  </a:lnTo>
                  <a:lnTo>
                    <a:pt x="237" y="6"/>
                  </a:lnTo>
                  <a:lnTo>
                    <a:pt x="230" y="4"/>
                  </a:lnTo>
                  <a:lnTo>
                    <a:pt x="222" y="3"/>
                  </a:lnTo>
                  <a:lnTo>
                    <a:pt x="212" y="1"/>
                  </a:lnTo>
                  <a:lnTo>
                    <a:pt x="203" y="1"/>
                  </a:lnTo>
                  <a:lnTo>
                    <a:pt x="193" y="0"/>
                  </a:lnTo>
                  <a:lnTo>
                    <a:pt x="184" y="1"/>
                  </a:lnTo>
                  <a:lnTo>
                    <a:pt x="175" y="2"/>
                  </a:lnTo>
                  <a:lnTo>
                    <a:pt x="167" y="3"/>
                  </a:lnTo>
                  <a:lnTo>
                    <a:pt x="159" y="5"/>
                  </a:lnTo>
                  <a:lnTo>
                    <a:pt x="151" y="7"/>
                  </a:lnTo>
                  <a:lnTo>
                    <a:pt x="137" y="12"/>
                  </a:lnTo>
                  <a:lnTo>
                    <a:pt x="130" y="15"/>
                  </a:lnTo>
                  <a:lnTo>
                    <a:pt x="124" y="18"/>
                  </a:lnTo>
                  <a:lnTo>
                    <a:pt x="118" y="21"/>
                  </a:lnTo>
                  <a:lnTo>
                    <a:pt x="113" y="24"/>
                  </a:lnTo>
                  <a:lnTo>
                    <a:pt x="105" y="30"/>
                  </a:lnTo>
                  <a:lnTo>
                    <a:pt x="105" y="35"/>
                  </a:lnTo>
                  <a:lnTo>
                    <a:pt x="105" y="44"/>
                  </a:lnTo>
                  <a:lnTo>
                    <a:pt x="103" y="72"/>
                  </a:lnTo>
                  <a:lnTo>
                    <a:pt x="99" y="113"/>
                  </a:lnTo>
                  <a:lnTo>
                    <a:pt x="93" y="165"/>
                  </a:lnTo>
                  <a:lnTo>
                    <a:pt x="76" y="293"/>
                  </a:lnTo>
                  <a:lnTo>
                    <a:pt x="56" y="439"/>
                  </a:lnTo>
                  <a:lnTo>
                    <a:pt x="18" y="710"/>
                  </a:lnTo>
                  <a:lnTo>
                    <a:pt x="5" y="801"/>
                  </a:lnTo>
                  <a:lnTo>
                    <a:pt x="1" y="829"/>
                  </a:lnTo>
                  <a:lnTo>
                    <a:pt x="0" y="840"/>
                  </a:lnTo>
                  <a:lnTo>
                    <a:pt x="0" y="852"/>
                  </a:lnTo>
                  <a:lnTo>
                    <a:pt x="1" y="862"/>
                  </a:lnTo>
                  <a:lnTo>
                    <a:pt x="2" y="872"/>
                  </a:lnTo>
                  <a:lnTo>
                    <a:pt x="4" y="882"/>
                  </a:lnTo>
                  <a:lnTo>
                    <a:pt x="6" y="891"/>
                  </a:lnTo>
                  <a:lnTo>
                    <a:pt x="8" y="899"/>
                  </a:lnTo>
                  <a:lnTo>
                    <a:pt x="14" y="914"/>
                  </a:lnTo>
                  <a:lnTo>
                    <a:pt x="17" y="921"/>
                  </a:lnTo>
                  <a:lnTo>
                    <a:pt x="21" y="927"/>
                  </a:lnTo>
                  <a:lnTo>
                    <a:pt x="25" y="933"/>
                  </a:lnTo>
                  <a:lnTo>
                    <a:pt x="29" y="938"/>
                  </a:lnTo>
                  <a:lnTo>
                    <a:pt x="33" y="943"/>
                  </a:lnTo>
                  <a:lnTo>
                    <a:pt x="37" y="947"/>
                  </a:lnTo>
                  <a:lnTo>
                    <a:pt x="42" y="951"/>
                  </a:lnTo>
                  <a:lnTo>
                    <a:pt x="47" y="955"/>
                  </a:lnTo>
                  <a:lnTo>
                    <a:pt x="56" y="961"/>
                  </a:lnTo>
                  <a:lnTo>
                    <a:pt x="66" y="965"/>
                  </a:lnTo>
                  <a:lnTo>
                    <a:pt x="71" y="967"/>
                  </a:lnTo>
                  <a:lnTo>
                    <a:pt x="75" y="969"/>
                  </a:lnTo>
                  <a:lnTo>
                    <a:pt x="80" y="970"/>
                  </a:lnTo>
                  <a:lnTo>
                    <a:pt x="84" y="972"/>
                  </a:lnTo>
                  <a:lnTo>
                    <a:pt x="93" y="973"/>
                  </a:lnTo>
                  <a:lnTo>
                    <a:pt x="101" y="974"/>
                  </a:lnTo>
                  <a:lnTo>
                    <a:pt x="113" y="975"/>
                  </a:lnTo>
                  <a:lnTo>
                    <a:pt x="128" y="974"/>
                  </a:lnTo>
                  <a:lnTo>
                    <a:pt x="142" y="973"/>
                  </a:lnTo>
                  <a:lnTo>
                    <a:pt x="156" y="970"/>
                  </a:lnTo>
                  <a:lnTo>
                    <a:pt x="171" y="966"/>
                  </a:lnTo>
                  <a:lnTo>
                    <a:pt x="185" y="961"/>
                  </a:lnTo>
                  <a:lnTo>
                    <a:pt x="199" y="955"/>
                  </a:lnTo>
                  <a:lnTo>
                    <a:pt x="214" y="947"/>
                  </a:lnTo>
                  <a:lnTo>
                    <a:pt x="228" y="939"/>
                  </a:lnTo>
                  <a:lnTo>
                    <a:pt x="242" y="929"/>
                  </a:lnTo>
                  <a:lnTo>
                    <a:pt x="250" y="924"/>
                  </a:lnTo>
                  <a:lnTo>
                    <a:pt x="257" y="918"/>
                  </a:lnTo>
                  <a:lnTo>
                    <a:pt x="272" y="906"/>
                  </a:lnTo>
                  <a:lnTo>
                    <a:pt x="286" y="893"/>
                  </a:lnTo>
                  <a:lnTo>
                    <a:pt x="294" y="886"/>
                  </a:lnTo>
                  <a:lnTo>
                    <a:pt x="301" y="878"/>
                  </a:lnTo>
                  <a:lnTo>
                    <a:pt x="316" y="863"/>
                  </a:lnTo>
                  <a:lnTo>
                    <a:pt x="331" y="846"/>
                  </a:lnTo>
                  <a:lnTo>
                    <a:pt x="346" y="828"/>
                  </a:lnTo>
                  <a:lnTo>
                    <a:pt x="367" y="802"/>
                  </a:lnTo>
                  <a:lnTo>
                    <a:pt x="384" y="780"/>
                  </a:lnTo>
                  <a:lnTo>
                    <a:pt x="386" y="800"/>
                  </a:lnTo>
                  <a:lnTo>
                    <a:pt x="387" y="810"/>
                  </a:lnTo>
                  <a:lnTo>
                    <a:pt x="389" y="820"/>
                  </a:lnTo>
                  <a:lnTo>
                    <a:pt x="391" y="829"/>
                  </a:lnTo>
                  <a:lnTo>
                    <a:pt x="393" y="839"/>
                  </a:lnTo>
                  <a:lnTo>
                    <a:pt x="396" y="848"/>
                  </a:lnTo>
                  <a:lnTo>
                    <a:pt x="400" y="858"/>
                  </a:lnTo>
                  <a:lnTo>
                    <a:pt x="403" y="867"/>
                  </a:lnTo>
                  <a:lnTo>
                    <a:pt x="408" y="877"/>
                  </a:lnTo>
                  <a:lnTo>
                    <a:pt x="413" y="886"/>
                  </a:lnTo>
                  <a:lnTo>
                    <a:pt x="418" y="895"/>
                  </a:lnTo>
                  <a:lnTo>
                    <a:pt x="425" y="904"/>
                  </a:lnTo>
                  <a:lnTo>
                    <a:pt x="432" y="913"/>
                  </a:lnTo>
                  <a:lnTo>
                    <a:pt x="439" y="921"/>
                  </a:lnTo>
                  <a:lnTo>
                    <a:pt x="447" y="930"/>
                  </a:lnTo>
                  <a:lnTo>
                    <a:pt x="413" y="959"/>
                  </a:lnTo>
                  <a:lnTo>
                    <a:pt x="380" y="987"/>
                  </a:lnTo>
                  <a:lnTo>
                    <a:pt x="349" y="1015"/>
                  </a:lnTo>
                  <a:lnTo>
                    <a:pt x="320" y="1042"/>
                  </a:lnTo>
                  <a:lnTo>
                    <a:pt x="293" y="1070"/>
                  </a:lnTo>
                  <a:lnTo>
                    <a:pt x="267" y="1098"/>
                  </a:lnTo>
                  <a:lnTo>
                    <a:pt x="255" y="1112"/>
                  </a:lnTo>
                  <a:lnTo>
                    <a:pt x="244" y="1125"/>
                  </a:lnTo>
                  <a:lnTo>
                    <a:pt x="233" y="1139"/>
                  </a:lnTo>
                  <a:lnTo>
                    <a:pt x="223" y="1153"/>
                  </a:lnTo>
                  <a:lnTo>
                    <a:pt x="213" y="1167"/>
                  </a:lnTo>
                  <a:lnTo>
                    <a:pt x="203" y="1180"/>
                  </a:lnTo>
                  <a:lnTo>
                    <a:pt x="194" y="1194"/>
                  </a:lnTo>
                  <a:lnTo>
                    <a:pt x="186" y="1208"/>
                  </a:lnTo>
                  <a:lnTo>
                    <a:pt x="179" y="1222"/>
                  </a:lnTo>
                  <a:lnTo>
                    <a:pt x="171" y="1236"/>
                  </a:lnTo>
                  <a:lnTo>
                    <a:pt x="165" y="1250"/>
                  </a:lnTo>
                  <a:lnTo>
                    <a:pt x="159" y="1264"/>
                  </a:lnTo>
                  <a:lnTo>
                    <a:pt x="154" y="1278"/>
                  </a:lnTo>
                  <a:lnTo>
                    <a:pt x="149" y="1293"/>
                  </a:lnTo>
                  <a:lnTo>
                    <a:pt x="145" y="1307"/>
                  </a:lnTo>
                  <a:lnTo>
                    <a:pt x="142" y="1322"/>
                  </a:lnTo>
                  <a:lnTo>
                    <a:pt x="139" y="1336"/>
                  </a:lnTo>
                  <a:lnTo>
                    <a:pt x="137" y="1351"/>
                  </a:lnTo>
                  <a:lnTo>
                    <a:pt x="136" y="1366"/>
                  </a:lnTo>
                  <a:lnTo>
                    <a:pt x="135" y="1381"/>
                  </a:lnTo>
                  <a:lnTo>
                    <a:pt x="135" y="1398"/>
                  </a:lnTo>
                  <a:lnTo>
                    <a:pt x="136" y="1415"/>
                  </a:lnTo>
                  <a:lnTo>
                    <a:pt x="137" y="1431"/>
                  </a:lnTo>
                  <a:lnTo>
                    <a:pt x="140" y="1447"/>
                  </a:lnTo>
                  <a:lnTo>
                    <a:pt x="141" y="1454"/>
                  </a:lnTo>
                  <a:lnTo>
                    <a:pt x="143" y="1462"/>
                  </a:lnTo>
                  <a:lnTo>
                    <a:pt x="146" y="1477"/>
                  </a:lnTo>
                  <a:lnTo>
                    <a:pt x="151" y="1492"/>
                  </a:lnTo>
                  <a:lnTo>
                    <a:pt x="156" y="1507"/>
                  </a:lnTo>
                  <a:lnTo>
                    <a:pt x="161" y="1521"/>
                  </a:lnTo>
                  <a:lnTo>
                    <a:pt x="168" y="1534"/>
                  </a:lnTo>
                  <a:lnTo>
                    <a:pt x="175" y="1548"/>
                  </a:lnTo>
                  <a:lnTo>
                    <a:pt x="183" y="1561"/>
                  </a:lnTo>
                  <a:lnTo>
                    <a:pt x="192" y="1574"/>
                  </a:lnTo>
                  <a:lnTo>
                    <a:pt x="201" y="1586"/>
                  </a:lnTo>
                  <a:lnTo>
                    <a:pt x="211" y="1598"/>
                  </a:lnTo>
                  <a:lnTo>
                    <a:pt x="222" y="1610"/>
                  </a:lnTo>
                  <a:lnTo>
                    <a:pt x="234" y="1621"/>
                  </a:lnTo>
                  <a:lnTo>
                    <a:pt x="245" y="1631"/>
                  </a:lnTo>
                  <a:lnTo>
                    <a:pt x="251" y="1636"/>
                  </a:lnTo>
                  <a:lnTo>
                    <a:pt x="258" y="1641"/>
                  </a:lnTo>
                  <a:lnTo>
                    <a:pt x="270" y="1650"/>
                  </a:lnTo>
                  <a:lnTo>
                    <a:pt x="277" y="1654"/>
                  </a:lnTo>
                  <a:lnTo>
                    <a:pt x="283" y="1659"/>
                  </a:lnTo>
                  <a:lnTo>
                    <a:pt x="297" y="1666"/>
                  </a:lnTo>
                  <a:lnTo>
                    <a:pt x="310" y="1673"/>
                  </a:lnTo>
                  <a:lnTo>
                    <a:pt x="324" y="1679"/>
                  </a:lnTo>
                  <a:lnTo>
                    <a:pt x="339" y="1685"/>
                  </a:lnTo>
                  <a:lnTo>
                    <a:pt x="354" y="1690"/>
                  </a:lnTo>
                  <a:lnTo>
                    <a:pt x="369" y="1694"/>
                  </a:lnTo>
                  <a:lnTo>
                    <a:pt x="385" y="1697"/>
                  </a:lnTo>
                  <a:lnTo>
                    <a:pt x="401" y="1700"/>
                  </a:lnTo>
                  <a:lnTo>
                    <a:pt x="417" y="1702"/>
                  </a:lnTo>
                  <a:lnTo>
                    <a:pt x="434" y="1703"/>
                  </a:lnTo>
                  <a:lnTo>
                    <a:pt x="451" y="1703"/>
                  </a:lnTo>
                  <a:lnTo>
                    <a:pt x="483" y="1702"/>
                  </a:lnTo>
                  <a:lnTo>
                    <a:pt x="500" y="1701"/>
                  </a:lnTo>
                  <a:lnTo>
                    <a:pt x="516" y="1700"/>
                  </a:lnTo>
                  <a:lnTo>
                    <a:pt x="548" y="1695"/>
                  </a:lnTo>
                  <a:lnTo>
                    <a:pt x="565" y="1692"/>
                  </a:lnTo>
                  <a:lnTo>
                    <a:pt x="581" y="1689"/>
                  </a:lnTo>
                  <a:lnTo>
                    <a:pt x="597" y="1685"/>
                  </a:lnTo>
                  <a:lnTo>
                    <a:pt x="613" y="1681"/>
                  </a:lnTo>
                  <a:lnTo>
                    <a:pt x="629" y="1676"/>
                  </a:lnTo>
                  <a:lnTo>
                    <a:pt x="645" y="1671"/>
                  </a:lnTo>
                  <a:lnTo>
                    <a:pt x="676" y="1659"/>
                  </a:lnTo>
                  <a:lnTo>
                    <a:pt x="692" y="1652"/>
                  </a:lnTo>
                  <a:lnTo>
                    <a:pt x="708" y="1645"/>
                  </a:lnTo>
                  <a:lnTo>
                    <a:pt x="723" y="1637"/>
                  </a:lnTo>
                  <a:lnTo>
                    <a:pt x="739" y="1629"/>
                  </a:lnTo>
                  <a:lnTo>
                    <a:pt x="754" y="1621"/>
                  </a:lnTo>
                  <a:lnTo>
                    <a:pt x="770" y="1612"/>
                  </a:lnTo>
                  <a:lnTo>
                    <a:pt x="785" y="1602"/>
                  </a:lnTo>
                  <a:lnTo>
                    <a:pt x="800" y="1592"/>
                  </a:lnTo>
                  <a:lnTo>
                    <a:pt x="816" y="1582"/>
                  </a:lnTo>
                  <a:lnTo>
                    <a:pt x="831" y="1571"/>
                  </a:lnTo>
                  <a:lnTo>
                    <a:pt x="846" y="1560"/>
                  </a:lnTo>
                  <a:lnTo>
                    <a:pt x="861" y="1548"/>
                  </a:lnTo>
                  <a:lnTo>
                    <a:pt x="891" y="1523"/>
                  </a:lnTo>
                  <a:lnTo>
                    <a:pt x="906" y="1510"/>
                  </a:lnTo>
                  <a:lnTo>
                    <a:pt x="921" y="1497"/>
                  </a:lnTo>
                  <a:lnTo>
                    <a:pt x="935" y="1483"/>
                  </a:lnTo>
                  <a:lnTo>
                    <a:pt x="950" y="1468"/>
                  </a:lnTo>
                  <a:lnTo>
                    <a:pt x="963" y="1455"/>
                  </a:lnTo>
                  <a:lnTo>
                    <a:pt x="975" y="1442"/>
                  </a:lnTo>
                  <a:lnTo>
                    <a:pt x="986" y="1428"/>
                  </a:lnTo>
                  <a:lnTo>
                    <a:pt x="998" y="1414"/>
                  </a:lnTo>
                  <a:lnTo>
                    <a:pt x="1008" y="1400"/>
                  </a:lnTo>
                  <a:lnTo>
                    <a:pt x="1018" y="1385"/>
                  </a:lnTo>
                  <a:lnTo>
                    <a:pt x="1028" y="1371"/>
                  </a:lnTo>
                  <a:lnTo>
                    <a:pt x="1037" y="1356"/>
                  </a:lnTo>
                  <a:lnTo>
                    <a:pt x="1046" y="1341"/>
                  </a:lnTo>
                  <a:lnTo>
                    <a:pt x="1055" y="1325"/>
                  </a:lnTo>
                  <a:lnTo>
                    <a:pt x="1063" y="1310"/>
                  </a:lnTo>
                  <a:lnTo>
                    <a:pt x="1070" y="1294"/>
                  </a:lnTo>
                  <a:lnTo>
                    <a:pt x="1078" y="1278"/>
                  </a:lnTo>
                  <a:lnTo>
                    <a:pt x="1085" y="1262"/>
                  </a:lnTo>
                  <a:lnTo>
                    <a:pt x="1098" y="1230"/>
                  </a:lnTo>
                  <a:lnTo>
                    <a:pt x="1103" y="1213"/>
                  </a:lnTo>
                  <a:lnTo>
                    <a:pt x="1109" y="1195"/>
                  </a:lnTo>
                  <a:lnTo>
                    <a:pt x="1114" y="1176"/>
                  </a:lnTo>
                  <a:lnTo>
                    <a:pt x="1119" y="1156"/>
                  </a:lnTo>
                  <a:lnTo>
                    <a:pt x="1123" y="1135"/>
                  </a:lnTo>
                  <a:lnTo>
                    <a:pt x="1128" y="1112"/>
                  </a:lnTo>
                  <a:lnTo>
                    <a:pt x="1135" y="1064"/>
                  </a:lnTo>
                  <a:lnTo>
                    <a:pt x="1142" y="1014"/>
                  </a:lnTo>
                  <a:lnTo>
                    <a:pt x="1149" y="961"/>
                  </a:lnTo>
                  <a:lnTo>
                    <a:pt x="1155" y="905"/>
                  </a:lnTo>
                  <a:lnTo>
                    <a:pt x="1161" y="849"/>
                  </a:lnTo>
                  <a:lnTo>
                    <a:pt x="1168" y="768"/>
                  </a:lnTo>
                  <a:lnTo>
                    <a:pt x="1174" y="692"/>
                  </a:lnTo>
                  <a:lnTo>
                    <a:pt x="1186" y="561"/>
                  </a:lnTo>
                  <a:lnTo>
                    <a:pt x="1194" y="471"/>
                  </a:lnTo>
                  <a:lnTo>
                    <a:pt x="1198" y="438"/>
                  </a:lnTo>
                  <a:lnTo>
                    <a:pt x="1213" y="419"/>
                  </a:lnTo>
                  <a:lnTo>
                    <a:pt x="1222" y="409"/>
                  </a:lnTo>
                  <a:lnTo>
                    <a:pt x="1231" y="399"/>
                  </a:lnTo>
                  <a:lnTo>
                    <a:pt x="1253" y="377"/>
                  </a:lnTo>
                  <a:lnTo>
                    <a:pt x="1279" y="352"/>
                  </a:lnTo>
                  <a:lnTo>
                    <a:pt x="1294" y="339"/>
                  </a:lnTo>
                  <a:lnTo>
                    <a:pt x="1310" y="326"/>
                  </a:lnTo>
                  <a:lnTo>
                    <a:pt x="1343" y="298"/>
                  </a:lnTo>
                  <a:lnTo>
                    <a:pt x="1382" y="267"/>
                  </a:lnTo>
                  <a:lnTo>
                    <a:pt x="1403" y="251"/>
                  </a:lnTo>
                  <a:lnTo>
                    <a:pt x="1425" y="235"/>
                  </a:lnTo>
                  <a:lnTo>
                    <a:pt x="1426" y="235"/>
                  </a:lnTo>
                  <a:lnTo>
                    <a:pt x="1420" y="320"/>
                  </a:lnTo>
                  <a:lnTo>
                    <a:pt x="1414" y="367"/>
                  </a:lnTo>
                  <a:lnTo>
                    <a:pt x="1368" y="781"/>
                  </a:lnTo>
                  <a:lnTo>
                    <a:pt x="1364" y="825"/>
                  </a:lnTo>
                  <a:lnTo>
                    <a:pt x="1363" y="843"/>
                  </a:lnTo>
                  <a:lnTo>
                    <a:pt x="1363" y="856"/>
                  </a:lnTo>
                  <a:lnTo>
                    <a:pt x="1363" y="869"/>
                  </a:lnTo>
                  <a:lnTo>
                    <a:pt x="1364" y="877"/>
                  </a:lnTo>
                  <a:lnTo>
                    <a:pt x="1365" y="885"/>
                  </a:lnTo>
                  <a:lnTo>
                    <a:pt x="1367" y="894"/>
                  </a:lnTo>
                  <a:lnTo>
                    <a:pt x="1370" y="904"/>
                  </a:lnTo>
                  <a:lnTo>
                    <a:pt x="1371" y="909"/>
                  </a:lnTo>
                  <a:lnTo>
                    <a:pt x="1373" y="914"/>
                  </a:lnTo>
                  <a:lnTo>
                    <a:pt x="1378" y="923"/>
                  </a:lnTo>
                  <a:lnTo>
                    <a:pt x="1383" y="933"/>
                  </a:lnTo>
                  <a:lnTo>
                    <a:pt x="1389" y="942"/>
                  </a:lnTo>
                  <a:lnTo>
                    <a:pt x="1396" y="950"/>
                  </a:lnTo>
                  <a:lnTo>
                    <a:pt x="1401" y="955"/>
                  </a:lnTo>
                  <a:lnTo>
                    <a:pt x="1405" y="958"/>
                  </a:lnTo>
                  <a:lnTo>
                    <a:pt x="1410" y="962"/>
                  </a:lnTo>
                  <a:lnTo>
                    <a:pt x="1415" y="966"/>
                  </a:lnTo>
                  <a:lnTo>
                    <a:pt x="1421" y="969"/>
                  </a:lnTo>
                  <a:lnTo>
                    <a:pt x="1427" y="972"/>
                  </a:lnTo>
                  <a:lnTo>
                    <a:pt x="1433" y="974"/>
                  </a:lnTo>
                  <a:lnTo>
                    <a:pt x="1439" y="976"/>
                  </a:lnTo>
                  <a:lnTo>
                    <a:pt x="1447" y="978"/>
                  </a:lnTo>
                  <a:lnTo>
                    <a:pt x="1454" y="980"/>
                  </a:lnTo>
                  <a:lnTo>
                    <a:pt x="1464" y="981"/>
                  </a:lnTo>
                  <a:lnTo>
                    <a:pt x="1474" y="982"/>
                  </a:lnTo>
                  <a:lnTo>
                    <a:pt x="1484" y="982"/>
                  </a:lnTo>
                  <a:lnTo>
                    <a:pt x="1494" y="981"/>
                  </a:lnTo>
                  <a:lnTo>
                    <a:pt x="1503" y="980"/>
                  </a:lnTo>
                  <a:lnTo>
                    <a:pt x="1512" y="978"/>
                  </a:lnTo>
                  <a:lnTo>
                    <a:pt x="1520" y="976"/>
                  </a:lnTo>
                  <a:lnTo>
                    <a:pt x="1529" y="974"/>
                  </a:lnTo>
                  <a:lnTo>
                    <a:pt x="1536" y="971"/>
                  </a:lnTo>
                  <a:lnTo>
                    <a:pt x="1543" y="968"/>
                  </a:lnTo>
                  <a:lnTo>
                    <a:pt x="1556" y="963"/>
                  </a:lnTo>
                  <a:lnTo>
                    <a:pt x="1565" y="957"/>
                  </a:lnTo>
                  <a:lnTo>
                    <a:pt x="1572" y="952"/>
                  </a:lnTo>
                  <a:lnTo>
                    <a:pt x="1571" y="950"/>
                  </a:lnTo>
                  <a:lnTo>
                    <a:pt x="1571" y="947"/>
                  </a:lnTo>
                  <a:lnTo>
                    <a:pt x="1571" y="936"/>
                  </a:lnTo>
                  <a:lnTo>
                    <a:pt x="1571" y="922"/>
                  </a:lnTo>
                  <a:lnTo>
                    <a:pt x="1573" y="904"/>
                  </a:lnTo>
                  <a:lnTo>
                    <a:pt x="1575" y="883"/>
                  </a:lnTo>
                  <a:lnTo>
                    <a:pt x="1578" y="860"/>
                  </a:lnTo>
                  <a:lnTo>
                    <a:pt x="1584" y="810"/>
                  </a:lnTo>
                  <a:lnTo>
                    <a:pt x="1590" y="761"/>
                  </a:lnTo>
                  <a:lnTo>
                    <a:pt x="1596" y="719"/>
                  </a:lnTo>
                  <a:lnTo>
                    <a:pt x="1602" y="679"/>
                  </a:lnTo>
                  <a:lnTo>
                    <a:pt x="1604" y="661"/>
                  </a:lnTo>
                  <a:lnTo>
                    <a:pt x="1607" y="643"/>
                  </a:lnTo>
                  <a:lnTo>
                    <a:pt x="1611" y="625"/>
                  </a:lnTo>
                  <a:lnTo>
                    <a:pt x="1616" y="607"/>
                  </a:lnTo>
                  <a:lnTo>
                    <a:pt x="1621" y="589"/>
                  </a:lnTo>
                  <a:lnTo>
                    <a:pt x="1626" y="570"/>
                  </a:lnTo>
                  <a:lnTo>
                    <a:pt x="1633" y="552"/>
                  </a:lnTo>
                  <a:lnTo>
                    <a:pt x="1640" y="533"/>
                  </a:lnTo>
                  <a:lnTo>
                    <a:pt x="1648" y="514"/>
                  </a:lnTo>
                  <a:lnTo>
                    <a:pt x="1656" y="495"/>
                  </a:lnTo>
                  <a:lnTo>
                    <a:pt x="1665" y="476"/>
                  </a:lnTo>
                  <a:lnTo>
                    <a:pt x="1675" y="457"/>
                  </a:lnTo>
                  <a:lnTo>
                    <a:pt x="1686" y="438"/>
                  </a:lnTo>
                  <a:lnTo>
                    <a:pt x="1697" y="418"/>
                  </a:lnTo>
                  <a:lnTo>
                    <a:pt x="1709" y="398"/>
                  </a:lnTo>
                  <a:lnTo>
                    <a:pt x="1722" y="379"/>
                  </a:lnTo>
                  <a:lnTo>
                    <a:pt x="1737" y="355"/>
                  </a:lnTo>
                  <a:lnTo>
                    <a:pt x="1752" y="334"/>
                  </a:lnTo>
                  <a:lnTo>
                    <a:pt x="1766" y="315"/>
                  </a:lnTo>
                  <a:lnTo>
                    <a:pt x="1779" y="298"/>
                  </a:lnTo>
                  <a:lnTo>
                    <a:pt x="1792" y="283"/>
                  </a:lnTo>
                  <a:lnTo>
                    <a:pt x="1804" y="269"/>
                  </a:lnTo>
                  <a:lnTo>
                    <a:pt x="1814" y="258"/>
                  </a:lnTo>
                  <a:lnTo>
                    <a:pt x="1824" y="249"/>
                  </a:lnTo>
                  <a:lnTo>
                    <a:pt x="1833" y="241"/>
                  </a:lnTo>
                  <a:lnTo>
                    <a:pt x="1842" y="235"/>
                  </a:lnTo>
                  <a:lnTo>
                    <a:pt x="1846" y="233"/>
                  </a:lnTo>
                  <a:lnTo>
                    <a:pt x="1849" y="231"/>
                  </a:lnTo>
                  <a:lnTo>
                    <a:pt x="1856" y="228"/>
                  </a:lnTo>
                  <a:lnTo>
                    <a:pt x="1859" y="227"/>
                  </a:lnTo>
                  <a:lnTo>
                    <a:pt x="1861" y="227"/>
                  </a:lnTo>
                  <a:lnTo>
                    <a:pt x="1864" y="227"/>
                  </a:lnTo>
                  <a:lnTo>
                    <a:pt x="1866" y="227"/>
                  </a:lnTo>
                  <a:lnTo>
                    <a:pt x="1868" y="228"/>
                  </a:lnTo>
                  <a:lnTo>
                    <a:pt x="1870" y="229"/>
                  </a:lnTo>
                  <a:lnTo>
                    <a:pt x="1872" y="230"/>
                  </a:lnTo>
                  <a:lnTo>
                    <a:pt x="1873" y="232"/>
                  </a:lnTo>
                  <a:lnTo>
                    <a:pt x="1874" y="234"/>
                  </a:lnTo>
                  <a:lnTo>
                    <a:pt x="1875" y="237"/>
                  </a:lnTo>
                  <a:lnTo>
                    <a:pt x="1877" y="244"/>
                  </a:lnTo>
                  <a:lnTo>
                    <a:pt x="1877" y="248"/>
                  </a:lnTo>
                  <a:lnTo>
                    <a:pt x="1878" y="253"/>
                  </a:lnTo>
                  <a:lnTo>
                    <a:pt x="1878" y="263"/>
                  </a:lnTo>
                  <a:lnTo>
                    <a:pt x="1878" y="275"/>
                  </a:lnTo>
                  <a:lnTo>
                    <a:pt x="1878" y="287"/>
                  </a:lnTo>
                  <a:lnTo>
                    <a:pt x="1876" y="313"/>
                  </a:lnTo>
                  <a:lnTo>
                    <a:pt x="1874" y="338"/>
                  </a:lnTo>
                  <a:lnTo>
                    <a:pt x="1872" y="360"/>
                  </a:lnTo>
                  <a:lnTo>
                    <a:pt x="1870" y="380"/>
                  </a:lnTo>
                  <a:lnTo>
                    <a:pt x="1825" y="784"/>
                  </a:lnTo>
                  <a:lnTo>
                    <a:pt x="1823" y="811"/>
                  </a:lnTo>
                  <a:lnTo>
                    <a:pt x="1821" y="837"/>
                  </a:lnTo>
                  <a:lnTo>
                    <a:pt x="1820" y="856"/>
                  </a:lnTo>
                  <a:lnTo>
                    <a:pt x="1821" y="869"/>
                  </a:lnTo>
                  <a:lnTo>
                    <a:pt x="1821" y="877"/>
                  </a:lnTo>
                  <a:lnTo>
                    <a:pt x="1823" y="885"/>
                  </a:lnTo>
                  <a:lnTo>
                    <a:pt x="1825" y="894"/>
                  </a:lnTo>
                  <a:lnTo>
                    <a:pt x="1827" y="904"/>
                  </a:lnTo>
                  <a:lnTo>
                    <a:pt x="1829" y="909"/>
                  </a:lnTo>
                  <a:lnTo>
                    <a:pt x="1831" y="914"/>
                  </a:lnTo>
                  <a:lnTo>
                    <a:pt x="1835" y="923"/>
                  </a:lnTo>
                  <a:lnTo>
                    <a:pt x="1840" y="933"/>
                  </a:lnTo>
                  <a:lnTo>
                    <a:pt x="1846" y="942"/>
                  </a:lnTo>
                  <a:lnTo>
                    <a:pt x="1854" y="950"/>
                  </a:lnTo>
                  <a:lnTo>
                    <a:pt x="1858" y="955"/>
                  </a:lnTo>
                  <a:lnTo>
                    <a:pt x="1863" y="958"/>
                  </a:lnTo>
                  <a:lnTo>
                    <a:pt x="1867" y="962"/>
                  </a:lnTo>
                  <a:lnTo>
                    <a:pt x="1873" y="966"/>
                  </a:lnTo>
                  <a:lnTo>
                    <a:pt x="1878" y="969"/>
                  </a:lnTo>
                  <a:lnTo>
                    <a:pt x="1884" y="972"/>
                  </a:lnTo>
                  <a:lnTo>
                    <a:pt x="1890" y="974"/>
                  </a:lnTo>
                  <a:lnTo>
                    <a:pt x="1897" y="976"/>
                  </a:lnTo>
                  <a:lnTo>
                    <a:pt x="1904" y="978"/>
                  </a:lnTo>
                  <a:lnTo>
                    <a:pt x="1911" y="980"/>
                  </a:lnTo>
                  <a:lnTo>
                    <a:pt x="1922" y="981"/>
                  </a:lnTo>
                  <a:lnTo>
                    <a:pt x="1932" y="982"/>
                  </a:lnTo>
                  <a:lnTo>
                    <a:pt x="1943" y="982"/>
                  </a:lnTo>
                  <a:lnTo>
                    <a:pt x="1953" y="981"/>
                  </a:lnTo>
                  <a:lnTo>
                    <a:pt x="1963" y="979"/>
                  </a:lnTo>
                  <a:lnTo>
                    <a:pt x="1973" y="977"/>
                  </a:lnTo>
                  <a:lnTo>
                    <a:pt x="1982" y="975"/>
                  </a:lnTo>
                  <a:lnTo>
                    <a:pt x="1991" y="972"/>
                  </a:lnTo>
                  <a:lnTo>
                    <a:pt x="2007" y="966"/>
                  </a:lnTo>
                  <a:lnTo>
                    <a:pt x="2021" y="959"/>
                  </a:lnTo>
                  <a:lnTo>
                    <a:pt x="2032" y="953"/>
                  </a:lnTo>
                  <a:lnTo>
                    <a:pt x="2036" y="950"/>
                  </a:lnTo>
                  <a:lnTo>
                    <a:pt x="2040" y="947"/>
                  </a:lnTo>
                  <a:lnTo>
                    <a:pt x="2038" y="940"/>
                  </a:lnTo>
                  <a:lnTo>
                    <a:pt x="2038" y="928"/>
                  </a:lnTo>
                  <a:lnTo>
                    <a:pt x="2038" y="913"/>
                  </a:lnTo>
                  <a:lnTo>
                    <a:pt x="2039" y="895"/>
                  </a:lnTo>
                  <a:lnTo>
                    <a:pt x="2042" y="851"/>
                  </a:lnTo>
                  <a:lnTo>
                    <a:pt x="2047" y="804"/>
                  </a:lnTo>
                  <a:lnTo>
                    <a:pt x="2052" y="757"/>
                  </a:lnTo>
                  <a:lnTo>
                    <a:pt x="2056" y="717"/>
                  </a:lnTo>
                  <a:lnTo>
                    <a:pt x="2061" y="679"/>
                  </a:lnTo>
                  <a:lnTo>
                    <a:pt x="2063" y="661"/>
                  </a:lnTo>
                  <a:lnTo>
                    <a:pt x="2066" y="643"/>
                  </a:lnTo>
                  <a:lnTo>
                    <a:pt x="2070" y="625"/>
                  </a:lnTo>
                  <a:lnTo>
                    <a:pt x="2074" y="607"/>
                  </a:lnTo>
                  <a:lnTo>
                    <a:pt x="2080" y="589"/>
                  </a:lnTo>
                  <a:lnTo>
                    <a:pt x="2085" y="571"/>
                  </a:lnTo>
                  <a:lnTo>
                    <a:pt x="2092" y="552"/>
                  </a:lnTo>
                  <a:lnTo>
                    <a:pt x="2099" y="533"/>
                  </a:lnTo>
                  <a:lnTo>
                    <a:pt x="2107" y="515"/>
                  </a:lnTo>
                  <a:lnTo>
                    <a:pt x="2116" y="496"/>
                  </a:lnTo>
                  <a:lnTo>
                    <a:pt x="2125" y="476"/>
                  </a:lnTo>
                  <a:lnTo>
                    <a:pt x="2135" y="457"/>
                  </a:lnTo>
                  <a:lnTo>
                    <a:pt x="2146" y="438"/>
                  </a:lnTo>
                  <a:lnTo>
                    <a:pt x="2158" y="418"/>
                  </a:lnTo>
                  <a:lnTo>
                    <a:pt x="2170" y="399"/>
                  </a:lnTo>
                  <a:lnTo>
                    <a:pt x="2182" y="379"/>
                  </a:lnTo>
                  <a:lnTo>
                    <a:pt x="2198" y="356"/>
                  </a:lnTo>
                  <a:lnTo>
                    <a:pt x="2213" y="335"/>
                  </a:lnTo>
                  <a:lnTo>
                    <a:pt x="2228" y="316"/>
                  </a:lnTo>
                  <a:lnTo>
                    <a:pt x="2241" y="299"/>
                  </a:lnTo>
                  <a:lnTo>
                    <a:pt x="2254" y="284"/>
                  </a:lnTo>
                  <a:lnTo>
                    <a:pt x="2266" y="271"/>
                  </a:lnTo>
                  <a:lnTo>
                    <a:pt x="2276" y="260"/>
                  </a:lnTo>
                  <a:lnTo>
                    <a:pt x="2287" y="251"/>
                  </a:lnTo>
                  <a:lnTo>
                    <a:pt x="2296" y="244"/>
                  </a:lnTo>
                  <a:lnTo>
                    <a:pt x="2305" y="238"/>
                  </a:lnTo>
                  <a:lnTo>
                    <a:pt x="2308" y="235"/>
                  </a:lnTo>
                  <a:lnTo>
                    <a:pt x="2312" y="233"/>
                  </a:lnTo>
                  <a:lnTo>
                    <a:pt x="2319" y="231"/>
                  </a:lnTo>
                  <a:lnTo>
                    <a:pt x="2325" y="229"/>
                  </a:lnTo>
                  <a:lnTo>
                    <a:pt x="2330" y="229"/>
                  </a:lnTo>
                  <a:lnTo>
                    <a:pt x="2335" y="230"/>
                  </a:lnTo>
                  <a:lnTo>
                    <a:pt x="2337" y="231"/>
                  </a:lnTo>
                  <a:lnTo>
                    <a:pt x="2338" y="232"/>
                  </a:lnTo>
                  <a:lnTo>
                    <a:pt x="2340" y="234"/>
                  </a:lnTo>
                  <a:lnTo>
                    <a:pt x="2341" y="236"/>
                  </a:lnTo>
                  <a:lnTo>
                    <a:pt x="2342" y="240"/>
                  </a:lnTo>
                  <a:lnTo>
                    <a:pt x="2342" y="244"/>
                  </a:lnTo>
                  <a:lnTo>
                    <a:pt x="2343" y="254"/>
                  </a:lnTo>
                  <a:lnTo>
                    <a:pt x="2343" y="267"/>
                  </a:lnTo>
                  <a:lnTo>
                    <a:pt x="2342" y="281"/>
                  </a:lnTo>
                  <a:lnTo>
                    <a:pt x="2341" y="297"/>
                  </a:lnTo>
                  <a:lnTo>
                    <a:pt x="2338" y="330"/>
                  </a:lnTo>
                  <a:lnTo>
                    <a:pt x="2334" y="363"/>
                  </a:lnTo>
                  <a:lnTo>
                    <a:pt x="2330" y="391"/>
                  </a:lnTo>
                  <a:lnTo>
                    <a:pt x="2326" y="418"/>
                  </a:lnTo>
                  <a:lnTo>
                    <a:pt x="2293" y="634"/>
                  </a:lnTo>
                  <a:lnTo>
                    <a:pt x="2289" y="668"/>
                  </a:lnTo>
                  <a:lnTo>
                    <a:pt x="2284" y="700"/>
                  </a:lnTo>
                  <a:lnTo>
                    <a:pt x="2281" y="729"/>
                  </a:lnTo>
                  <a:lnTo>
                    <a:pt x="2278" y="756"/>
                  </a:lnTo>
                  <a:lnTo>
                    <a:pt x="2276" y="780"/>
                  </a:lnTo>
                  <a:lnTo>
                    <a:pt x="2274" y="803"/>
                  </a:lnTo>
                  <a:lnTo>
                    <a:pt x="2273" y="823"/>
                  </a:lnTo>
                  <a:lnTo>
                    <a:pt x="2273" y="841"/>
                  </a:lnTo>
                  <a:lnTo>
                    <a:pt x="2273" y="854"/>
                  </a:lnTo>
                  <a:lnTo>
                    <a:pt x="2274" y="866"/>
                  </a:lnTo>
                  <a:lnTo>
                    <a:pt x="2275" y="877"/>
                  </a:lnTo>
                  <a:lnTo>
                    <a:pt x="2277" y="888"/>
                  </a:lnTo>
                  <a:lnTo>
                    <a:pt x="2279" y="898"/>
                  </a:lnTo>
                  <a:lnTo>
                    <a:pt x="2282" y="907"/>
                  </a:lnTo>
                  <a:lnTo>
                    <a:pt x="2288" y="923"/>
                  </a:lnTo>
                  <a:lnTo>
                    <a:pt x="2292" y="931"/>
                  </a:lnTo>
                  <a:lnTo>
                    <a:pt x="2296" y="938"/>
                  </a:lnTo>
                  <a:lnTo>
                    <a:pt x="2300" y="944"/>
                  </a:lnTo>
                  <a:lnTo>
                    <a:pt x="2305" y="950"/>
                  </a:lnTo>
                  <a:lnTo>
                    <a:pt x="2307" y="953"/>
                  </a:lnTo>
                  <a:lnTo>
                    <a:pt x="2309" y="955"/>
                  </a:lnTo>
                  <a:lnTo>
                    <a:pt x="2314" y="960"/>
                  </a:lnTo>
                  <a:lnTo>
                    <a:pt x="2324" y="969"/>
                  </a:lnTo>
                  <a:lnTo>
                    <a:pt x="2335" y="975"/>
                  </a:lnTo>
                  <a:lnTo>
                    <a:pt x="2345" y="981"/>
                  </a:lnTo>
                  <a:lnTo>
                    <a:pt x="2356" y="985"/>
                  </a:lnTo>
                  <a:lnTo>
                    <a:pt x="2366" y="988"/>
                  </a:lnTo>
                  <a:lnTo>
                    <a:pt x="2375" y="989"/>
                  </a:lnTo>
                  <a:lnTo>
                    <a:pt x="2384" y="991"/>
                  </a:lnTo>
                  <a:lnTo>
                    <a:pt x="2398" y="991"/>
                  </a:lnTo>
                  <a:lnTo>
                    <a:pt x="2408" y="991"/>
                  </a:lnTo>
                  <a:lnTo>
                    <a:pt x="2418" y="990"/>
                  </a:lnTo>
                  <a:lnTo>
                    <a:pt x="2429" y="988"/>
                  </a:lnTo>
                  <a:lnTo>
                    <a:pt x="2439" y="985"/>
                  </a:lnTo>
                  <a:lnTo>
                    <a:pt x="2450" y="981"/>
                  </a:lnTo>
                  <a:lnTo>
                    <a:pt x="2462" y="977"/>
                  </a:lnTo>
                  <a:lnTo>
                    <a:pt x="2473" y="971"/>
                  </a:lnTo>
                  <a:lnTo>
                    <a:pt x="2485" y="965"/>
                  </a:lnTo>
                  <a:lnTo>
                    <a:pt x="2497" y="958"/>
                  </a:lnTo>
                  <a:lnTo>
                    <a:pt x="2509" y="950"/>
                  </a:lnTo>
                  <a:lnTo>
                    <a:pt x="2522" y="941"/>
                  </a:lnTo>
                  <a:lnTo>
                    <a:pt x="2535" y="931"/>
                  </a:lnTo>
                  <a:lnTo>
                    <a:pt x="2548" y="921"/>
                  </a:lnTo>
                  <a:lnTo>
                    <a:pt x="2562" y="909"/>
                  </a:lnTo>
                  <a:lnTo>
                    <a:pt x="2576" y="897"/>
                  </a:lnTo>
                  <a:lnTo>
                    <a:pt x="2590" y="883"/>
                  </a:lnTo>
                  <a:lnTo>
                    <a:pt x="2606" y="868"/>
                  </a:lnTo>
                  <a:lnTo>
                    <a:pt x="2620" y="854"/>
                  </a:lnTo>
                  <a:lnTo>
                    <a:pt x="2622" y="865"/>
                  </a:lnTo>
                  <a:lnTo>
                    <a:pt x="2626" y="875"/>
                  </a:lnTo>
                  <a:lnTo>
                    <a:pt x="2629" y="884"/>
                  </a:lnTo>
                  <a:lnTo>
                    <a:pt x="2633" y="893"/>
                  </a:lnTo>
                  <a:lnTo>
                    <a:pt x="2637" y="902"/>
                  </a:lnTo>
                  <a:lnTo>
                    <a:pt x="2641" y="910"/>
                  </a:lnTo>
                  <a:lnTo>
                    <a:pt x="2645" y="918"/>
                  </a:lnTo>
                  <a:lnTo>
                    <a:pt x="2650" y="925"/>
                  </a:lnTo>
                  <a:lnTo>
                    <a:pt x="2654" y="931"/>
                  </a:lnTo>
                  <a:lnTo>
                    <a:pt x="2659" y="938"/>
                  </a:lnTo>
                  <a:lnTo>
                    <a:pt x="2664" y="943"/>
                  </a:lnTo>
                  <a:lnTo>
                    <a:pt x="2669" y="949"/>
                  </a:lnTo>
                  <a:lnTo>
                    <a:pt x="2675" y="954"/>
                  </a:lnTo>
                  <a:lnTo>
                    <a:pt x="2680" y="958"/>
                  </a:lnTo>
                  <a:lnTo>
                    <a:pt x="2686" y="963"/>
                  </a:lnTo>
                  <a:lnTo>
                    <a:pt x="2691" y="966"/>
                  </a:lnTo>
                  <a:lnTo>
                    <a:pt x="2702" y="973"/>
                  </a:lnTo>
                  <a:lnTo>
                    <a:pt x="2714" y="979"/>
                  </a:lnTo>
                  <a:lnTo>
                    <a:pt x="2719" y="981"/>
                  </a:lnTo>
                  <a:lnTo>
                    <a:pt x="2725" y="983"/>
                  </a:lnTo>
                  <a:lnTo>
                    <a:pt x="2737" y="986"/>
                  </a:lnTo>
                  <a:lnTo>
                    <a:pt x="2748" y="989"/>
                  </a:lnTo>
                  <a:lnTo>
                    <a:pt x="2759" y="990"/>
                  </a:lnTo>
                  <a:lnTo>
                    <a:pt x="2770" y="991"/>
                  </a:lnTo>
                  <a:lnTo>
                    <a:pt x="2779" y="991"/>
                  </a:lnTo>
                  <a:lnTo>
                    <a:pt x="2793" y="991"/>
                  </a:lnTo>
                  <a:lnTo>
                    <a:pt x="2807" y="990"/>
                  </a:lnTo>
                  <a:lnTo>
                    <a:pt x="2821" y="987"/>
                  </a:lnTo>
                  <a:lnTo>
                    <a:pt x="2835" y="984"/>
                  </a:lnTo>
                  <a:lnTo>
                    <a:pt x="2850" y="980"/>
                  </a:lnTo>
                  <a:lnTo>
                    <a:pt x="2864" y="975"/>
                  </a:lnTo>
                  <a:lnTo>
                    <a:pt x="2879" y="969"/>
                  </a:lnTo>
                  <a:lnTo>
                    <a:pt x="2894" y="962"/>
                  </a:lnTo>
                  <a:lnTo>
                    <a:pt x="2909" y="954"/>
                  </a:lnTo>
                  <a:lnTo>
                    <a:pt x="2925" y="946"/>
                  </a:lnTo>
                  <a:lnTo>
                    <a:pt x="2940" y="936"/>
                  </a:lnTo>
                  <a:lnTo>
                    <a:pt x="2956" y="925"/>
                  </a:lnTo>
                  <a:lnTo>
                    <a:pt x="2973" y="914"/>
                  </a:lnTo>
                  <a:lnTo>
                    <a:pt x="2989" y="901"/>
                  </a:lnTo>
                  <a:lnTo>
                    <a:pt x="3006" y="888"/>
                  </a:lnTo>
                  <a:lnTo>
                    <a:pt x="3023" y="873"/>
                  </a:lnTo>
                  <a:lnTo>
                    <a:pt x="3038" y="860"/>
                  </a:lnTo>
                  <a:lnTo>
                    <a:pt x="3053" y="846"/>
                  </a:lnTo>
                  <a:lnTo>
                    <a:pt x="3067" y="832"/>
                  </a:lnTo>
                  <a:lnTo>
                    <a:pt x="3082" y="817"/>
                  </a:lnTo>
                  <a:lnTo>
                    <a:pt x="3096" y="801"/>
                  </a:lnTo>
                  <a:lnTo>
                    <a:pt x="3111" y="786"/>
                  </a:lnTo>
                  <a:lnTo>
                    <a:pt x="3125" y="769"/>
                  </a:lnTo>
                  <a:lnTo>
                    <a:pt x="3139" y="753"/>
                  </a:lnTo>
                  <a:lnTo>
                    <a:pt x="3136" y="775"/>
                  </a:lnTo>
                  <a:lnTo>
                    <a:pt x="3130" y="856"/>
                  </a:lnTo>
                  <a:lnTo>
                    <a:pt x="3130" y="867"/>
                  </a:lnTo>
                  <a:lnTo>
                    <a:pt x="3131" y="878"/>
                  </a:lnTo>
                  <a:lnTo>
                    <a:pt x="3132" y="888"/>
                  </a:lnTo>
                  <a:lnTo>
                    <a:pt x="3133" y="898"/>
                  </a:lnTo>
                  <a:lnTo>
                    <a:pt x="3135" y="907"/>
                  </a:lnTo>
                  <a:lnTo>
                    <a:pt x="3138" y="915"/>
                  </a:lnTo>
                  <a:lnTo>
                    <a:pt x="3140" y="923"/>
                  </a:lnTo>
                  <a:lnTo>
                    <a:pt x="3144" y="930"/>
                  </a:lnTo>
                  <a:lnTo>
                    <a:pt x="3147" y="937"/>
                  </a:lnTo>
                  <a:lnTo>
                    <a:pt x="3150" y="943"/>
                  </a:lnTo>
                  <a:lnTo>
                    <a:pt x="3154" y="949"/>
                  </a:lnTo>
                  <a:lnTo>
                    <a:pt x="3158" y="954"/>
                  </a:lnTo>
                  <a:lnTo>
                    <a:pt x="3163" y="959"/>
                  </a:lnTo>
                  <a:lnTo>
                    <a:pt x="3167" y="963"/>
                  </a:lnTo>
                  <a:lnTo>
                    <a:pt x="3172" y="967"/>
                  </a:lnTo>
                  <a:lnTo>
                    <a:pt x="3176" y="971"/>
                  </a:lnTo>
                  <a:lnTo>
                    <a:pt x="3186" y="977"/>
                  </a:lnTo>
                  <a:lnTo>
                    <a:pt x="3195" y="982"/>
                  </a:lnTo>
                  <a:lnTo>
                    <a:pt x="3200" y="984"/>
                  </a:lnTo>
                  <a:lnTo>
                    <a:pt x="3205" y="985"/>
                  </a:lnTo>
                  <a:lnTo>
                    <a:pt x="3209" y="987"/>
                  </a:lnTo>
                  <a:lnTo>
                    <a:pt x="3214" y="988"/>
                  </a:lnTo>
                  <a:lnTo>
                    <a:pt x="3223" y="990"/>
                  </a:lnTo>
                  <a:lnTo>
                    <a:pt x="3230" y="991"/>
                  </a:lnTo>
                  <a:lnTo>
                    <a:pt x="3243" y="991"/>
                  </a:lnTo>
                  <a:lnTo>
                    <a:pt x="3257" y="991"/>
                  </a:lnTo>
                  <a:lnTo>
                    <a:pt x="3272" y="989"/>
                  </a:lnTo>
                  <a:lnTo>
                    <a:pt x="3279" y="987"/>
                  </a:lnTo>
                  <a:lnTo>
                    <a:pt x="3286" y="985"/>
                  </a:lnTo>
                  <a:lnTo>
                    <a:pt x="3293" y="983"/>
                  </a:lnTo>
                  <a:lnTo>
                    <a:pt x="3300" y="980"/>
                  </a:lnTo>
                  <a:lnTo>
                    <a:pt x="3314" y="974"/>
                  </a:lnTo>
                  <a:lnTo>
                    <a:pt x="3321" y="971"/>
                  </a:lnTo>
                  <a:lnTo>
                    <a:pt x="3328" y="967"/>
                  </a:lnTo>
                  <a:lnTo>
                    <a:pt x="3335" y="963"/>
                  </a:lnTo>
                  <a:lnTo>
                    <a:pt x="3342" y="959"/>
                  </a:lnTo>
                  <a:lnTo>
                    <a:pt x="3357" y="949"/>
                  </a:lnTo>
                  <a:lnTo>
                    <a:pt x="3356" y="948"/>
                  </a:lnTo>
                  <a:lnTo>
                    <a:pt x="3354" y="946"/>
                  </a:lnTo>
                  <a:lnTo>
                    <a:pt x="3353" y="944"/>
                  </a:lnTo>
                  <a:lnTo>
                    <a:pt x="3352" y="940"/>
                  </a:lnTo>
                  <a:lnTo>
                    <a:pt x="3351" y="936"/>
                  </a:lnTo>
                  <a:lnTo>
                    <a:pt x="3350" y="924"/>
                  </a:lnTo>
                  <a:lnTo>
                    <a:pt x="3350" y="908"/>
                  </a:lnTo>
                  <a:lnTo>
                    <a:pt x="3351" y="889"/>
                  </a:lnTo>
                  <a:lnTo>
                    <a:pt x="3352" y="866"/>
                  </a:lnTo>
                  <a:lnTo>
                    <a:pt x="3357" y="813"/>
                  </a:lnTo>
                  <a:lnTo>
                    <a:pt x="3361" y="783"/>
                  </a:lnTo>
                  <a:lnTo>
                    <a:pt x="3365" y="751"/>
                  </a:lnTo>
                  <a:lnTo>
                    <a:pt x="3374" y="682"/>
                  </a:lnTo>
                  <a:lnTo>
                    <a:pt x="3384" y="608"/>
                  </a:lnTo>
                  <a:lnTo>
                    <a:pt x="3395" y="532"/>
                  </a:lnTo>
                  <a:lnTo>
                    <a:pt x="3419" y="383"/>
                  </a:lnTo>
                  <a:lnTo>
                    <a:pt x="3440" y="254"/>
                  </a:lnTo>
                  <a:lnTo>
                    <a:pt x="3461" y="128"/>
                  </a:lnTo>
                  <a:lnTo>
                    <a:pt x="3462" y="127"/>
                  </a:lnTo>
                  <a:lnTo>
                    <a:pt x="3462" y="122"/>
                  </a:lnTo>
                  <a:lnTo>
                    <a:pt x="3463" y="118"/>
                  </a:lnTo>
                  <a:lnTo>
                    <a:pt x="3463" y="110"/>
                  </a:lnTo>
                  <a:lnTo>
                    <a:pt x="3462" y="106"/>
                  </a:lnTo>
                  <a:lnTo>
                    <a:pt x="3461" y="102"/>
                  </a:lnTo>
                  <a:lnTo>
                    <a:pt x="3461" y="98"/>
                  </a:lnTo>
                  <a:lnTo>
                    <a:pt x="3459" y="95"/>
                  </a:lnTo>
                  <a:lnTo>
                    <a:pt x="3456" y="88"/>
                  </a:lnTo>
                  <a:lnTo>
                    <a:pt x="3452" y="82"/>
                  </a:lnTo>
                  <a:lnTo>
                    <a:pt x="3447" y="76"/>
                  </a:lnTo>
                  <a:lnTo>
                    <a:pt x="3441" y="70"/>
                  </a:lnTo>
                  <a:lnTo>
                    <a:pt x="3435" y="65"/>
                  </a:lnTo>
                  <a:lnTo>
                    <a:pt x="3432" y="63"/>
                  </a:lnTo>
                  <a:lnTo>
                    <a:pt x="3428" y="61"/>
                  </a:lnTo>
                  <a:lnTo>
                    <a:pt x="3420" y="57"/>
                  </a:lnTo>
                  <a:lnTo>
                    <a:pt x="3412" y="53"/>
                  </a:lnTo>
                  <a:lnTo>
                    <a:pt x="3404" y="49"/>
                  </a:lnTo>
                  <a:lnTo>
                    <a:pt x="3395" y="46"/>
                  </a:lnTo>
                  <a:lnTo>
                    <a:pt x="3376" y="41"/>
                  </a:lnTo>
                  <a:lnTo>
                    <a:pt x="3357" y="36"/>
                  </a:lnTo>
                  <a:lnTo>
                    <a:pt x="3337" y="33"/>
                  </a:lnTo>
                  <a:lnTo>
                    <a:pt x="3317" y="30"/>
                  </a:lnTo>
                  <a:lnTo>
                    <a:pt x="3299" y="29"/>
                  </a:lnTo>
                  <a:lnTo>
                    <a:pt x="3282" y="28"/>
                  </a:lnTo>
                  <a:lnTo>
                    <a:pt x="3267" y="27"/>
                  </a:lnTo>
                  <a:lnTo>
                    <a:pt x="3244" y="27"/>
                  </a:lnTo>
                  <a:close/>
                  <a:moveTo>
                    <a:pt x="929" y="821"/>
                  </a:moveTo>
                  <a:lnTo>
                    <a:pt x="923" y="888"/>
                  </a:lnTo>
                  <a:lnTo>
                    <a:pt x="917" y="950"/>
                  </a:lnTo>
                  <a:lnTo>
                    <a:pt x="910" y="1009"/>
                  </a:lnTo>
                  <a:lnTo>
                    <a:pt x="904" y="1063"/>
                  </a:lnTo>
                  <a:lnTo>
                    <a:pt x="897" y="1114"/>
                  </a:lnTo>
                  <a:lnTo>
                    <a:pt x="890" y="1160"/>
                  </a:lnTo>
                  <a:lnTo>
                    <a:pt x="882" y="1202"/>
                  </a:lnTo>
                  <a:lnTo>
                    <a:pt x="875" y="1240"/>
                  </a:lnTo>
                  <a:lnTo>
                    <a:pt x="868" y="1275"/>
                  </a:lnTo>
                  <a:lnTo>
                    <a:pt x="861" y="1306"/>
                  </a:lnTo>
                  <a:lnTo>
                    <a:pt x="854" y="1333"/>
                  </a:lnTo>
                  <a:lnTo>
                    <a:pt x="847" y="1357"/>
                  </a:lnTo>
                  <a:lnTo>
                    <a:pt x="843" y="1368"/>
                  </a:lnTo>
                  <a:lnTo>
                    <a:pt x="840" y="1378"/>
                  </a:lnTo>
                  <a:lnTo>
                    <a:pt x="833" y="1395"/>
                  </a:lnTo>
                  <a:lnTo>
                    <a:pt x="830" y="1403"/>
                  </a:lnTo>
                  <a:lnTo>
                    <a:pt x="826" y="1410"/>
                  </a:lnTo>
                  <a:lnTo>
                    <a:pt x="823" y="1415"/>
                  </a:lnTo>
                  <a:lnTo>
                    <a:pt x="820" y="1421"/>
                  </a:lnTo>
                  <a:lnTo>
                    <a:pt x="809" y="1437"/>
                  </a:lnTo>
                  <a:lnTo>
                    <a:pt x="798" y="1452"/>
                  </a:lnTo>
                  <a:lnTo>
                    <a:pt x="791" y="1460"/>
                  </a:lnTo>
                  <a:lnTo>
                    <a:pt x="785" y="1467"/>
                  </a:lnTo>
                  <a:lnTo>
                    <a:pt x="779" y="1473"/>
                  </a:lnTo>
                  <a:lnTo>
                    <a:pt x="773" y="1480"/>
                  </a:lnTo>
                  <a:lnTo>
                    <a:pt x="766" y="1486"/>
                  </a:lnTo>
                  <a:lnTo>
                    <a:pt x="760" y="1492"/>
                  </a:lnTo>
                  <a:lnTo>
                    <a:pt x="746" y="1503"/>
                  </a:lnTo>
                  <a:lnTo>
                    <a:pt x="732" y="1513"/>
                  </a:lnTo>
                  <a:lnTo>
                    <a:pt x="724" y="1517"/>
                  </a:lnTo>
                  <a:lnTo>
                    <a:pt x="717" y="1522"/>
                  </a:lnTo>
                  <a:lnTo>
                    <a:pt x="701" y="1529"/>
                  </a:lnTo>
                  <a:lnTo>
                    <a:pt x="694" y="1533"/>
                  </a:lnTo>
                  <a:lnTo>
                    <a:pt x="686" y="1536"/>
                  </a:lnTo>
                  <a:lnTo>
                    <a:pt x="669" y="1542"/>
                  </a:lnTo>
                  <a:lnTo>
                    <a:pt x="661" y="1544"/>
                  </a:lnTo>
                  <a:lnTo>
                    <a:pt x="652" y="1546"/>
                  </a:lnTo>
                  <a:lnTo>
                    <a:pt x="635" y="1550"/>
                  </a:lnTo>
                  <a:lnTo>
                    <a:pt x="616" y="1552"/>
                  </a:lnTo>
                  <a:lnTo>
                    <a:pt x="598" y="1554"/>
                  </a:lnTo>
                  <a:lnTo>
                    <a:pt x="578" y="1554"/>
                  </a:lnTo>
                  <a:lnTo>
                    <a:pt x="565" y="1554"/>
                  </a:lnTo>
                  <a:lnTo>
                    <a:pt x="549" y="1552"/>
                  </a:lnTo>
                  <a:lnTo>
                    <a:pt x="541" y="1550"/>
                  </a:lnTo>
                  <a:lnTo>
                    <a:pt x="533" y="1548"/>
                  </a:lnTo>
                  <a:lnTo>
                    <a:pt x="515" y="1543"/>
                  </a:lnTo>
                  <a:lnTo>
                    <a:pt x="506" y="1540"/>
                  </a:lnTo>
                  <a:lnTo>
                    <a:pt x="496" y="1536"/>
                  </a:lnTo>
                  <a:lnTo>
                    <a:pt x="478" y="1527"/>
                  </a:lnTo>
                  <a:lnTo>
                    <a:pt x="468" y="1522"/>
                  </a:lnTo>
                  <a:lnTo>
                    <a:pt x="459" y="1516"/>
                  </a:lnTo>
                  <a:lnTo>
                    <a:pt x="450" y="1509"/>
                  </a:lnTo>
                  <a:lnTo>
                    <a:pt x="441" y="1503"/>
                  </a:lnTo>
                  <a:lnTo>
                    <a:pt x="432" y="1495"/>
                  </a:lnTo>
                  <a:lnTo>
                    <a:pt x="423" y="1487"/>
                  </a:lnTo>
                  <a:lnTo>
                    <a:pt x="415" y="1478"/>
                  </a:lnTo>
                  <a:lnTo>
                    <a:pt x="407" y="1469"/>
                  </a:lnTo>
                  <a:lnTo>
                    <a:pt x="399" y="1459"/>
                  </a:lnTo>
                  <a:lnTo>
                    <a:pt x="392" y="1448"/>
                  </a:lnTo>
                  <a:lnTo>
                    <a:pt x="385" y="1436"/>
                  </a:lnTo>
                  <a:lnTo>
                    <a:pt x="379" y="1424"/>
                  </a:lnTo>
                  <a:lnTo>
                    <a:pt x="373" y="1411"/>
                  </a:lnTo>
                  <a:lnTo>
                    <a:pt x="368" y="1398"/>
                  </a:lnTo>
                  <a:lnTo>
                    <a:pt x="364" y="1383"/>
                  </a:lnTo>
                  <a:lnTo>
                    <a:pt x="360" y="1368"/>
                  </a:lnTo>
                  <a:lnTo>
                    <a:pt x="357" y="1352"/>
                  </a:lnTo>
                  <a:lnTo>
                    <a:pt x="355" y="1335"/>
                  </a:lnTo>
                  <a:lnTo>
                    <a:pt x="353" y="1317"/>
                  </a:lnTo>
                  <a:lnTo>
                    <a:pt x="353" y="1299"/>
                  </a:lnTo>
                  <a:lnTo>
                    <a:pt x="354" y="1281"/>
                  </a:lnTo>
                  <a:lnTo>
                    <a:pt x="356" y="1264"/>
                  </a:lnTo>
                  <a:lnTo>
                    <a:pt x="360" y="1246"/>
                  </a:lnTo>
                  <a:lnTo>
                    <a:pt x="365" y="1227"/>
                  </a:lnTo>
                  <a:lnTo>
                    <a:pt x="372" y="1209"/>
                  </a:lnTo>
                  <a:lnTo>
                    <a:pt x="380" y="1189"/>
                  </a:lnTo>
                  <a:lnTo>
                    <a:pt x="390" y="1170"/>
                  </a:lnTo>
                  <a:lnTo>
                    <a:pt x="401" y="1150"/>
                  </a:lnTo>
                  <a:lnTo>
                    <a:pt x="414" y="1130"/>
                  </a:lnTo>
                  <a:lnTo>
                    <a:pt x="428" y="1109"/>
                  </a:lnTo>
                  <a:lnTo>
                    <a:pt x="444" y="1088"/>
                  </a:lnTo>
                  <a:lnTo>
                    <a:pt x="452" y="1077"/>
                  </a:lnTo>
                  <a:lnTo>
                    <a:pt x="461" y="1066"/>
                  </a:lnTo>
                  <a:lnTo>
                    <a:pt x="470" y="1055"/>
                  </a:lnTo>
                  <a:lnTo>
                    <a:pt x="479" y="1044"/>
                  </a:lnTo>
                  <a:lnTo>
                    <a:pt x="499" y="1022"/>
                  </a:lnTo>
                  <a:lnTo>
                    <a:pt x="520" y="1000"/>
                  </a:lnTo>
                  <a:lnTo>
                    <a:pt x="542" y="977"/>
                  </a:lnTo>
                  <a:lnTo>
                    <a:pt x="551" y="978"/>
                  </a:lnTo>
                  <a:lnTo>
                    <a:pt x="573" y="977"/>
                  </a:lnTo>
                  <a:lnTo>
                    <a:pt x="585" y="976"/>
                  </a:lnTo>
                  <a:lnTo>
                    <a:pt x="596" y="974"/>
                  </a:lnTo>
                  <a:lnTo>
                    <a:pt x="608" y="972"/>
                  </a:lnTo>
                  <a:lnTo>
                    <a:pt x="619" y="970"/>
                  </a:lnTo>
                  <a:lnTo>
                    <a:pt x="643" y="963"/>
                  </a:lnTo>
                  <a:lnTo>
                    <a:pt x="654" y="959"/>
                  </a:lnTo>
                  <a:lnTo>
                    <a:pt x="666" y="954"/>
                  </a:lnTo>
                  <a:lnTo>
                    <a:pt x="678" y="949"/>
                  </a:lnTo>
                  <a:lnTo>
                    <a:pt x="690" y="944"/>
                  </a:lnTo>
                  <a:lnTo>
                    <a:pt x="702" y="937"/>
                  </a:lnTo>
                  <a:lnTo>
                    <a:pt x="714" y="931"/>
                  </a:lnTo>
                  <a:lnTo>
                    <a:pt x="726" y="924"/>
                  </a:lnTo>
                  <a:lnTo>
                    <a:pt x="738" y="916"/>
                  </a:lnTo>
                  <a:lnTo>
                    <a:pt x="762" y="900"/>
                  </a:lnTo>
                  <a:lnTo>
                    <a:pt x="786" y="881"/>
                  </a:lnTo>
                  <a:lnTo>
                    <a:pt x="799" y="871"/>
                  </a:lnTo>
                  <a:lnTo>
                    <a:pt x="811" y="861"/>
                  </a:lnTo>
                  <a:lnTo>
                    <a:pt x="836" y="839"/>
                  </a:lnTo>
                  <a:lnTo>
                    <a:pt x="861" y="814"/>
                  </a:lnTo>
                  <a:lnTo>
                    <a:pt x="886" y="788"/>
                  </a:lnTo>
                  <a:lnTo>
                    <a:pt x="899" y="774"/>
                  </a:lnTo>
                  <a:lnTo>
                    <a:pt x="912" y="760"/>
                  </a:lnTo>
                  <a:lnTo>
                    <a:pt x="925" y="745"/>
                  </a:lnTo>
                  <a:lnTo>
                    <a:pt x="938" y="729"/>
                  </a:lnTo>
                  <a:lnTo>
                    <a:pt x="929" y="821"/>
                  </a:lnTo>
                  <a:close/>
                  <a:moveTo>
                    <a:pt x="987" y="304"/>
                  </a:moveTo>
                  <a:lnTo>
                    <a:pt x="986" y="316"/>
                  </a:lnTo>
                  <a:lnTo>
                    <a:pt x="984" y="328"/>
                  </a:lnTo>
                  <a:lnTo>
                    <a:pt x="979" y="352"/>
                  </a:lnTo>
                  <a:lnTo>
                    <a:pt x="973" y="376"/>
                  </a:lnTo>
                  <a:lnTo>
                    <a:pt x="967" y="399"/>
                  </a:lnTo>
                  <a:lnTo>
                    <a:pt x="959" y="423"/>
                  </a:lnTo>
                  <a:lnTo>
                    <a:pt x="950" y="445"/>
                  </a:lnTo>
                  <a:lnTo>
                    <a:pt x="941" y="468"/>
                  </a:lnTo>
                  <a:lnTo>
                    <a:pt x="930" y="490"/>
                  </a:lnTo>
                  <a:lnTo>
                    <a:pt x="924" y="501"/>
                  </a:lnTo>
                  <a:lnTo>
                    <a:pt x="918" y="512"/>
                  </a:lnTo>
                  <a:lnTo>
                    <a:pt x="906" y="534"/>
                  </a:lnTo>
                  <a:lnTo>
                    <a:pt x="899" y="544"/>
                  </a:lnTo>
                  <a:lnTo>
                    <a:pt x="892" y="555"/>
                  </a:lnTo>
                  <a:lnTo>
                    <a:pt x="877" y="576"/>
                  </a:lnTo>
                  <a:lnTo>
                    <a:pt x="862" y="596"/>
                  </a:lnTo>
                  <a:lnTo>
                    <a:pt x="845" y="616"/>
                  </a:lnTo>
                  <a:lnTo>
                    <a:pt x="828" y="636"/>
                  </a:lnTo>
                  <a:lnTo>
                    <a:pt x="810" y="656"/>
                  </a:lnTo>
                  <a:lnTo>
                    <a:pt x="793" y="672"/>
                  </a:lnTo>
                  <a:lnTo>
                    <a:pt x="778" y="687"/>
                  </a:lnTo>
                  <a:lnTo>
                    <a:pt x="763" y="699"/>
                  </a:lnTo>
                  <a:lnTo>
                    <a:pt x="750" y="711"/>
                  </a:lnTo>
                  <a:lnTo>
                    <a:pt x="737" y="721"/>
                  </a:lnTo>
                  <a:lnTo>
                    <a:pt x="725" y="729"/>
                  </a:lnTo>
                  <a:lnTo>
                    <a:pt x="714" y="736"/>
                  </a:lnTo>
                  <a:lnTo>
                    <a:pt x="703" y="743"/>
                  </a:lnTo>
                  <a:lnTo>
                    <a:pt x="694" y="748"/>
                  </a:lnTo>
                  <a:lnTo>
                    <a:pt x="685" y="752"/>
                  </a:lnTo>
                  <a:lnTo>
                    <a:pt x="677" y="755"/>
                  </a:lnTo>
                  <a:lnTo>
                    <a:pt x="670" y="757"/>
                  </a:lnTo>
                  <a:lnTo>
                    <a:pt x="663" y="759"/>
                  </a:lnTo>
                  <a:lnTo>
                    <a:pt x="657" y="760"/>
                  </a:lnTo>
                  <a:lnTo>
                    <a:pt x="648" y="761"/>
                  </a:lnTo>
                  <a:lnTo>
                    <a:pt x="644" y="760"/>
                  </a:lnTo>
                  <a:lnTo>
                    <a:pt x="641" y="759"/>
                  </a:lnTo>
                  <a:lnTo>
                    <a:pt x="639" y="756"/>
                  </a:lnTo>
                  <a:lnTo>
                    <a:pt x="636" y="753"/>
                  </a:lnTo>
                  <a:lnTo>
                    <a:pt x="634" y="749"/>
                  </a:lnTo>
                  <a:lnTo>
                    <a:pt x="633" y="744"/>
                  </a:lnTo>
                  <a:lnTo>
                    <a:pt x="630" y="734"/>
                  </a:lnTo>
                  <a:lnTo>
                    <a:pt x="629" y="729"/>
                  </a:lnTo>
                  <a:lnTo>
                    <a:pt x="629" y="723"/>
                  </a:lnTo>
                  <a:lnTo>
                    <a:pt x="628" y="712"/>
                  </a:lnTo>
                  <a:lnTo>
                    <a:pt x="628" y="692"/>
                  </a:lnTo>
                  <a:lnTo>
                    <a:pt x="629" y="667"/>
                  </a:lnTo>
                  <a:lnTo>
                    <a:pt x="630" y="641"/>
                  </a:lnTo>
                  <a:lnTo>
                    <a:pt x="632" y="616"/>
                  </a:lnTo>
                  <a:lnTo>
                    <a:pt x="635" y="592"/>
                  </a:lnTo>
                  <a:lnTo>
                    <a:pt x="638" y="568"/>
                  </a:lnTo>
                  <a:lnTo>
                    <a:pt x="642" y="545"/>
                  </a:lnTo>
                  <a:lnTo>
                    <a:pt x="647" y="522"/>
                  </a:lnTo>
                  <a:lnTo>
                    <a:pt x="649" y="510"/>
                  </a:lnTo>
                  <a:lnTo>
                    <a:pt x="652" y="499"/>
                  </a:lnTo>
                  <a:lnTo>
                    <a:pt x="657" y="478"/>
                  </a:lnTo>
                  <a:lnTo>
                    <a:pt x="664" y="456"/>
                  </a:lnTo>
                  <a:lnTo>
                    <a:pt x="671" y="436"/>
                  </a:lnTo>
                  <a:lnTo>
                    <a:pt x="678" y="415"/>
                  </a:lnTo>
                  <a:lnTo>
                    <a:pt x="682" y="406"/>
                  </a:lnTo>
                  <a:lnTo>
                    <a:pt x="687" y="396"/>
                  </a:lnTo>
                  <a:lnTo>
                    <a:pt x="695" y="377"/>
                  </a:lnTo>
                  <a:lnTo>
                    <a:pt x="705" y="358"/>
                  </a:lnTo>
                  <a:lnTo>
                    <a:pt x="715" y="341"/>
                  </a:lnTo>
                  <a:lnTo>
                    <a:pt x="724" y="325"/>
                  </a:lnTo>
                  <a:lnTo>
                    <a:pt x="734" y="311"/>
                  </a:lnTo>
                  <a:lnTo>
                    <a:pt x="744" y="297"/>
                  </a:lnTo>
                  <a:lnTo>
                    <a:pt x="748" y="291"/>
                  </a:lnTo>
                  <a:lnTo>
                    <a:pt x="753" y="285"/>
                  </a:lnTo>
                  <a:lnTo>
                    <a:pt x="763" y="274"/>
                  </a:lnTo>
                  <a:lnTo>
                    <a:pt x="774" y="263"/>
                  </a:lnTo>
                  <a:lnTo>
                    <a:pt x="784" y="254"/>
                  </a:lnTo>
                  <a:lnTo>
                    <a:pt x="795" y="246"/>
                  </a:lnTo>
                  <a:lnTo>
                    <a:pt x="805" y="238"/>
                  </a:lnTo>
                  <a:lnTo>
                    <a:pt x="816" y="232"/>
                  </a:lnTo>
                  <a:lnTo>
                    <a:pt x="827" y="227"/>
                  </a:lnTo>
                  <a:lnTo>
                    <a:pt x="838" y="222"/>
                  </a:lnTo>
                  <a:lnTo>
                    <a:pt x="850" y="219"/>
                  </a:lnTo>
                  <a:lnTo>
                    <a:pt x="861" y="216"/>
                  </a:lnTo>
                  <a:lnTo>
                    <a:pt x="873" y="214"/>
                  </a:lnTo>
                  <a:lnTo>
                    <a:pt x="885" y="213"/>
                  </a:lnTo>
                  <a:lnTo>
                    <a:pt x="901" y="213"/>
                  </a:lnTo>
                  <a:lnTo>
                    <a:pt x="917" y="214"/>
                  </a:lnTo>
                  <a:lnTo>
                    <a:pt x="933" y="215"/>
                  </a:lnTo>
                  <a:lnTo>
                    <a:pt x="948" y="217"/>
                  </a:lnTo>
                  <a:lnTo>
                    <a:pt x="962" y="220"/>
                  </a:lnTo>
                  <a:lnTo>
                    <a:pt x="975" y="223"/>
                  </a:lnTo>
                  <a:lnTo>
                    <a:pt x="998" y="229"/>
                  </a:lnTo>
                  <a:lnTo>
                    <a:pt x="991" y="277"/>
                  </a:lnTo>
                  <a:lnTo>
                    <a:pt x="987" y="304"/>
                  </a:lnTo>
                  <a:close/>
                  <a:moveTo>
                    <a:pt x="3204" y="299"/>
                  </a:moveTo>
                  <a:lnTo>
                    <a:pt x="3200" y="325"/>
                  </a:lnTo>
                  <a:lnTo>
                    <a:pt x="3195" y="350"/>
                  </a:lnTo>
                  <a:lnTo>
                    <a:pt x="3192" y="362"/>
                  </a:lnTo>
                  <a:lnTo>
                    <a:pt x="3189" y="374"/>
                  </a:lnTo>
                  <a:lnTo>
                    <a:pt x="3182" y="399"/>
                  </a:lnTo>
                  <a:lnTo>
                    <a:pt x="3174" y="422"/>
                  </a:lnTo>
                  <a:lnTo>
                    <a:pt x="3165" y="446"/>
                  </a:lnTo>
                  <a:lnTo>
                    <a:pt x="3156" y="469"/>
                  </a:lnTo>
                  <a:lnTo>
                    <a:pt x="3145" y="491"/>
                  </a:lnTo>
                  <a:lnTo>
                    <a:pt x="3134" y="513"/>
                  </a:lnTo>
                  <a:lnTo>
                    <a:pt x="3122" y="535"/>
                  </a:lnTo>
                  <a:lnTo>
                    <a:pt x="3109" y="557"/>
                  </a:lnTo>
                  <a:lnTo>
                    <a:pt x="3095" y="577"/>
                  </a:lnTo>
                  <a:lnTo>
                    <a:pt x="3080" y="598"/>
                  </a:lnTo>
                  <a:lnTo>
                    <a:pt x="3072" y="608"/>
                  </a:lnTo>
                  <a:lnTo>
                    <a:pt x="3064" y="618"/>
                  </a:lnTo>
                  <a:lnTo>
                    <a:pt x="3056" y="628"/>
                  </a:lnTo>
                  <a:lnTo>
                    <a:pt x="3048" y="638"/>
                  </a:lnTo>
                  <a:lnTo>
                    <a:pt x="3031" y="657"/>
                  </a:lnTo>
                  <a:lnTo>
                    <a:pt x="3015" y="673"/>
                  </a:lnTo>
                  <a:lnTo>
                    <a:pt x="3000" y="688"/>
                  </a:lnTo>
                  <a:lnTo>
                    <a:pt x="2986" y="701"/>
                  </a:lnTo>
                  <a:lnTo>
                    <a:pt x="2972" y="712"/>
                  </a:lnTo>
                  <a:lnTo>
                    <a:pt x="2960" y="722"/>
                  </a:lnTo>
                  <a:lnTo>
                    <a:pt x="2948" y="731"/>
                  </a:lnTo>
                  <a:lnTo>
                    <a:pt x="2937" y="738"/>
                  </a:lnTo>
                  <a:lnTo>
                    <a:pt x="2927" y="744"/>
                  </a:lnTo>
                  <a:lnTo>
                    <a:pt x="2917" y="749"/>
                  </a:lnTo>
                  <a:lnTo>
                    <a:pt x="2909" y="754"/>
                  </a:lnTo>
                  <a:lnTo>
                    <a:pt x="2901" y="757"/>
                  </a:lnTo>
                  <a:lnTo>
                    <a:pt x="2893" y="759"/>
                  </a:lnTo>
                  <a:lnTo>
                    <a:pt x="2887" y="761"/>
                  </a:lnTo>
                  <a:lnTo>
                    <a:pt x="2881" y="762"/>
                  </a:lnTo>
                  <a:lnTo>
                    <a:pt x="2871" y="763"/>
                  </a:lnTo>
                  <a:lnTo>
                    <a:pt x="2868" y="762"/>
                  </a:lnTo>
                  <a:lnTo>
                    <a:pt x="2865" y="761"/>
                  </a:lnTo>
                  <a:lnTo>
                    <a:pt x="2862" y="759"/>
                  </a:lnTo>
                  <a:lnTo>
                    <a:pt x="2860" y="756"/>
                  </a:lnTo>
                  <a:lnTo>
                    <a:pt x="2858" y="752"/>
                  </a:lnTo>
                  <a:lnTo>
                    <a:pt x="2856" y="748"/>
                  </a:lnTo>
                  <a:lnTo>
                    <a:pt x="2853" y="738"/>
                  </a:lnTo>
                  <a:lnTo>
                    <a:pt x="2852" y="733"/>
                  </a:lnTo>
                  <a:lnTo>
                    <a:pt x="2852" y="727"/>
                  </a:lnTo>
                  <a:lnTo>
                    <a:pt x="2850" y="716"/>
                  </a:lnTo>
                  <a:lnTo>
                    <a:pt x="2850" y="695"/>
                  </a:lnTo>
                  <a:lnTo>
                    <a:pt x="2850" y="669"/>
                  </a:lnTo>
                  <a:lnTo>
                    <a:pt x="2851" y="643"/>
                  </a:lnTo>
                  <a:lnTo>
                    <a:pt x="2853" y="618"/>
                  </a:lnTo>
                  <a:lnTo>
                    <a:pt x="2855" y="593"/>
                  </a:lnTo>
                  <a:lnTo>
                    <a:pt x="2858" y="569"/>
                  </a:lnTo>
                  <a:lnTo>
                    <a:pt x="2862" y="546"/>
                  </a:lnTo>
                  <a:lnTo>
                    <a:pt x="2866" y="523"/>
                  </a:lnTo>
                  <a:lnTo>
                    <a:pt x="2871" y="501"/>
                  </a:lnTo>
                  <a:lnTo>
                    <a:pt x="2876" y="479"/>
                  </a:lnTo>
                  <a:lnTo>
                    <a:pt x="2882" y="457"/>
                  </a:lnTo>
                  <a:lnTo>
                    <a:pt x="2889" y="437"/>
                  </a:lnTo>
                  <a:lnTo>
                    <a:pt x="2896" y="416"/>
                  </a:lnTo>
                  <a:lnTo>
                    <a:pt x="2903" y="397"/>
                  </a:lnTo>
                  <a:lnTo>
                    <a:pt x="2911" y="378"/>
                  </a:lnTo>
                  <a:lnTo>
                    <a:pt x="2920" y="359"/>
                  </a:lnTo>
                  <a:lnTo>
                    <a:pt x="2929" y="341"/>
                  </a:lnTo>
                  <a:lnTo>
                    <a:pt x="2938" y="325"/>
                  </a:lnTo>
                  <a:lnTo>
                    <a:pt x="2942" y="318"/>
                  </a:lnTo>
                  <a:lnTo>
                    <a:pt x="2947" y="311"/>
                  </a:lnTo>
                  <a:lnTo>
                    <a:pt x="2955" y="298"/>
                  </a:lnTo>
                  <a:lnTo>
                    <a:pt x="2965" y="286"/>
                  </a:lnTo>
                  <a:lnTo>
                    <a:pt x="2974" y="276"/>
                  </a:lnTo>
                  <a:lnTo>
                    <a:pt x="2983" y="266"/>
                  </a:lnTo>
                  <a:lnTo>
                    <a:pt x="2993" y="257"/>
                  </a:lnTo>
                  <a:lnTo>
                    <a:pt x="3002" y="249"/>
                  </a:lnTo>
                  <a:lnTo>
                    <a:pt x="3012" y="241"/>
                  </a:lnTo>
                  <a:lnTo>
                    <a:pt x="3022" y="235"/>
                  </a:lnTo>
                  <a:lnTo>
                    <a:pt x="3032" y="230"/>
                  </a:lnTo>
                  <a:lnTo>
                    <a:pt x="3042" y="225"/>
                  </a:lnTo>
                  <a:lnTo>
                    <a:pt x="3052" y="221"/>
                  </a:lnTo>
                  <a:lnTo>
                    <a:pt x="3062" y="217"/>
                  </a:lnTo>
                  <a:lnTo>
                    <a:pt x="3071" y="214"/>
                  </a:lnTo>
                  <a:lnTo>
                    <a:pt x="3081" y="212"/>
                  </a:lnTo>
                  <a:lnTo>
                    <a:pt x="3101" y="209"/>
                  </a:lnTo>
                  <a:lnTo>
                    <a:pt x="3110" y="208"/>
                  </a:lnTo>
                  <a:lnTo>
                    <a:pt x="3120" y="208"/>
                  </a:lnTo>
                  <a:lnTo>
                    <a:pt x="3129" y="208"/>
                  </a:lnTo>
                  <a:lnTo>
                    <a:pt x="3139" y="208"/>
                  </a:lnTo>
                  <a:lnTo>
                    <a:pt x="3156" y="209"/>
                  </a:lnTo>
                  <a:lnTo>
                    <a:pt x="3165" y="210"/>
                  </a:lnTo>
                  <a:lnTo>
                    <a:pt x="3174" y="212"/>
                  </a:lnTo>
                  <a:lnTo>
                    <a:pt x="3190" y="214"/>
                  </a:lnTo>
                  <a:lnTo>
                    <a:pt x="3219" y="219"/>
                  </a:lnTo>
                  <a:lnTo>
                    <a:pt x="3217" y="230"/>
                  </a:lnTo>
                  <a:lnTo>
                    <a:pt x="3215" y="242"/>
                  </a:lnTo>
                  <a:lnTo>
                    <a:pt x="3211" y="268"/>
                  </a:lnTo>
                  <a:lnTo>
                    <a:pt x="3204" y="2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400" b="1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C790D996-84BF-4165-97CB-890B4AB173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8944" y="2705939"/>
              <a:ext cx="376873" cy="533481"/>
            </a:xfrm>
            <a:custGeom>
              <a:avLst/>
              <a:gdLst>
                <a:gd name="T0" fmla="*/ 698 w 901"/>
                <a:gd name="T1" fmla="*/ 227 h 1274"/>
                <a:gd name="T2" fmla="*/ 760 w 901"/>
                <a:gd name="T3" fmla="*/ 277 h 1274"/>
                <a:gd name="T4" fmla="*/ 813 w 901"/>
                <a:gd name="T5" fmla="*/ 288 h 1274"/>
                <a:gd name="T6" fmla="*/ 855 w 901"/>
                <a:gd name="T7" fmla="*/ 274 h 1274"/>
                <a:gd name="T8" fmla="*/ 887 w 901"/>
                <a:gd name="T9" fmla="*/ 234 h 1274"/>
                <a:gd name="T10" fmla="*/ 900 w 901"/>
                <a:gd name="T11" fmla="*/ 154 h 1274"/>
                <a:gd name="T12" fmla="*/ 882 w 901"/>
                <a:gd name="T13" fmla="*/ 97 h 1274"/>
                <a:gd name="T14" fmla="*/ 837 w 901"/>
                <a:gd name="T15" fmla="*/ 54 h 1274"/>
                <a:gd name="T16" fmla="*/ 730 w 901"/>
                <a:gd name="T17" fmla="*/ 14 h 1274"/>
                <a:gd name="T18" fmla="*/ 601 w 901"/>
                <a:gd name="T19" fmla="*/ 0 h 1274"/>
                <a:gd name="T20" fmla="*/ 475 w 901"/>
                <a:gd name="T21" fmla="*/ 15 h 1274"/>
                <a:gd name="T22" fmla="*/ 367 w 901"/>
                <a:gd name="T23" fmla="*/ 57 h 1274"/>
                <a:gd name="T24" fmla="*/ 296 w 901"/>
                <a:gd name="T25" fmla="*/ 107 h 1274"/>
                <a:gd name="T26" fmla="*/ 238 w 901"/>
                <a:gd name="T27" fmla="*/ 171 h 1274"/>
                <a:gd name="T28" fmla="*/ 196 w 901"/>
                <a:gd name="T29" fmla="*/ 251 h 1274"/>
                <a:gd name="T30" fmla="*/ 179 w 901"/>
                <a:gd name="T31" fmla="*/ 341 h 1274"/>
                <a:gd name="T32" fmla="*/ 188 w 901"/>
                <a:gd name="T33" fmla="*/ 433 h 1274"/>
                <a:gd name="T34" fmla="*/ 216 w 901"/>
                <a:gd name="T35" fmla="*/ 499 h 1274"/>
                <a:gd name="T36" fmla="*/ 272 w 901"/>
                <a:gd name="T37" fmla="*/ 569 h 1274"/>
                <a:gd name="T38" fmla="*/ 398 w 901"/>
                <a:gd name="T39" fmla="*/ 682 h 1274"/>
                <a:gd name="T40" fmla="*/ 573 w 901"/>
                <a:gd name="T41" fmla="*/ 835 h 1274"/>
                <a:gd name="T42" fmla="*/ 616 w 901"/>
                <a:gd name="T43" fmla="*/ 905 h 1274"/>
                <a:gd name="T44" fmla="*/ 628 w 901"/>
                <a:gd name="T45" fmla="*/ 985 h 1274"/>
                <a:gd name="T46" fmla="*/ 616 w 901"/>
                <a:gd name="T47" fmla="*/ 1029 h 1274"/>
                <a:gd name="T48" fmla="*/ 578 w 901"/>
                <a:gd name="T49" fmla="*/ 1078 h 1274"/>
                <a:gd name="T50" fmla="*/ 517 w 901"/>
                <a:gd name="T51" fmla="*/ 1113 h 1274"/>
                <a:gd name="T52" fmla="*/ 449 w 901"/>
                <a:gd name="T53" fmla="*/ 1124 h 1274"/>
                <a:gd name="T54" fmla="*/ 371 w 901"/>
                <a:gd name="T55" fmla="*/ 1112 h 1274"/>
                <a:gd name="T56" fmla="*/ 314 w 901"/>
                <a:gd name="T57" fmla="*/ 1079 h 1274"/>
                <a:gd name="T58" fmla="*/ 259 w 901"/>
                <a:gd name="T59" fmla="*/ 1007 h 1274"/>
                <a:gd name="T60" fmla="*/ 219 w 901"/>
                <a:gd name="T61" fmla="*/ 929 h 1274"/>
                <a:gd name="T62" fmla="*/ 184 w 901"/>
                <a:gd name="T63" fmla="*/ 901 h 1274"/>
                <a:gd name="T64" fmla="*/ 131 w 901"/>
                <a:gd name="T65" fmla="*/ 888 h 1274"/>
                <a:gd name="T66" fmla="*/ 83 w 901"/>
                <a:gd name="T67" fmla="*/ 898 h 1274"/>
                <a:gd name="T68" fmla="*/ 37 w 901"/>
                <a:gd name="T69" fmla="*/ 929 h 1274"/>
                <a:gd name="T70" fmla="*/ 6 w 901"/>
                <a:gd name="T71" fmla="*/ 978 h 1274"/>
                <a:gd name="T72" fmla="*/ 3 w 901"/>
                <a:gd name="T73" fmla="*/ 1044 h 1274"/>
                <a:gd name="T74" fmla="*/ 35 w 901"/>
                <a:gd name="T75" fmla="*/ 1119 h 1274"/>
                <a:gd name="T76" fmla="*/ 90 w 901"/>
                <a:gd name="T77" fmla="*/ 1184 h 1274"/>
                <a:gd name="T78" fmla="*/ 176 w 901"/>
                <a:gd name="T79" fmla="*/ 1240 h 1274"/>
                <a:gd name="T80" fmla="*/ 271 w 901"/>
                <a:gd name="T81" fmla="*/ 1268 h 1274"/>
                <a:gd name="T82" fmla="*/ 400 w 901"/>
                <a:gd name="T83" fmla="*/ 1273 h 1274"/>
                <a:gd name="T84" fmla="*/ 539 w 901"/>
                <a:gd name="T85" fmla="*/ 1247 h 1274"/>
                <a:gd name="T86" fmla="*/ 678 w 901"/>
                <a:gd name="T87" fmla="*/ 1178 h 1274"/>
                <a:gd name="T88" fmla="*/ 772 w 901"/>
                <a:gd name="T89" fmla="*/ 1087 h 1274"/>
                <a:gd name="T90" fmla="*/ 817 w 901"/>
                <a:gd name="T91" fmla="*/ 1008 h 1274"/>
                <a:gd name="T92" fmla="*/ 839 w 901"/>
                <a:gd name="T93" fmla="*/ 920 h 1274"/>
                <a:gd name="T94" fmla="*/ 835 w 901"/>
                <a:gd name="T95" fmla="*/ 819 h 1274"/>
                <a:gd name="T96" fmla="*/ 808 w 901"/>
                <a:gd name="T97" fmla="*/ 743 h 1274"/>
                <a:gd name="T98" fmla="*/ 760 w 901"/>
                <a:gd name="T99" fmla="*/ 670 h 1274"/>
                <a:gd name="T100" fmla="*/ 670 w 901"/>
                <a:gd name="T101" fmla="*/ 582 h 1274"/>
                <a:gd name="T102" fmla="*/ 425 w 901"/>
                <a:gd name="T103" fmla="*/ 369 h 1274"/>
                <a:gd name="T104" fmla="*/ 389 w 901"/>
                <a:gd name="T105" fmla="*/ 314 h 1274"/>
                <a:gd name="T106" fmla="*/ 382 w 901"/>
                <a:gd name="T107" fmla="*/ 249 h 1274"/>
                <a:gd name="T108" fmla="*/ 407 w 901"/>
                <a:gd name="T109" fmla="*/ 198 h 1274"/>
                <a:gd name="T110" fmla="*/ 456 w 901"/>
                <a:gd name="T111" fmla="*/ 157 h 1274"/>
                <a:gd name="T112" fmla="*/ 520 w 901"/>
                <a:gd name="T113" fmla="*/ 139 h 1274"/>
                <a:gd name="T114" fmla="*/ 597 w 901"/>
                <a:gd name="T115" fmla="*/ 152 h 127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901"/>
                <a:gd name="T175" fmla="*/ 0 h 1274"/>
                <a:gd name="T176" fmla="*/ 901 w 901"/>
                <a:gd name="T177" fmla="*/ 1274 h 127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901" h="1274">
                  <a:moveTo>
                    <a:pt x="654" y="183"/>
                  </a:moveTo>
                  <a:lnTo>
                    <a:pt x="660" y="188"/>
                  </a:lnTo>
                  <a:lnTo>
                    <a:pt x="665" y="192"/>
                  </a:lnTo>
                  <a:lnTo>
                    <a:pt x="671" y="198"/>
                  </a:lnTo>
                  <a:lnTo>
                    <a:pt x="676" y="203"/>
                  </a:lnTo>
                  <a:lnTo>
                    <a:pt x="687" y="215"/>
                  </a:lnTo>
                  <a:lnTo>
                    <a:pt x="698" y="227"/>
                  </a:lnTo>
                  <a:lnTo>
                    <a:pt x="709" y="239"/>
                  </a:lnTo>
                  <a:lnTo>
                    <a:pt x="720" y="251"/>
                  </a:lnTo>
                  <a:lnTo>
                    <a:pt x="728" y="256"/>
                  </a:lnTo>
                  <a:lnTo>
                    <a:pt x="734" y="261"/>
                  </a:lnTo>
                  <a:lnTo>
                    <a:pt x="741" y="266"/>
                  </a:lnTo>
                  <a:lnTo>
                    <a:pt x="748" y="271"/>
                  </a:lnTo>
                  <a:lnTo>
                    <a:pt x="760" y="277"/>
                  </a:lnTo>
                  <a:lnTo>
                    <a:pt x="771" y="282"/>
                  </a:lnTo>
                  <a:lnTo>
                    <a:pt x="777" y="284"/>
                  </a:lnTo>
                  <a:lnTo>
                    <a:pt x="782" y="285"/>
                  </a:lnTo>
                  <a:lnTo>
                    <a:pt x="787" y="286"/>
                  </a:lnTo>
                  <a:lnTo>
                    <a:pt x="793" y="287"/>
                  </a:lnTo>
                  <a:lnTo>
                    <a:pt x="803" y="288"/>
                  </a:lnTo>
                  <a:lnTo>
                    <a:pt x="813" y="288"/>
                  </a:lnTo>
                  <a:lnTo>
                    <a:pt x="822" y="287"/>
                  </a:lnTo>
                  <a:lnTo>
                    <a:pt x="831" y="285"/>
                  </a:lnTo>
                  <a:lnTo>
                    <a:pt x="835" y="284"/>
                  </a:lnTo>
                  <a:lnTo>
                    <a:pt x="840" y="282"/>
                  </a:lnTo>
                  <a:lnTo>
                    <a:pt x="844" y="280"/>
                  </a:lnTo>
                  <a:lnTo>
                    <a:pt x="848" y="278"/>
                  </a:lnTo>
                  <a:lnTo>
                    <a:pt x="855" y="274"/>
                  </a:lnTo>
                  <a:lnTo>
                    <a:pt x="858" y="272"/>
                  </a:lnTo>
                  <a:lnTo>
                    <a:pt x="862" y="269"/>
                  </a:lnTo>
                  <a:lnTo>
                    <a:pt x="868" y="263"/>
                  </a:lnTo>
                  <a:lnTo>
                    <a:pt x="874" y="257"/>
                  </a:lnTo>
                  <a:lnTo>
                    <a:pt x="879" y="251"/>
                  </a:lnTo>
                  <a:lnTo>
                    <a:pt x="883" y="244"/>
                  </a:lnTo>
                  <a:lnTo>
                    <a:pt x="887" y="234"/>
                  </a:lnTo>
                  <a:lnTo>
                    <a:pt x="892" y="224"/>
                  </a:lnTo>
                  <a:lnTo>
                    <a:pt x="895" y="213"/>
                  </a:lnTo>
                  <a:lnTo>
                    <a:pt x="898" y="202"/>
                  </a:lnTo>
                  <a:lnTo>
                    <a:pt x="900" y="190"/>
                  </a:lnTo>
                  <a:lnTo>
                    <a:pt x="901" y="179"/>
                  </a:lnTo>
                  <a:lnTo>
                    <a:pt x="901" y="167"/>
                  </a:lnTo>
                  <a:lnTo>
                    <a:pt x="900" y="154"/>
                  </a:lnTo>
                  <a:lnTo>
                    <a:pt x="899" y="142"/>
                  </a:lnTo>
                  <a:lnTo>
                    <a:pt x="896" y="130"/>
                  </a:lnTo>
                  <a:lnTo>
                    <a:pt x="892" y="119"/>
                  </a:lnTo>
                  <a:lnTo>
                    <a:pt x="890" y="113"/>
                  </a:lnTo>
                  <a:lnTo>
                    <a:pt x="888" y="108"/>
                  </a:lnTo>
                  <a:lnTo>
                    <a:pt x="885" y="103"/>
                  </a:lnTo>
                  <a:lnTo>
                    <a:pt x="882" y="97"/>
                  </a:lnTo>
                  <a:lnTo>
                    <a:pt x="879" y="92"/>
                  </a:lnTo>
                  <a:lnTo>
                    <a:pt x="876" y="87"/>
                  </a:lnTo>
                  <a:lnTo>
                    <a:pt x="868" y="78"/>
                  </a:lnTo>
                  <a:lnTo>
                    <a:pt x="863" y="73"/>
                  </a:lnTo>
                  <a:lnTo>
                    <a:pt x="859" y="69"/>
                  </a:lnTo>
                  <a:lnTo>
                    <a:pt x="848" y="61"/>
                  </a:lnTo>
                  <a:lnTo>
                    <a:pt x="837" y="54"/>
                  </a:lnTo>
                  <a:lnTo>
                    <a:pt x="824" y="47"/>
                  </a:lnTo>
                  <a:lnTo>
                    <a:pt x="811" y="40"/>
                  </a:lnTo>
                  <a:lnTo>
                    <a:pt x="796" y="34"/>
                  </a:lnTo>
                  <a:lnTo>
                    <a:pt x="780" y="29"/>
                  </a:lnTo>
                  <a:lnTo>
                    <a:pt x="764" y="23"/>
                  </a:lnTo>
                  <a:lnTo>
                    <a:pt x="747" y="19"/>
                  </a:lnTo>
                  <a:lnTo>
                    <a:pt x="730" y="14"/>
                  </a:lnTo>
                  <a:lnTo>
                    <a:pt x="711" y="11"/>
                  </a:lnTo>
                  <a:lnTo>
                    <a:pt x="693" y="7"/>
                  </a:lnTo>
                  <a:lnTo>
                    <a:pt x="674" y="5"/>
                  </a:lnTo>
                  <a:lnTo>
                    <a:pt x="656" y="3"/>
                  </a:lnTo>
                  <a:lnTo>
                    <a:pt x="638" y="1"/>
                  </a:lnTo>
                  <a:lnTo>
                    <a:pt x="619" y="0"/>
                  </a:lnTo>
                  <a:lnTo>
                    <a:pt x="601" y="0"/>
                  </a:lnTo>
                  <a:lnTo>
                    <a:pt x="579" y="0"/>
                  </a:lnTo>
                  <a:lnTo>
                    <a:pt x="557" y="2"/>
                  </a:lnTo>
                  <a:lnTo>
                    <a:pt x="536" y="4"/>
                  </a:lnTo>
                  <a:lnTo>
                    <a:pt x="515" y="6"/>
                  </a:lnTo>
                  <a:lnTo>
                    <a:pt x="495" y="10"/>
                  </a:lnTo>
                  <a:lnTo>
                    <a:pt x="485" y="12"/>
                  </a:lnTo>
                  <a:lnTo>
                    <a:pt x="475" y="15"/>
                  </a:lnTo>
                  <a:lnTo>
                    <a:pt x="466" y="17"/>
                  </a:lnTo>
                  <a:lnTo>
                    <a:pt x="456" y="20"/>
                  </a:lnTo>
                  <a:lnTo>
                    <a:pt x="437" y="26"/>
                  </a:lnTo>
                  <a:lnTo>
                    <a:pt x="419" y="33"/>
                  </a:lnTo>
                  <a:lnTo>
                    <a:pt x="401" y="40"/>
                  </a:lnTo>
                  <a:lnTo>
                    <a:pt x="384" y="48"/>
                  </a:lnTo>
                  <a:lnTo>
                    <a:pt x="367" y="57"/>
                  </a:lnTo>
                  <a:lnTo>
                    <a:pt x="350" y="67"/>
                  </a:lnTo>
                  <a:lnTo>
                    <a:pt x="342" y="72"/>
                  </a:lnTo>
                  <a:lnTo>
                    <a:pt x="334" y="78"/>
                  </a:lnTo>
                  <a:lnTo>
                    <a:pt x="319" y="89"/>
                  </a:lnTo>
                  <a:lnTo>
                    <a:pt x="311" y="95"/>
                  </a:lnTo>
                  <a:lnTo>
                    <a:pt x="303" y="101"/>
                  </a:lnTo>
                  <a:lnTo>
                    <a:pt x="296" y="107"/>
                  </a:lnTo>
                  <a:lnTo>
                    <a:pt x="288" y="114"/>
                  </a:lnTo>
                  <a:lnTo>
                    <a:pt x="281" y="120"/>
                  </a:lnTo>
                  <a:lnTo>
                    <a:pt x="274" y="127"/>
                  </a:lnTo>
                  <a:lnTo>
                    <a:pt x="261" y="141"/>
                  </a:lnTo>
                  <a:lnTo>
                    <a:pt x="249" y="155"/>
                  </a:lnTo>
                  <a:lnTo>
                    <a:pt x="243" y="163"/>
                  </a:lnTo>
                  <a:lnTo>
                    <a:pt x="238" y="171"/>
                  </a:lnTo>
                  <a:lnTo>
                    <a:pt x="227" y="186"/>
                  </a:lnTo>
                  <a:lnTo>
                    <a:pt x="218" y="202"/>
                  </a:lnTo>
                  <a:lnTo>
                    <a:pt x="214" y="210"/>
                  </a:lnTo>
                  <a:lnTo>
                    <a:pt x="210" y="218"/>
                  </a:lnTo>
                  <a:lnTo>
                    <a:pt x="203" y="234"/>
                  </a:lnTo>
                  <a:lnTo>
                    <a:pt x="199" y="242"/>
                  </a:lnTo>
                  <a:lnTo>
                    <a:pt x="196" y="251"/>
                  </a:lnTo>
                  <a:lnTo>
                    <a:pt x="191" y="268"/>
                  </a:lnTo>
                  <a:lnTo>
                    <a:pt x="188" y="277"/>
                  </a:lnTo>
                  <a:lnTo>
                    <a:pt x="186" y="286"/>
                  </a:lnTo>
                  <a:lnTo>
                    <a:pt x="183" y="304"/>
                  </a:lnTo>
                  <a:lnTo>
                    <a:pt x="180" y="323"/>
                  </a:lnTo>
                  <a:lnTo>
                    <a:pt x="180" y="332"/>
                  </a:lnTo>
                  <a:lnTo>
                    <a:pt x="179" y="341"/>
                  </a:lnTo>
                  <a:lnTo>
                    <a:pt x="178" y="361"/>
                  </a:lnTo>
                  <a:lnTo>
                    <a:pt x="179" y="371"/>
                  </a:lnTo>
                  <a:lnTo>
                    <a:pt x="179" y="382"/>
                  </a:lnTo>
                  <a:lnTo>
                    <a:pt x="180" y="392"/>
                  </a:lnTo>
                  <a:lnTo>
                    <a:pt x="182" y="403"/>
                  </a:lnTo>
                  <a:lnTo>
                    <a:pt x="185" y="423"/>
                  </a:lnTo>
                  <a:lnTo>
                    <a:pt x="188" y="433"/>
                  </a:lnTo>
                  <a:lnTo>
                    <a:pt x="191" y="443"/>
                  </a:lnTo>
                  <a:lnTo>
                    <a:pt x="194" y="452"/>
                  </a:lnTo>
                  <a:lnTo>
                    <a:pt x="198" y="462"/>
                  </a:lnTo>
                  <a:lnTo>
                    <a:pt x="202" y="471"/>
                  </a:lnTo>
                  <a:lnTo>
                    <a:pt x="206" y="481"/>
                  </a:lnTo>
                  <a:lnTo>
                    <a:pt x="211" y="490"/>
                  </a:lnTo>
                  <a:lnTo>
                    <a:pt x="216" y="499"/>
                  </a:lnTo>
                  <a:lnTo>
                    <a:pt x="222" y="507"/>
                  </a:lnTo>
                  <a:lnTo>
                    <a:pt x="227" y="516"/>
                  </a:lnTo>
                  <a:lnTo>
                    <a:pt x="233" y="524"/>
                  </a:lnTo>
                  <a:lnTo>
                    <a:pt x="240" y="532"/>
                  </a:lnTo>
                  <a:lnTo>
                    <a:pt x="247" y="541"/>
                  </a:lnTo>
                  <a:lnTo>
                    <a:pt x="255" y="550"/>
                  </a:lnTo>
                  <a:lnTo>
                    <a:pt x="272" y="569"/>
                  </a:lnTo>
                  <a:lnTo>
                    <a:pt x="282" y="579"/>
                  </a:lnTo>
                  <a:lnTo>
                    <a:pt x="292" y="589"/>
                  </a:lnTo>
                  <a:lnTo>
                    <a:pt x="303" y="599"/>
                  </a:lnTo>
                  <a:lnTo>
                    <a:pt x="315" y="610"/>
                  </a:lnTo>
                  <a:lnTo>
                    <a:pt x="340" y="633"/>
                  </a:lnTo>
                  <a:lnTo>
                    <a:pt x="368" y="657"/>
                  </a:lnTo>
                  <a:lnTo>
                    <a:pt x="398" y="682"/>
                  </a:lnTo>
                  <a:lnTo>
                    <a:pt x="499" y="763"/>
                  </a:lnTo>
                  <a:lnTo>
                    <a:pt x="515" y="777"/>
                  </a:lnTo>
                  <a:lnTo>
                    <a:pt x="529" y="790"/>
                  </a:lnTo>
                  <a:lnTo>
                    <a:pt x="543" y="803"/>
                  </a:lnTo>
                  <a:lnTo>
                    <a:pt x="556" y="816"/>
                  </a:lnTo>
                  <a:lnTo>
                    <a:pt x="567" y="829"/>
                  </a:lnTo>
                  <a:lnTo>
                    <a:pt x="573" y="835"/>
                  </a:lnTo>
                  <a:lnTo>
                    <a:pt x="578" y="841"/>
                  </a:lnTo>
                  <a:lnTo>
                    <a:pt x="588" y="854"/>
                  </a:lnTo>
                  <a:lnTo>
                    <a:pt x="596" y="867"/>
                  </a:lnTo>
                  <a:lnTo>
                    <a:pt x="604" y="880"/>
                  </a:lnTo>
                  <a:lnTo>
                    <a:pt x="610" y="893"/>
                  </a:lnTo>
                  <a:lnTo>
                    <a:pt x="613" y="899"/>
                  </a:lnTo>
                  <a:lnTo>
                    <a:pt x="616" y="905"/>
                  </a:lnTo>
                  <a:lnTo>
                    <a:pt x="621" y="918"/>
                  </a:lnTo>
                  <a:lnTo>
                    <a:pt x="624" y="931"/>
                  </a:lnTo>
                  <a:lnTo>
                    <a:pt x="627" y="943"/>
                  </a:lnTo>
                  <a:lnTo>
                    <a:pt x="628" y="956"/>
                  </a:lnTo>
                  <a:lnTo>
                    <a:pt x="629" y="968"/>
                  </a:lnTo>
                  <a:lnTo>
                    <a:pt x="628" y="976"/>
                  </a:lnTo>
                  <a:lnTo>
                    <a:pt x="628" y="985"/>
                  </a:lnTo>
                  <a:lnTo>
                    <a:pt x="627" y="993"/>
                  </a:lnTo>
                  <a:lnTo>
                    <a:pt x="626" y="1000"/>
                  </a:lnTo>
                  <a:lnTo>
                    <a:pt x="624" y="1008"/>
                  </a:lnTo>
                  <a:lnTo>
                    <a:pt x="623" y="1012"/>
                  </a:lnTo>
                  <a:lnTo>
                    <a:pt x="622" y="1015"/>
                  </a:lnTo>
                  <a:lnTo>
                    <a:pt x="619" y="1022"/>
                  </a:lnTo>
                  <a:lnTo>
                    <a:pt x="616" y="1029"/>
                  </a:lnTo>
                  <a:lnTo>
                    <a:pt x="613" y="1036"/>
                  </a:lnTo>
                  <a:lnTo>
                    <a:pt x="609" y="1043"/>
                  </a:lnTo>
                  <a:lnTo>
                    <a:pt x="605" y="1049"/>
                  </a:lnTo>
                  <a:lnTo>
                    <a:pt x="601" y="1055"/>
                  </a:lnTo>
                  <a:lnTo>
                    <a:pt x="596" y="1061"/>
                  </a:lnTo>
                  <a:lnTo>
                    <a:pt x="590" y="1067"/>
                  </a:lnTo>
                  <a:lnTo>
                    <a:pt x="578" y="1078"/>
                  </a:lnTo>
                  <a:lnTo>
                    <a:pt x="572" y="1084"/>
                  </a:lnTo>
                  <a:lnTo>
                    <a:pt x="565" y="1089"/>
                  </a:lnTo>
                  <a:lnTo>
                    <a:pt x="550" y="1098"/>
                  </a:lnTo>
                  <a:lnTo>
                    <a:pt x="542" y="1103"/>
                  </a:lnTo>
                  <a:lnTo>
                    <a:pt x="534" y="1106"/>
                  </a:lnTo>
                  <a:lnTo>
                    <a:pt x="525" y="1110"/>
                  </a:lnTo>
                  <a:lnTo>
                    <a:pt x="517" y="1113"/>
                  </a:lnTo>
                  <a:lnTo>
                    <a:pt x="508" y="1115"/>
                  </a:lnTo>
                  <a:lnTo>
                    <a:pt x="499" y="1118"/>
                  </a:lnTo>
                  <a:lnTo>
                    <a:pt x="489" y="1120"/>
                  </a:lnTo>
                  <a:lnTo>
                    <a:pt x="480" y="1121"/>
                  </a:lnTo>
                  <a:lnTo>
                    <a:pt x="470" y="1122"/>
                  </a:lnTo>
                  <a:lnTo>
                    <a:pt x="459" y="1123"/>
                  </a:lnTo>
                  <a:lnTo>
                    <a:pt x="449" y="1124"/>
                  </a:lnTo>
                  <a:lnTo>
                    <a:pt x="438" y="1124"/>
                  </a:lnTo>
                  <a:lnTo>
                    <a:pt x="426" y="1123"/>
                  </a:lnTo>
                  <a:lnTo>
                    <a:pt x="414" y="1122"/>
                  </a:lnTo>
                  <a:lnTo>
                    <a:pt x="402" y="1120"/>
                  </a:lnTo>
                  <a:lnTo>
                    <a:pt x="391" y="1118"/>
                  </a:lnTo>
                  <a:lnTo>
                    <a:pt x="381" y="1115"/>
                  </a:lnTo>
                  <a:lnTo>
                    <a:pt x="371" y="1112"/>
                  </a:lnTo>
                  <a:lnTo>
                    <a:pt x="361" y="1109"/>
                  </a:lnTo>
                  <a:lnTo>
                    <a:pt x="352" y="1104"/>
                  </a:lnTo>
                  <a:lnTo>
                    <a:pt x="344" y="1100"/>
                  </a:lnTo>
                  <a:lnTo>
                    <a:pt x="336" y="1095"/>
                  </a:lnTo>
                  <a:lnTo>
                    <a:pt x="328" y="1090"/>
                  </a:lnTo>
                  <a:lnTo>
                    <a:pt x="321" y="1085"/>
                  </a:lnTo>
                  <a:lnTo>
                    <a:pt x="314" y="1079"/>
                  </a:lnTo>
                  <a:lnTo>
                    <a:pt x="308" y="1073"/>
                  </a:lnTo>
                  <a:lnTo>
                    <a:pt x="301" y="1067"/>
                  </a:lnTo>
                  <a:lnTo>
                    <a:pt x="296" y="1061"/>
                  </a:lnTo>
                  <a:lnTo>
                    <a:pt x="285" y="1048"/>
                  </a:lnTo>
                  <a:lnTo>
                    <a:pt x="275" y="1034"/>
                  </a:lnTo>
                  <a:lnTo>
                    <a:pt x="267" y="1021"/>
                  </a:lnTo>
                  <a:lnTo>
                    <a:pt x="259" y="1007"/>
                  </a:lnTo>
                  <a:lnTo>
                    <a:pt x="253" y="994"/>
                  </a:lnTo>
                  <a:lnTo>
                    <a:pt x="247" y="981"/>
                  </a:lnTo>
                  <a:lnTo>
                    <a:pt x="236" y="958"/>
                  </a:lnTo>
                  <a:lnTo>
                    <a:pt x="232" y="950"/>
                  </a:lnTo>
                  <a:lnTo>
                    <a:pt x="228" y="943"/>
                  </a:lnTo>
                  <a:lnTo>
                    <a:pt x="223" y="936"/>
                  </a:lnTo>
                  <a:lnTo>
                    <a:pt x="219" y="929"/>
                  </a:lnTo>
                  <a:lnTo>
                    <a:pt x="213" y="923"/>
                  </a:lnTo>
                  <a:lnTo>
                    <a:pt x="211" y="921"/>
                  </a:lnTo>
                  <a:lnTo>
                    <a:pt x="208" y="918"/>
                  </a:lnTo>
                  <a:lnTo>
                    <a:pt x="202" y="913"/>
                  </a:lnTo>
                  <a:lnTo>
                    <a:pt x="197" y="909"/>
                  </a:lnTo>
                  <a:lnTo>
                    <a:pt x="190" y="905"/>
                  </a:lnTo>
                  <a:lnTo>
                    <a:pt x="184" y="901"/>
                  </a:lnTo>
                  <a:lnTo>
                    <a:pt x="178" y="898"/>
                  </a:lnTo>
                  <a:lnTo>
                    <a:pt x="171" y="896"/>
                  </a:lnTo>
                  <a:lnTo>
                    <a:pt x="164" y="893"/>
                  </a:lnTo>
                  <a:lnTo>
                    <a:pt x="158" y="891"/>
                  </a:lnTo>
                  <a:lnTo>
                    <a:pt x="151" y="890"/>
                  </a:lnTo>
                  <a:lnTo>
                    <a:pt x="143" y="889"/>
                  </a:lnTo>
                  <a:lnTo>
                    <a:pt x="131" y="888"/>
                  </a:lnTo>
                  <a:lnTo>
                    <a:pt x="124" y="888"/>
                  </a:lnTo>
                  <a:lnTo>
                    <a:pt x="118" y="889"/>
                  </a:lnTo>
                  <a:lnTo>
                    <a:pt x="111" y="890"/>
                  </a:lnTo>
                  <a:lnTo>
                    <a:pt x="104" y="891"/>
                  </a:lnTo>
                  <a:lnTo>
                    <a:pt x="97" y="893"/>
                  </a:lnTo>
                  <a:lnTo>
                    <a:pt x="90" y="896"/>
                  </a:lnTo>
                  <a:lnTo>
                    <a:pt x="83" y="898"/>
                  </a:lnTo>
                  <a:lnTo>
                    <a:pt x="76" y="902"/>
                  </a:lnTo>
                  <a:lnTo>
                    <a:pt x="69" y="905"/>
                  </a:lnTo>
                  <a:lnTo>
                    <a:pt x="62" y="909"/>
                  </a:lnTo>
                  <a:lnTo>
                    <a:pt x="55" y="914"/>
                  </a:lnTo>
                  <a:lnTo>
                    <a:pt x="49" y="918"/>
                  </a:lnTo>
                  <a:lnTo>
                    <a:pt x="42" y="924"/>
                  </a:lnTo>
                  <a:lnTo>
                    <a:pt x="37" y="929"/>
                  </a:lnTo>
                  <a:lnTo>
                    <a:pt x="31" y="935"/>
                  </a:lnTo>
                  <a:lnTo>
                    <a:pt x="26" y="941"/>
                  </a:lnTo>
                  <a:lnTo>
                    <a:pt x="21" y="948"/>
                  </a:lnTo>
                  <a:lnTo>
                    <a:pt x="16" y="955"/>
                  </a:lnTo>
                  <a:lnTo>
                    <a:pt x="12" y="962"/>
                  </a:lnTo>
                  <a:lnTo>
                    <a:pt x="9" y="970"/>
                  </a:lnTo>
                  <a:lnTo>
                    <a:pt x="6" y="978"/>
                  </a:lnTo>
                  <a:lnTo>
                    <a:pt x="3" y="987"/>
                  </a:lnTo>
                  <a:lnTo>
                    <a:pt x="2" y="995"/>
                  </a:lnTo>
                  <a:lnTo>
                    <a:pt x="1" y="1004"/>
                  </a:lnTo>
                  <a:lnTo>
                    <a:pt x="0" y="1014"/>
                  </a:lnTo>
                  <a:lnTo>
                    <a:pt x="0" y="1024"/>
                  </a:lnTo>
                  <a:lnTo>
                    <a:pt x="1" y="1034"/>
                  </a:lnTo>
                  <a:lnTo>
                    <a:pt x="3" y="1044"/>
                  </a:lnTo>
                  <a:lnTo>
                    <a:pt x="6" y="1055"/>
                  </a:lnTo>
                  <a:lnTo>
                    <a:pt x="10" y="1066"/>
                  </a:lnTo>
                  <a:lnTo>
                    <a:pt x="14" y="1077"/>
                  </a:lnTo>
                  <a:lnTo>
                    <a:pt x="19" y="1088"/>
                  </a:lnTo>
                  <a:lnTo>
                    <a:pt x="24" y="1098"/>
                  </a:lnTo>
                  <a:lnTo>
                    <a:pt x="29" y="1109"/>
                  </a:lnTo>
                  <a:lnTo>
                    <a:pt x="35" y="1119"/>
                  </a:lnTo>
                  <a:lnTo>
                    <a:pt x="42" y="1129"/>
                  </a:lnTo>
                  <a:lnTo>
                    <a:pt x="49" y="1139"/>
                  </a:lnTo>
                  <a:lnTo>
                    <a:pt x="56" y="1148"/>
                  </a:lnTo>
                  <a:lnTo>
                    <a:pt x="64" y="1158"/>
                  </a:lnTo>
                  <a:lnTo>
                    <a:pt x="72" y="1167"/>
                  </a:lnTo>
                  <a:lnTo>
                    <a:pt x="81" y="1175"/>
                  </a:lnTo>
                  <a:lnTo>
                    <a:pt x="90" y="1184"/>
                  </a:lnTo>
                  <a:lnTo>
                    <a:pt x="99" y="1192"/>
                  </a:lnTo>
                  <a:lnTo>
                    <a:pt x="109" y="1200"/>
                  </a:lnTo>
                  <a:lnTo>
                    <a:pt x="130" y="1215"/>
                  </a:lnTo>
                  <a:lnTo>
                    <a:pt x="141" y="1221"/>
                  </a:lnTo>
                  <a:lnTo>
                    <a:pt x="152" y="1228"/>
                  </a:lnTo>
                  <a:lnTo>
                    <a:pt x="164" y="1234"/>
                  </a:lnTo>
                  <a:lnTo>
                    <a:pt x="176" y="1240"/>
                  </a:lnTo>
                  <a:lnTo>
                    <a:pt x="189" y="1245"/>
                  </a:lnTo>
                  <a:lnTo>
                    <a:pt x="202" y="1250"/>
                  </a:lnTo>
                  <a:lnTo>
                    <a:pt x="215" y="1254"/>
                  </a:lnTo>
                  <a:lnTo>
                    <a:pt x="229" y="1258"/>
                  </a:lnTo>
                  <a:lnTo>
                    <a:pt x="243" y="1262"/>
                  </a:lnTo>
                  <a:lnTo>
                    <a:pt x="257" y="1265"/>
                  </a:lnTo>
                  <a:lnTo>
                    <a:pt x="271" y="1268"/>
                  </a:lnTo>
                  <a:lnTo>
                    <a:pt x="286" y="1270"/>
                  </a:lnTo>
                  <a:lnTo>
                    <a:pt x="302" y="1272"/>
                  </a:lnTo>
                  <a:lnTo>
                    <a:pt x="317" y="1273"/>
                  </a:lnTo>
                  <a:lnTo>
                    <a:pt x="333" y="1274"/>
                  </a:lnTo>
                  <a:lnTo>
                    <a:pt x="350" y="1274"/>
                  </a:lnTo>
                  <a:lnTo>
                    <a:pt x="375" y="1274"/>
                  </a:lnTo>
                  <a:lnTo>
                    <a:pt x="400" y="1273"/>
                  </a:lnTo>
                  <a:lnTo>
                    <a:pt x="412" y="1272"/>
                  </a:lnTo>
                  <a:lnTo>
                    <a:pt x="424" y="1270"/>
                  </a:lnTo>
                  <a:lnTo>
                    <a:pt x="448" y="1267"/>
                  </a:lnTo>
                  <a:lnTo>
                    <a:pt x="472" y="1264"/>
                  </a:lnTo>
                  <a:lnTo>
                    <a:pt x="495" y="1259"/>
                  </a:lnTo>
                  <a:lnTo>
                    <a:pt x="517" y="1253"/>
                  </a:lnTo>
                  <a:lnTo>
                    <a:pt x="539" y="1247"/>
                  </a:lnTo>
                  <a:lnTo>
                    <a:pt x="561" y="1239"/>
                  </a:lnTo>
                  <a:lnTo>
                    <a:pt x="581" y="1231"/>
                  </a:lnTo>
                  <a:lnTo>
                    <a:pt x="602" y="1222"/>
                  </a:lnTo>
                  <a:lnTo>
                    <a:pt x="622" y="1212"/>
                  </a:lnTo>
                  <a:lnTo>
                    <a:pt x="641" y="1202"/>
                  </a:lnTo>
                  <a:lnTo>
                    <a:pt x="660" y="1190"/>
                  </a:lnTo>
                  <a:lnTo>
                    <a:pt x="678" y="1178"/>
                  </a:lnTo>
                  <a:lnTo>
                    <a:pt x="695" y="1164"/>
                  </a:lnTo>
                  <a:lnTo>
                    <a:pt x="713" y="1150"/>
                  </a:lnTo>
                  <a:lnTo>
                    <a:pt x="721" y="1143"/>
                  </a:lnTo>
                  <a:lnTo>
                    <a:pt x="730" y="1135"/>
                  </a:lnTo>
                  <a:lnTo>
                    <a:pt x="745" y="1120"/>
                  </a:lnTo>
                  <a:lnTo>
                    <a:pt x="759" y="1104"/>
                  </a:lnTo>
                  <a:lnTo>
                    <a:pt x="772" y="1087"/>
                  </a:lnTo>
                  <a:lnTo>
                    <a:pt x="778" y="1079"/>
                  </a:lnTo>
                  <a:lnTo>
                    <a:pt x="784" y="1071"/>
                  </a:lnTo>
                  <a:lnTo>
                    <a:pt x="795" y="1053"/>
                  </a:lnTo>
                  <a:lnTo>
                    <a:pt x="800" y="1045"/>
                  </a:lnTo>
                  <a:lnTo>
                    <a:pt x="805" y="1036"/>
                  </a:lnTo>
                  <a:lnTo>
                    <a:pt x="813" y="1017"/>
                  </a:lnTo>
                  <a:lnTo>
                    <a:pt x="817" y="1008"/>
                  </a:lnTo>
                  <a:lnTo>
                    <a:pt x="820" y="999"/>
                  </a:lnTo>
                  <a:lnTo>
                    <a:pt x="827" y="980"/>
                  </a:lnTo>
                  <a:lnTo>
                    <a:pt x="829" y="970"/>
                  </a:lnTo>
                  <a:lnTo>
                    <a:pt x="832" y="960"/>
                  </a:lnTo>
                  <a:lnTo>
                    <a:pt x="836" y="940"/>
                  </a:lnTo>
                  <a:lnTo>
                    <a:pt x="837" y="930"/>
                  </a:lnTo>
                  <a:lnTo>
                    <a:pt x="839" y="920"/>
                  </a:lnTo>
                  <a:lnTo>
                    <a:pt x="840" y="899"/>
                  </a:lnTo>
                  <a:lnTo>
                    <a:pt x="841" y="888"/>
                  </a:lnTo>
                  <a:lnTo>
                    <a:pt x="841" y="878"/>
                  </a:lnTo>
                  <a:lnTo>
                    <a:pt x="840" y="858"/>
                  </a:lnTo>
                  <a:lnTo>
                    <a:pt x="839" y="848"/>
                  </a:lnTo>
                  <a:lnTo>
                    <a:pt x="838" y="839"/>
                  </a:lnTo>
                  <a:lnTo>
                    <a:pt x="835" y="819"/>
                  </a:lnTo>
                  <a:lnTo>
                    <a:pt x="833" y="810"/>
                  </a:lnTo>
                  <a:lnTo>
                    <a:pt x="830" y="800"/>
                  </a:lnTo>
                  <a:lnTo>
                    <a:pt x="827" y="790"/>
                  </a:lnTo>
                  <a:lnTo>
                    <a:pt x="824" y="781"/>
                  </a:lnTo>
                  <a:lnTo>
                    <a:pt x="817" y="762"/>
                  </a:lnTo>
                  <a:lnTo>
                    <a:pt x="813" y="753"/>
                  </a:lnTo>
                  <a:lnTo>
                    <a:pt x="808" y="743"/>
                  </a:lnTo>
                  <a:lnTo>
                    <a:pt x="803" y="734"/>
                  </a:lnTo>
                  <a:lnTo>
                    <a:pt x="798" y="725"/>
                  </a:lnTo>
                  <a:lnTo>
                    <a:pt x="787" y="706"/>
                  </a:lnTo>
                  <a:lnTo>
                    <a:pt x="781" y="697"/>
                  </a:lnTo>
                  <a:lnTo>
                    <a:pt x="774" y="688"/>
                  </a:lnTo>
                  <a:lnTo>
                    <a:pt x="767" y="679"/>
                  </a:lnTo>
                  <a:lnTo>
                    <a:pt x="760" y="670"/>
                  </a:lnTo>
                  <a:lnTo>
                    <a:pt x="745" y="652"/>
                  </a:lnTo>
                  <a:lnTo>
                    <a:pt x="737" y="643"/>
                  </a:lnTo>
                  <a:lnTo>
                    <a:pt x="728" y="634"/>
                  </a:lnTo>
                  <a:lnTo>
                    <a:pt x="709" y="616"/>
                  </a:lnTo>
                  <a:lnTo>
                    <a:pt x="700" y="608"/>
                  </a:lnTo>
                  <a:lnTo>
                    <a:pt x="690" y="599"/>
                  </a:lnTo>
                  <a:lnTo>
                    <a:pt x="670" y="582"/>
                  </a:lnTo>
                  <a:lnTo>
                    <a:pt x="589" y="515"/>
                  </a:lnTo>
                  <a:lnTo>
                    <a:pt x="528" y="464"/>
                  </a:lnTo>
                  <a:lnTo>
                    <a:pt x="501" y="442"/>
                  </a:lnTo>
                  <a:lnTo>
                    <a:pt x="478" y="421"/>
                  </a:lnTo>
                  <a:lnTo>
                    <a:pt x="458" y="402"/>
                  </a:lnTo>
                  <a:lnTo>
                    <a:pt x="440" y="384"/>
                  </a:lnTo>
                  <a:lnTo>
                    <a:pt x="425" y="369"/>
                  </a:lnTo>
                  <a:lnTo>
                    <a:pt x="419" y="362"/>
                  </a:lnTo>
                  <a:lnTo>
                    <a:pt x="414" y="356"/>
                  </a:lnTo>
                  <a:lnTo>
                    <a:pt x="406" y="345"/>
                  </a:lnTo>
                  <a:lnTo>
                    <a:pt x="399" y="335"/>
                  </a:lnTo>
                  <a:lnTo>
                    <a:pt x="396" y="330"/>
                  </a:lnTo>
                  <a:lnTo>
                    <a:pt x="394" y="324"/>
                  </a:lnTo>
                  <a:lnTo>
                    <a:pt x="389" y="314"/>
                  </a:lnTo>
                  <a:lnTo>
                    <a:pt x="386" y="303"/>
                  </a:lnTo>
                  <a:lnTo>
                    <a:pt x="383" y="293"/>
                  </a:lnTo>
                  <a:lnTo>
                    <a:pt x="381" y="282"/>
                  </a:lnTo>
                  <a:lnTo>
                    <a:pt x="380" y="272"/>
                  </a:lnTo>
                  <a:lnTo>
                    <a:pt x="380" y="264"/>
                  </a:lnTo>
                  <a:lnTo>
                    <a:pt x="380" y="257"/>
                  </a:lnTo>
                  <a:lnTo>
                    <a:pt x="382" y="249"/>
                  </a:lnTo>
                  <a:lnTo>
                    <a:pt x="384" y="241"/>
                  </a:lnTo>
                  <a:lnTo>
                    <a:pt x="386" y="233"/>
                  </a:lnTo>
                  <a:lnTo>
                    <a:pt x="390" y="225"/>
                  </a:lnTo>
                  <a:lnTo>
                    <a:pt x="394" y="217"/>
                  </a:lnTo>
                  <a:lnTo>
                    <a:pt x="398" y="210"/>
                  </a:lnTo>
                  <a:lnTo>
                    <a:pt x="404" y="202"/>
                  </a:lnTo>
                  <a:lnTo>
                    <a:pt x="407" y="198"/>
                  </a:lnTo>
                  <a:lnTo>
                    <a:pt x="410" y="195"/>
                  </a:lnTo>
                  <a:lnTo>
                    <a:pt x="416" y="188"/>
                  </a:lnTo>
                  <a:lnTo>
                    <a:pt x="423" y="181"/>
                  </a:lnTo>
                  <a:lnTo>
                    <a:pt x="431" y="174"/>
                  </a:lnTo>
                  <a:lnTo>
                    <a:pt x="439" y="168"/>
                  </a:lnTo>
                  <a:lnTo>
                    <a:pt x="447" y="163"/>
                  </a:lnTo>
                  <a:lnTo>
                    <a:pt x="456" y="157"/>
                  </a:lnTo>
                  <a:lnTo>
                    <a:pt x="466" y="152"/>
                  </a:lnTo>
                  <a:lnTo>
                    <a:pt x="476" y="148"/>
                  </a:lnTo>
                  <a:lnTo>
                    <a:pt x="486" y="145"/>
                  </a:lnTo>
                  <a:lnTo>
                    <a:pt x="497" y="142"/>
                  </a:lnTo>
                  <a:lnTo>
                    <a:pt x="509" y="140"/>
                  </a:lnTo>
                  <a:lnTo>
                    <a:pt x="514" y="139"/>
                  </a:lnTo>
                  <a:lnTo>
                    <a:pt x="520" y="139"/>
                  </a:lnTo>
                  <a:lnTo>
                    <a:pt x="532" y="139"/>
                  </a:lnTo>
                  <a:lnTo>
                    <a:pt x="545" y="139"/>
                  </a:lnTo>
                  <a:lnTo>
                    <a:pt x="557" y="141"/>
                  </a:lnTo>
                  <a:lnTo>
                    <a:pt x="570" y="143"/>
                  </a:lnTo>
                  <a:lnTo>
                    <a:pt x="584" y="147"/>
                  </a:lnTo>
                  <a:lnTo>
                    <a:pt x="590" y="149"/>
                  </a:lnTo>
                  <a:lnTo>
                    <a:pt x="597" y="152"/>
                  </a:lnTo>
                  <a:lnTo>
                    <a:pt x="611" y="157"/>
                  </a:lnTo>
                  <a:lnTo>
                    <a:pt x="625" y="165"/>
                  </a:lnTo>
                  <a:lnTo>
                    <a:pt x="639" y="174"/>
                  </a:lnTo>
                  <a:lnTo>
                    <a:pt x="654" y="1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400" b="1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C4077D77-9D0A-4E2E-9D8F-483A121FA1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5554" y="2513316"/>
              <a:ext cx="1136894" cy="255853"/>
            </a:xfrm>
            <a:custGeom>
              <a:avLst/>
              <a:gdLst>
                <a:gd name="T0" fmla="*/ 355 w 2718"/>
                <a:gd name="T1" fmla="*/ 506 h 611"/>
                <a:gd name="T2" fmla="*/ 571 w 2718"/>
                <a:gd name="T3" fmla="*/ 436 h 611"/>
                <a:gd name="T4" fmla="*/ 776 w 2718"/>
                <a:gd name="T5" fmla="*/ 379 h 611"/>
                <a:gd name="T6" fmla="*/ 972 w 2718"/>
                <a:gd name="T7" fmla="*/ 334 h 611"/>
                <a:gd name="T8" fmla="*/ 1141 w 2718"/>
                <a:gd name="T9" fmla="*/ 303 h 611"/>
                <a:gd name="T10" fmla="*/ 1335 w 2718"/>
                <a:gd name="T11" fmla="*/ 278 h 611"/>
                <a:gd name="T12" fmla="*/ 1516 w 2718"/>
                <a:gd name="T13" fmla="*/ 265 h 611"/>
                <a:gd name="T14" fmla="*/ 1718 w 2718"/>
                <a:gd name="T15" fmla="*/ 262 h 611"/>
                <a:gd name="T16" fmla="*/ 1875 w 2718"/>
                <a:gd name="T17" fmla="*/ 270 h 611"/>
                <a:gd name="T18" fmla="*/ 2020 w 2718"/>
                <a:gd name="T19" fmla="*/ 286 h 611"/>
                <a:gd name="T20" fmla="*/ 2153 w 2718"/>
                <a:gd name="T21" fmla="*/ 309 h 611"/>
                <a:gd name="T22" fmla="*/ 2298 w 2718"/>
                <a:gd name="T23" fmla="*/ 345 h 611"/>
                <a:gd name="T24" fmla="*/ 2427 w 2718"/>
                <a:gd name="T25" fmla="*/ 387 h 611"/>
                <a:gd name="T26" fmla="*/ 2540 w 2718"/>
                <a:gd name="T27" fmla="*/ 433 h 611"/>
                <a:gd name="T28" fmla="*/ 2666 w 2718"/>
                <a:gd name="T29" fmla="*/ 500 h 611"/>
                <a:gd name="T30" fmla="*/ 2718 w 2718"/>
                <a:gd name="T31" fmla="*/ 526 h 611"/>
                <a:gd name="T32" fmla="*/ 2713 w 2718"/>
                <a:gd name="T33" fmla="*/ 509 h 611"/>
                <a:gd name="T34" fmla="*/ 2693 w 2718"/>
                <a:gd name="T35" fmla="*/ 478 h 611"/>
                <a:gd name="T36" fmla="*/ 2658 w 2718"/>
                <a:gd name="T37" fmla="*/ 440 h 611"/>
                <a:gd name="T38" fmla="*/ 2589 w 2718"/>
                <a:gd name="T39" fmla="*/ 383 h 611"/>
                <a:gd name="T40" fmla="*/ 2496 w 2718"/>
                <a:gd name="T41" fmla="*/ 323 h 611"/>
                <a:gd name="T42" fmla="*/ 2380 w 2718"/>
                <a:gd name="T43" fmla="*/ 262 h 611"/>
                <a:gd name="T44" fmla="*/ 2242 w 2718"/>
                <a:gd name="T45" fmla="*/ 204 h 611"/>
                <a:gd name="T46" fmla="*/ 2083 w 2718"/>
                <a:gd name="T47" fmla="*/ 153 h 611"/>
                <a:gd name="T48" fmla="*/ 1917 w 2718"/>
                <a:gd name="T49" fmla="*/ 115 h 611"/>
                <a:gd name="T50" fmla="*/ 1784 w 2718"/>
                <a:gd name="T51" fmla="*/ 97 h 611"/>
                <a:gd name="T52" fmla="*/ 1648 w 2718"/>
                <a:gd name="T53" fmla="*/ 87 h 611"/>
                <a:gd name="T54" fmla="*/ 1478 w 2718"/>
                <a:gd name="T55" fmla="*/ 87 h 611"/>
                <a:gd name="T56" fmla="*/ 1343 w 2718"/>
                <a:gd name="T57" fmla="*/ 96 h 611"/>
                <a:gd name="T58" fmla="*/ 1177 w 2718"/>
                <a:gd name="T59" fmla="*/ 114 h 611"/>
                <a:gd name="T60" fmla="*/ 1047 w 2718"/>
                <a:gd name="T61" fmla="*/ 135 h 611"/>
                <a:gd name="T62" fmla="*/ 893 w 2718"/>
                <a:gd name="T63" fmla="*/ 165 h 611"/>
                <a:gd name="T64" fmla="*/ 667 w 2718"/>
                <a:gd name="T65" fmla="*/ 220 h 611"/>
                <a:gd name="T66" fmla="*/ 477 w 2718"/>
                <a:gd name="T67" fmla="*/ 277 h 611"/>
                <a:gd name="T68" fmla="*/ 278 w 2718"/>
                <a:gd name="T69" fmla="*/ 345 h 611"/>
                <a:gd name="T70" fmla="*/ 252 w 2718"/>
                <a:gd name="T71" fmla="*/ 269 h 611"/>
                <a:gd name="T72" fmla="*/ 265 w 2718"/>
                <a:gd name="T73" fmla="*/ 153 h 611"/>
                <a:gd name="T74" fmla="*/ 263 w 2718"/>
                <a:gd name="T75" fmla="*/ 99 h 611"/>
                <a:gd name="T76" fmla="*/ 254 w 2718"/>
                <a:gd name="T77" fmla="*/ 62 h 611"/>
                <a:gd name="T78" fmla="*/ 237 w 2718"/>
                <a:gd name="T79" fmla="*/ 30 h 611"/>
                <a:gd name="T80" fmla="*/ 217 w 2718"/>
                <a:gd name="T81" fmla="*/ 12 h 611"/>
                <a:gd name="T82" fmla="*/ 192 w 2718"/>
                <a:gd name="T83" fmla="*/ 3 h 611"/>
                <a:gd name="T84" fmla="*/ 163 w 2718"/>
                <a:gd name="T85" fmla="*/ 1 h 611"/>
                <a:gd name="T86" fmla="*/ 132 w 2718"/>
                <a:gd name="T87" fmla="*/ 6 h 611"/>
                <a:gd name="T88" fmla="*/ 103 w 2718"/>
                <a:gd name="T89" fmla="*/ 20 h 611"/>
                <a:gd name="T90" fmla="*/ 76 w 2718"/>
                <a:gd name="T91" fmla="*/ 44 h 611"/>
                <a:gd name="T92" fmla="*/ 56 w 2718"/>
                <a:gd name="T93" fmla="*/ 79 h 611"/>
                <a:gd name="T94" fmla="*/ 43 w 2718"/>
                <a:gd name="T95" fmla="*/ 126 h 611"/>
                <a:gd name="T96" fmla="*/ 26 w 2718"/>
                <a:gd name="T97" fmla="*/ 308 h 611"/>
                <a:gd name="T98" fmla="*/ 0 w 2718"/>
                <a:gd name="T99" fmla="*/ 527 h 611"/>
                <a:gd name="T100" fmla="*/ 3 w 2718"/>
                <a:gd name="T101" fmla="*/ 570 h 611"/>
                <a:gd name="T102" fmla="*/ 14 w 2718"/>
                <a:gd name="T103" fmla="*/ 596 h 611"/>
                <a:gd name="T104" fmla="*/ 34 w 2718"/>
                <a:gd name="T105" fmla="*/ 609 h 611"/>
                <a:gd name="T106" fmla="*/ 61 w 2718"/>
                <a:gd name="T107" fmla="*/ 610 h 611"/>
                <a:gd name="T108" fmla="*/ 110 w 2718"/>
                <a:gd name="T109" fmla="*/ 598 h 611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718"/>
                <a:gd name="T166" fmla="*/ 0 h 611"/>
                <a:gd name="T167" fmla="*/ 2718 w 2718"/>
                <a:gd name="T168" fmla="*/ 611 h 611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718" h="611">
                  <a:moveTo>
                    <a:pt x="187" y="568"/>
                  </a:moveTo>
                  <a:lnTo>
                    <a:pt x="244" y="546"/>
                  </a:lnTo>
                  <a:lnTo>
                    <a:pt x="300" y="526"/>
                  </a:lnTo>
                  <a:lnTo>
                    <a:pt x="355" y="506"/>
                  </a:lnTo>
                  <a:lnTo>
                    <a:pt x="410" y="487"/>
                  </a:lnTo>
                  <a:lnTo>
                    <a:pt x="464" y="469"/>
                  </a:lnTo>
                  <a:lnTo>
                    <a:pt x="518" y="452"/>
                  </a:lnTo>
                  <a:lnTo>
                    <a:pt x="571" y="436"/>
                  </a:lnTo>
                  <a:lnTo>
                    <a:pt x="623" y="420"/>
                  </a:lnTo>
                  <a:lnTo>
                    <a:pt x="675" y="406"/>
                  </a:lnTo>
                  <a:lnTo>
                    <a:pt x="726" y="392"/>
                  </a:lnTo>
                  <a:lnTo>
                    <a:pt x="776" y="379"/>
                  </a:lnTo>
                  <a:lnTo>
                    <a:pt x="826" y="366"/>
                  </a:lnTo>
                  <a:lnTo>
                    <a:pt x="876" y="355"/>
                  </a:lnTo>
                  <a:lnTo>
                    <a:pt x="924" y="344"/>
                  </a:lnTo>
                  <a:lnTo>
                    <a:pt x="972" y="334"/>
                  </a:lnTo>
                  <a:lnTo>
                    <a:pt x="1020" y="325"/>
                  </a:lnTo>
                  <a:lnTo>
                    <a:pt x="1061" y="317"/>
                  </a:lnTo>
                  <a:lnTo>
                    <a:pt x="1101" y="310"/>
                  </a:lnTo>
                  <a:lnTo>
                    <a:pt x="1141" y="303"/>
                  </a:lnTo>
                  <a:lnTo>
                    <a:pt x="1181" y="297"/>
                  </a:lnTo>
                  <a:lnTo>
                    <a:pt x="1259" y="287"/>
                  </a:lnTo>
                  <a:lnTo>
                    <a:pt x="1297" y="282"/>
                  </a:lnTo>
                  <a:lnTo>
                    <a:pt x="1335" y="278"/>
                  </a:lnTo>
                  <a:lnTo>
                    <a:pt x="1409" y="271"/>
                  </a:lnTo>
                  <a:lnTo>
                    <a:pt x="1445" y="269"/>
                  </a:lnTo>
                  <a:lnTo>
                    <a:pt x="1481" y="266"/>
                  </a:lnTo>
                  <a:lnTo>
                    <a:pt x="1516" y="265"/>
                  </a:lnTo>
                  <a:lnTo>
                    <a:pt x="1551" y="263"/>
                  </a:lnTo>
                  <a:lnTo>
                    <a:pt x="1619" y="262"/>
                  </a:lnTo>
                  <a:lnTo>
                    <a:pt x="1686" y="261"/>
                  </a:lnTo>
                  <a:lnTo>
                    <a:pt x="1718" y="262"/>
                  </a:lnTo>
                  <a:lnTo>
                    <a:pt x="1751" y="263"/>
                  </a:lnTo>
                  <a:lnTo>
                    <a:pt x="1814" y="266"/>
                  </a:lnTo>
                  <a:lnTo>
                    <a:pt x="1844" y="268"/>
                  </a:lnTo>
                  <a:lnTo>
                    <a:pt x="1875" y="270"/>
                  </a:lnTo>
                  <a:lnTo>
                    <a:pt x="1934" y="276"/>
                  </a:lnTo>
                  <a:lnTo>
                    <a:pt x="1963" y="279"/>
                  </a:lnTo>
                  <a:lnTo>
                    <a:pt x="1992" y="282"/>
                  </a:lnTo>
                  <a:lnTo>
                    <a:pt x="2020" y="286"/>
                  </a:lnTo>
                  <a:lnTo>
                    <a:pt x="2047" y="290"/>
                  </a:lnTo>
                  <a:lnTo>
                    <a:pt x="2074" y="295"/>
                  </a:lnTo>
                  <a:lnTo>
                    <a:pt x="2101" y="299"/>
                  </a:lnTo>
                  <a:lnTo>
                    <a:pt x="2153" y="309"/>
                  </a:lnTo>
                  <a:lnTo>
                    <a:pt x="2203" y="320"/>
                  </a:lnTo>
                  <a:lnTo>
                    <a:pt x="2252" y="332"/>
                  </a:lnTo>
                  <a:lnTo>
                    <a:pt x="2275" y="338"/>
                  </a:lnTo>
                  <a:lnTo>
                    <a:pt x="2298" y="345"/>
                  </a:lnTo>
                  <a:lnTo>
                    <a:pt x="2343" y="358"/>
                  </a:lnTo>
                  <a:lnTo>
                    <a:pt x="2365" y="365"/>
                  </a:lnTo>
                  <a:lnTo>
                    <a:pt x="2386" y="372"/>
                  </a:lnTo>
                  <a:lnTo>
                    <a:pt x="2427" y="387"/>
                  </a:lnTo>
                  <a:lnTo>
                    <a:pt x="2467" y="402"/>
                  </a:lnTo>
                  <a:lnTo>
                    <a:pt x="2504" y="417"/>
                  </a:lnTo>
                  <a:lnTo>
                    <a:pt x="2522" y="425"/>
                  </a:lnTo>
                  <a:lnTo>
                    <a:pt x="2540" y="433"/>
                  </a:lnTo>
                  <a:lnTo>
                    <a:pt x="2574" y="450"/>
                  </a:lnTo>
                  <a:lnTo>
                    <a:pt x="2606" y="466"/>
                  </a:lnTo>
                  <a:lnTo>
                    <a:pt x="2638" y="483"/>
                  </a:lnTo>
                  <a:lnTo>
                    <a:pt x="2666" y="500"/>
                  </a:lnTo>
                  <a:lnTo>
                    <a:pt x="2680" y="508"/>
                  </a:lnTo>
                  <a:lnTo>
                    <a:pt x="2693" y="517"/>
                  </a:lnTo>
                  <a:lnTo>
                    <a:pt x="2718" y="534"/>
                  </a:lnTo>
                  <a:lnTo>
                    <a:pt x="2718" y="526"/>
                  </a:lnTo>
                  <a:lnTo>
                    <a:pt x="2717" y="523"/>
                  </a:lnTo>
                  <a:lnTo>
                    <a:pt x="2716" y="518"/>
                  </a:lnTo>
                  <a:lnTo>
                    <a:pt x="2715" y="514"/>
                  </a:lnTo>
                  <a:lnTo>
                    <a:pt x="2713" y="509"/>
                  </a:lnTo>
                  <a:lnTo>
                    <a:pt x="2710" y="505"/>
                  </a:lnTo>
                  <a:lnTo>
                    <a:pt x="2708" y="499"/>
                  </a:lnTo>
                  <a:lnTo>
                    <a:pt x="2701" y="489"/>
                  </a:lnTo>
                  <a:lnTo>
                    <a:pt x="2693" y="478"/>
                  </a:lnTo>
                  <a:lnTo>
                    <a:pt x="2683" y="466"/>
                  </a:lnTo>
                  <a:lnTo>
                    <a:pt x="2671" y="453"/>
                  </a:lnTo>
                  <a:lnTo>
                    <a:pt x="2665" y="447"/>
                  </a:lnTo>
                  <a:lnTo>
                    <a:pt x="2658" y="440"/>
                  </a:lnTo>
                  <a:lnTo>
                    <a:pt x="2643" y="426"/>
                  </a:lnTo>
                  <a:lnTo>
                    <a:pt x="2627" y="412"/>
                  </a:lnTo>
                  <a:lnTo>
                    <a:pt x="2608" y="398"/>
                  </a:lnTo>
                  <a:lnTo>
                    <a:pt x="2589" y="383"/>
                  </a:lnTo>
                  <a:lnTo>
                    <a:pt x="2568" y="368"/>
                  </a:lnTo>
                  <a:lnTo>
                    <a:pt x="2545" y="353"/>
                  </a:lnTo>
                  <a:lnTo>
                    <a:pt x="2521" y="338"/>
                  </a:lnTo>
                  <a:lnTo>
                    <a:pt x="2496" y="323"/>
                  </a:lnTo>
                  <a:lnTo>
                    <a:pt x="2469" y="307"/>
                  </a:lnTo>
                  <a:lnTo>
                    <a:pt x="2441" y="292"/>
                  </a:lnTo>
                  <a:lnTo>
                    <a:pt x="2411" y="277"/>
                  </a:lnTo>
                  <a:lnTo>
                    <a:pt x="2380" y="262"/>
                  </a:lnTo>
                  <a:lnTo>
                    <a:pt x="2348" y="247"/>
                  </a:lnTo>
                  <a:lnTo>
                    <a:pt x="2314" y="232"/>
                  </a:lnTo>
                  <a:lnTo>
                    <a:pt x="2279" y="218"/>
                  </a:lnTo>
                  <a:lnTo>
                    <a:pt x="2242" y="204"/>
                  </a:lnTo>
                  <a:lnTo>
                    <a:pt x="2204" y="190"/>
                  </a:lnTo>
                  <a:lnTo>
                    <a:pt x="2165" y="177"/>
                  </a:lnTo>
                  <a:lnTo>
                    <a:pt x="2125" y="165"/>
                  </a:lnTo>
                  <a:lnTo>
                    <a:pt x="2083" y="153"/>
                  </a:lnTo>
                  <a:lnTo>
                    <a:pt x="2040" y="142"/>
                  </a:lnTo>
                  <a:lnTo>
                    <a:pt x="1996" y="131"/>
                  </a:lnTo>
                  <a:lnTo>
                    <a:pt x="1950" y="122"/>
                  </a:lnTo>
                  <a:lnTo>
                    <a:pt x="1917" y="115"/>
                  </a:lnTo>
                  <a:lnTo>
                    <a:pt x="1884" y="110"/>
                  </a:lnTo>
                  <a:lnTo>
                    <a:pt x="1851" y="105"/>
                  </a:lnTo>
                  <a:lnTo>
                    <a:pt x="1817" y="100"/>
                  </a:lnTo>
                  <a:lnTo>
                    <a:pt x="1784" y="97"/>
                  </a:lnTo>
                  <a:lnTo>
                    <a:pt x="1750" y="93"/>
                  </a:lnTo>
                  <a:lnTo>
                    <a:pt x="1716" y="91"/>
                  </a:lnTo>
                  <a:lnTo>
                    <a:pt x="1682" y="89"/>
                  </a:lnTo>
                  <a:lnTo>
                    <a:pt x="1648" y="87"/>
                  </a:lnTo>
                  <a:lnTo>
                    <a:pt x="1614" y="86"/>
                  </a:lnTo>
                  <a:lnTo>
                    <a:pt x="1580" y="86"/>
                  </a:lnTo>
                  <a:lnTo>
                    <a:pt x="1546" y="86"/>
                  </a:lnTo>
                  <a:lnTo>
                    <a:pt x="1478" y="87"/>
                  </a:lnTo>
                  <a:lnTo>
                    <a:pt x="1444" y="89"/>
                  </a:lnTo>
                  <a:lnTo>
                    <a:pt x="1410" y="91"/>
                  </a:lnTo>
                  <a:lnTo>
                    <a:pt x="1377" y="93"/>
                  </a:lnTo>
                  <a:lnTo>
                    <a:pt x="1343" y="96"/>
                  </a:lnTo>
                  <a:lnTo>
                    <a:pt x="1309" y="99"/>
                  </a:lnTo>
                  <a:lnTo>
                    <a:pt x="1276" y="102"/>
                  </a:lnTo>
                  <a:lnTo>
                    <a:pt x="1210" y="110"/>
                  </a:lnTo>
                  <a:lnTo>
                    <a:pt x="1177" y="114"/>
                  </a:lnTo>
                  <a:lnTo>
                    <a:pt x="1143" y="119"/>
                  </a:lnTo>
                  <a:lnTo>
                    <a:pt x="1111" y="124"/>
                  </a:lnTo>
                  <a:lnTo>
                    <a:pt x="1079" y="129"/>
                  </a:lnTo>
                  <a:lnTo>
                    <a:pt x="1047" y="135"/>
                  </a:lnTo>
                  <a:lnTo>
                    <a:pt x="1015" y="140"/>
                  </a:lnTo>
                  <a:lnTo>
                    <a:pt x="984" y="146"/>
                  </a:lnTo>
                  <a:lnTo>
                    <a:pt x="953" y="152"/>
                  </a:lnTo>
                  <a:lnTo>
                    <a:pt x="893" y="165"/>
                  </a:lnTo>
                  <a:lnTo>
                    <a:pt x="833" y="178"/>
                  </a:lnTo>
                  <a:lnTo>
                    <a:pt x="776" y="192"/>
                  </a:lnTo>
                  <a:lnTo>
                    <a:pt x="721" y="206"/>
                  </a:lnTo>
                  <a:lnTo>
                    <a:pt x="667" y="220"/>
                  </a:lnTo>
                  <a:lnTo>
                    <a:pt x="616" y="235"/>
                  </a:lnTo>
                  <a:lnTo>
                    <a:pt x="567" y="249"/>
                  </a:lnTo>
                  <a:lnTo>
                    <a:pt x="520" y="263"/>
                  </a:lnTo>
                  <a:lnTo>
                    <a:pt x="477" y="277"/>
                  </a:lnTo>
                  <a:lnTo>
                    <a:pt x="436" y="290"/>
                  </a:lnTo>
                  <a:lnTo>
                    <a:pt x="397" y="303"/>
                  </a:lnTo>
                  <a:lnTo>
                    <a:pt x="331" y="326"/>
                  </a:lnTo>
                  <a:lnTo>
                    <a:pt x="278" y="345"/>
                  </a:lnTo>
                  <a:lnTo>
                    <a:pt x="239" y="360"/>
                  </a:lnTo>
                  <a:lnTo>
                    <a:pt x="242" y="338"/>
                  </a:lnTo>
                  <a:lnTo>
                    <a:pt x="245" y="316"/>
                  </a:lnTo>
                  <a:lnTo>
                    <a:pt x="252" y="269"/>
                  </a:lnTo>
                  <a:lnTo>
                    <a:pt x="259" y="222"/>
                  </a:lnTo>
                  <a:lnTo>
                    <a:pt x="262" y="199"/>
                  </a:lnTo>
                  <a:lnTo>
                    <a:pt x="264" y="175"/>
                  </a:lnTo>
                  <a:lnTo>
                    <a:pt x="265" y="153"/>
                  </a:lnTo>
                  <a:lnTo>
                    <a:pt x="266" y="131"/>
                  </a:lnTo>
                  <a:lnTo>
                    <a:pt x="265" y="120"/>
                  </a:lnTo>
                  <a:lnTo>
                    <a:pt x="264" y="110"/>
                  </a:lnTo>
                  <a:lnTo>
                    <a:pt x="263" y="99"/>
                  </a:lnTo>
                  <a:lnTo>
                    <a:pt x="262" y="89"/>
                  </a:lnTo>
                  <a:lnTo>
                    <a:pt x="260" y="80"/>
                  </a:lnTo>
                  <a:lnTo>
                    <a:pt x="257" y="71"/>
                  </a:lnTo>
                  <a:lnTo>
                    <a:pt x="254" y="62"/>
                  </a:lnTo>
                  <a:lnTo>
                    <a:pt x="251" y="53"/>
                  </a:lnTo>
                  <a:lnTo>
                    <a:pt x="247" y="45"/>
                  </a:lnTo>
                  <a:lnTo>
                    <a:pt x="242" y="37"/>
                  </a:lnTo>
                  <a:lnTo>
                    <a:pt x="237" y="30"/>
                  </a:lnTo>
                  <a:lnTo>
                    <a:pt x="231" y="23"/>
                  </a:lnTo>
                  <a:lnTo>
                    <a:pt x="227" y="19"/>
                  </a:lnTo>
                  <a:lnTo>
                    <a:pt x="222" y="16"/>
                  </a:lnTo>
                  <a:lnTo>
                    <a:pt x="217" y="12"/>
                  </a:lnTo>
                  <a:lnTo>
                    <a:pt x="211" y="9"/>
                  </a:lnTo>
                  <a:lnTo>
                    <a:pt x="205" y="7"/>
                  </a:lnTo>
                  <a:lnTo>
                    <a:pt x="199" y="5"/>
                  </a:lnTo>
                  <a:lnTo>
                    <a:pt x="192" y="3"/>
                  </a:lnTo>
                  <a:lnTo>
                    <a:pt x="185" y="2"/>
                  </a:lnTo>
                  <a:lnTo>
                    <a:pt x="178" y="1"/>
                  </a:lnTo>
                  <a:lnTo>
                    <a:pt x="171" y="0"/>
                  </a:lnTo>
                  <a:lnTo>
                    <a:pt x="163" y="1"/>
                  </a:lnTo>
                  <a:lnTo>
                    <a:pt x="155" y="1"/>
                  </a:lnTo>
                  <a:lnTo>
                    <a:pt x="148" y="2"/>
                  </a:lnTo>
                  <a:lnTo>
                    <a:pt x="140" y="4"/>
                  </a:lnTo>
                  <a:lnTo>
                    <a:pt x="132" y="6"/>
                  </a:lnTo>
                  <a:lnTo>
                    <a:pt x="125" y="9"/>
                  </a:lnTo>
                  <a:lnTo>
                    <a:pt x="117" y="12"/>
                  </a:lnTo>
                  <a:lnTo>
                    <a:pt x="110" y="16"/>
                  </a:lnTo>
                  <a:lnTo>
                    <a:pt x="103" y="20"/>
                  </a:lnTo>
                  <a:lnTo>
                    <a:pt x="96" y="25"/>
                  </a:lnTo>
                  <a:lnTo>
                    <a:pt x="89" y="31"/>
                  </a:lnTo>
                  <a:lnTo>
                    <a:pt x="82" y="37"/>
                  </a:lnTo>
                  <a:lnTo>
                    <a:pt x="76" y="44"/>
                  </a:lnTo>
                  <a:lnTo>
                    <a:pt x="70" y="52"/>
                  </a:lnTo>
                  <a:lnTo>
                    <a:pt x="65" y="60"/>
                  </a:lnTo>
                  <a:lnTo>
                    <a:pt x="60" y="69"/>
                  </a:lnTo>
                  <a:lnTo>
                    <a:pt x="56" y="79"/>
                  </a:lnTo>
                  <a:lnTo>
                    <a:pt x="52" y="89"/>
                  </a:lnTo>
                  <a:lnTo>
                    <a:pt x="48" y="101"/>
                  </a:lnTo>
                  <a:lnTo>
                    <a:pt x="46" y="113"/>
                  </a:lnTo>
                  <a:lnTo>
                    <a:pt x="43" y="126"/>
                  </a:lnTo>
                  <a:lnTo>
                    <a:pt x="42" y="139"/>
                  </a:lnTo>
                  <a:lnTo>
                    <a:pt x="39" y="180"/>
                  </a:lnTo>
                  <a:lnTo>
                    <a:pt x="35" y="221"/>
                  </a:lnTo>
                  <a:lnTo>
                    <a:pt x="26" y="308"/>
                  </a:lnTo>
                  <a:lnTo>
                    <a:pt x="15" y="401"/>
                  </a:lnTo>
                  <a:lnTo>
                    <a:pt x="3" y="498"/>
                  </a:lnTo>
                  <a:lnTo>
                    <a:pt x="1" y="513"/>
                  </a:lnTo>
                  <a:lnTo>
                    <a:pt x="0" y="527"/>
                  </a:lnTo>
                  <a:lnTo>
                    <a:pt x="0" y="539"/>
                  </a:lnTo>
                  <a:lnTo>
                    <a:pt x="0" y="551"/>
                  </a:lnTo>
                  <a:lnTo>
                    <a:pt x="1" y="561"/>
                  </a:lnTo>
                  <a:lnTo>
                    <a:pt x="3" y="570"/>
                  </a:lnTo>
                  <a:lnTo>
                    <a:pt x="5" y="578"/>
                  </a:lnTo>
                  <a:lnTo>
                    <a:pt x="7" y="585"/>
                  </a:lnTo>
                  <a:lnTo>
                    <a:pt x="11" y="591"/>
                  </a:lnTo>
                  <a:lnTo>
                    <a:pt x="14" y="596"/>
                  </a:lnTo>
                  <a:lnTo>
                    <a:pt x="19" y="601"/>
                  </a:lnTo>
                  <a:lnTo>
                    <a:pt x="23" y="604"/>
                  </a:lnTo>
                  <a:lnTo>
                    <a:pt x="29" y="607"/>
                  </a:lnTo>
                  <a:lnTo>
                    <a:pt x="34" y="609"/>
                  </a:lnTo>
                  <a:lnTo>
                    <a:pt x="40" y="610"/>
                  </a:lnTo>
                  <a:lnTo>
                    <a:pt x="47" y="611"/>
                  </a:lnTo>
                  <a:lnTo>
                    <a:pt x="54" y="611"/>
                  </a:lnTo>
                  <a:lnTo>
                    <a:pt x="61" y="610"/>
                  </a:lnTo>
                  <a:lnTo>
                    <a:pt x="68" y="609"/>
                  </a:lnTo>
                  <a:lnTo>
                    <a:pt x="76" y="608"/>
                  </a:lnTo>
                  <a:lnTo>
                    <a:pt x="93" y="603"/>
                  </a:lnTo>
                  <a:lnTo>
                    <a:pt x="110" y="598"/>
                  </a:lnTo>
                  <a:lnTo>
                    <a:pt x="129" y="591"/>
                  </a:lnTo>
                  <a:lnTo>
                    <a:pt x="148" y="583"/>
                  </a:lnTo>
                  <a:lnTo>
                    <a:pt x="187" y="5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400" b="1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08E16D12-C950-494B-B01C-412C21D3A043}"/>
              </a:ext>
            </a:extLst>
          </p:cNvPr>
          <p:cNvSpPr/>
          <p:nvPr/>
        </p:nvSpPr>
        <p:spPr>
          <a:xfrm rot="17273848">
            <a:off x="5380082" y="3341881"/>
            <a:ext cx="7313172" cy="205928"/>
          </a:xfrm>
          <a:custGeom>
            <a:avLst/>
            <a:gdLst>
              <a:gd name="connsiteX0" fmla="*/ 0 w 5584361"/>
              <a:gd name="connsiteY0" fmla="*/ 0 h 159515"/>
              <a:gd name="connsiteX1" fmla="*/ 5584361 w 5584361"/>
              <a:gd name="connsiteY1" fmla="*/ 0 h 159515"/>
              <a:gd name="connsiteX2" fmla="*/ 5584361 w 5584361"/>
              <a:gd name="connsiteY2" fmla="*/ 159515 h 159515"/>
              <a:gd name="connsiteX3" fmla="*/ 0 w 5584361"/>
              <a:gd name="connsiteY3" fmla="*/ 159515 h 159515"/>
              <a:gd name="connsiteX4" fmla="*/ 0 w 5584361"/>
              <a:gd name="connsiteY4" fmla="*/ 0 h 159515"/>
              <a:gd name="connsiteX0" fmla="*/ 0 w 5584361"/>
              <a:gd name="connsiteY0" fmla="*/ 2438 h 161953"/>
              <a:gd name="connsiteX1" fmla="*/ 5493819 w 5584361"/>
              <a:gd name="connsiteY1" fmla="*/ 0 h 161953"/>
              <a:gd name="connsiteX2" fmla="*/ 5584361 w 5584361"/>
              <a:gd name="connsiteY2" fmla="*/ 161953 h 161953"/>
              <a:gd name="connsiteX3" fmla="*/ 0 w 5584361"/>
              <a:gd name="connsiteY3" fmla="*/ 161953 h 161953"/>
              <a:gd name="connsiteX4" fmla="*/ 0 w 5584361"/>
              <a:gd name="connsiteY4" fmla="*/ 2438 h 161953"/>
              <a:gd name="connsiteX0" fmla="*/ 0 w 5508163"/>
              <a:gd name="connsiteY0" fmla="*/ 2438 h 161953"/>
              <a:gd name="connsiteX1" fmla="*/ 5493819 w 5508163"/>
              <a:gd name="connsiteY1" fmla="*/ 0 h 161953"/>
              <a:gd name="connsiteX2" fmla="*/ 5508163 w 5508163"/>
              <a:gd name="connsiteY2" fmla="*/ 154882 h 161953"/>
              <a:gd name="connsiteX3" fmla="*/ 0 w 5508163"/>
              <a:gd name="connsiteY3" fmla="*/ 161953 h 161953"/>
              <a:gd name="connsiteX4" fmla="*/ 0 w 5508163"/>
              <a:gd name="connsiteY4" fmla="*/ 2438 h 161953"/>
              <a:gd name="connsiteX0" fmla="*/ 0 w 5508163"/>
              <a:gd name="connsiteY0" fmla="*/ 0 h 159515"/>
              <a:gd name="connsiteX1" fmla="*/ 5477323 w 5508163"/>
              <a:gd name="connsiteY1" fmla="*/ 2889 h 159515"/>
              <a:gd name="connsiteX2" fmla="*/ 5508163 w 5508163"/>
              <a:gd name="connsiteY2" fmla="*/ 152444 h 159515"/>
              <a:gd name="connsiteX3" fmla="*/ 0 w 5508163"/>
              <a:gd name="connsiteY3" fmla="*/ 159515 h 159515"/>
              <a:gd name="connsiteX4" fmla="*/ 0 w 5508163"/>
              <a:gd name="connsiteY4" fmla="*/ 0 h 159515"/>
              <a:gd name="connsiteX0" fmla="*/ 0 w 5520534"/>
              <a:gd name="connsiteY0" fmla="*/ 0 h 159515"/>
              <a:gd name="connsiteX1" fmla="*/ 5477323 w 5520534"/>
              <a:gd name="connsiteY1" fmla="*/ 2889 h 159515"/>
              <a:gd name="connsiteX2" fmla="*/ 5520534 w 5520534"/>
              <a:gd name="connsiteY2" fmla="*/ 148449 h 159515"/>
              <a:gd name="connsiteX3" fmla="*/ 0 w 5520534"/>
              <a:gd name="connsiteY3" fmla="*/ 159515 h 159515"/>
              <a:gd name="connsiteX4" fmla="*/ 0 w 5520534"/>
              <a:gd name="connsiteY4" fmla="*/ 0 h 159515"/>
              <a:gd name="connsiteX0" fmla="*/ 0 w 5520534"/>
              <a:gd name="connsiteY0" fmla="*/ 0 h 152039"/>
              <a:gd name="connsiteX1" fmla="*/ 5477323 w 5520534"/>
              <a:gd name="connsiteY1" fmla="*/ 2889 h 152039"/>
              <a:gd name="connsiteX2" fmla="*/ 5520534 w 5520534"/>
              <a:gd name="connsiteY2" fmla="*/ 148449 h 152039"/>
              <a:gd name="connsiteX3" fmla="*/ 79558 w 5520534"/>
              <a:gd name="connsiteY3" fmla="*/ 152039 h 152039"/>
              <a:gd name="connsiteX4" fmla="*/ 0 w 5520534"/>
              <a:gd name="connsiteY4" fmla="*/ 0 h 152039"/>
              <a:gd name="connsiteX0" fmla="*/ 0 w 5484879"/>
              <a:gd name="connsiteY0" fmla="*/ 0 h 154446"/>
              <a:gd name="connsiteX1" fmla="*/ 5441668 w 5484879"/>
              <a:gd name="connsiteY1" fmla="*/ 5296 h 154446"/>
              <a:gd name="connsiteX2" fmla="*/ 5484879 w 5484879"/>
              <a:gd name="connsiteY2" fmla="*/ 150856 h 154446"/>
              <a:gd name="connsiteX3" fmla="*/ 43903 w 5484879"/>
              <a:gd name="connsiteY3" fmla="*/ 154446 h 154446"/>
              <a:gd name="connsiteX4" fmla="*/ 0 w 5484879"/>
              <a:gd name="connsiteY4" fmla="*/ 0 h 154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84879" h="154446">
                <a:moveTo>
                  <a:pt x="0" y="0"/>
                </a:moveTo>
                <a:lnTo>
                  <a:pt x="5441668" y="5296"/>
                </a:lnTo>
                <a:lnTo>
                  <a:pt x="5484879" y="150856"/>
                </a:lnTo>
                <a:lnTo>
                  <a:pt x="43903" y="154446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7392" y="132618"/>
            <a:ext cx="8260899" cy="853879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ES_tradn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7392" y="1259842"/>
            <a:ext cx="7739968" cy="471644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FFCB06"/>
              </a:buClr>
              <a:defRPr sz="2133">
                <a:solidFill>
                  <a:schemeClr val="tx1"/>
                </a:solidFill>
              </a:defRPr>
            </a:lvl1pPr>
            <a:lvl2pPr>
              <a:buClr>
                <a:srgbClr val="FFCB06"/>
              </a:buClr>
              <a:defRPr sz="2133">
                <a:solidFill>
                  <a:schemeClr val="tx1"/>
                </a:solidFill>
              </a:defRPr>
            </a:lvl2pPr>
            <a:lvl3pPr>
              <a:buClr>
                <a:srgbClr val="FFCB06"/>
              </a:buClr>
              <a:defRPr sz="2133">
                <a:solidFill>
                  <a:schemeClr val="tx1"/>
                </a:solidFill>
              </a:defRPr>
            </a:lvl3pPr>
            <a:lvl4pPr>
              <a:buClr>
                <a:srgbClr val="FFCB06"/>
              </a:buClr>
              <a:defRPr sz="2133">
                <a:solidFill>
                  <a:schemeClr val="tx1"/>
                </a:solidFill>
              </a:defRPr>
            </a:lvl4pPr>
            <a:lvl5pPr>
              <a:buClr>
                <a:srgbClr val="FFCB06"/>
              </a:buCl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_tradnl"/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46D9076B-2B00-46BE-8102-7CCEC9936D6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671421" y="1"/>
            <a:ext cx="520579" cy="366183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</a:defRPr>
            </a:lvl1pPr>
          </a:lstStyle>
          <a:p>
            <a:fld id="{95E63616-A2E2-49CD-8B48-1F006743AC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902E7DE-2260-4FE9-A25A-98B444573B8F}"/>
              </a:ext>
            </a:extLst>
          </p:cNvPr>
          <p:cNvSpPr/>
          <p:nvPr/>
        </p:nvSpPr>
        <p:spPr>
          <a:xfrm>
            <a:off x="467577" y="990641"/>
            <a:ext cx="1199984" cy="93953"/>
          </a:xfrm>
          <a:prstGeom prst="rect">
            <a:avLst/>
          </a:prstGeom>
          <a:solidFill>
            <a:srgbClr val="D50032"/>
          </a:solidFill>
          <a:ln w="2857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</p:spTree>
    <p:extLst>
      <p:ext uri="{BB962C8B-B14F-4D97-AF65-F5344CB8AC3E}">
        <p14:creationId xmlns:p14="http://schemas.microsoft.com/office/powerpoint/2010/main" val="10823858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ith Image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685800" y="2566651"/>
            <a:ext cx="6172336" cy="1463042"/>
          </a:xfrm>
        </p:spPr>
        <p:txBody>
          <a:bodyPr anchor="t"/>
          <a:lstStyle>
            <a:lvl1pPr algn="l">
              <a:lnSpc>
                <a:spcPct val="95000"/>
              </a:lnSpc>
              <a:defRPr sz="480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4049488"/>
            <a:ext cx="6172337" cy="1752600"/>
          </a:xfrm>
        </p:spPr>
        <p:txBody>
          <a:bodyPr/>
          <a:lstStyle>
            <a:lvl1pPr marL="0" indent="0" algn="l">
              <a:lnSpc>
                <a:spcPct val="95000"/>
              </a:lnSpc>
              <a:buNone/>
              <a:defRPr sz="200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7" name="Picture Placeholder 6"/>
          <p:cNvSpPr>
            <a:spLocks noGrp="1"/>
          </p:cNvSpPr>
          <p:nvPr userDrawn="1">
            <p:ph type="pic" sz="quarter" idx="10"/>
          </p:nvPr>
        </p:nvSpPr>
        <p:spPr>
          <a:xfrm>
            <a:off x="6998369" y="903202"/>
            <a:ext cx="4797181" cy="4479908"/>
          </a:xfrm>
          <a:custGeom>
            <a:avLst/>
            <a:gdLst>
              <a:gd name="connsiteX0" fmla="*/ 0 w 4815281"/>
              <a:gd name="connsiteY0" fmla="*/ 4488110 h 4488110"/>
              <a:gd name="connsiteX1" fmla="*/ 1122028 w 4815281"/>
              <a:gd name="connsiteY1" fmla="*/ 0 h 4488110"/>
              <a:gd name="connsiteX2" fmla="*/ 3693254 w 4815281"/>
              <a:gd name="connsiteY2" fmla="*/ 0 h 4488110"/>
              <a:gd name="connsiteX3" fmla="*/ 4815281 w 4815281"/>
              <a:gd name="connsiteY3" fmla="*/ 4488110 h 4488110"/>
              <a:gd name="connsiteX4" fmla="*/ 0 w 4815281"/>
              <a:gd name="connsiteY4" fmla="*/ 4488110 h 4488110"/>
              <a:gd name="connsiteX0" fmla="*/ 0 w 4823670"/>
              <a:gd name="connsiteY0" fmla="*/ 3548543 h 4488110"/>
              <a:gd name="connsiteX1" fmla="*/ 1130417 w 4823670"/>
              <a:gd name="connsiteY1" fmla="*/ 0 h 4488110"/>
              <a:gd name="connsiteX2" fmla="*/ 3701643 w 4823670"/>
              <a:gd name="connsiteY2" fmla="*/ 0 h 4488110"/>
              <a:gd name="connsiteX3" fmla="*/ 4823670 w 4823670"/>
              <a:gd name="connsiteY3" fmla="*/ 4488110 h 4488110"/>
              <a:gd name="connsiteX4" fmla="*/ 0 w 4823670"/>
              <a:gd name="connsiteY4" fmla="*/ 3548543 h 4488110"/>
              <a:gd name="connsiteX0" fmla="*/ 0 w 4823670"/>
              <a:gd name="connsiteY0" fmla="*/ 3548543 h 4488110"/>
              <a:gd name="connsiteX1" fmla="*/ 1130417 w 4823670"/>
              <a:gd name="connsiteY1" fmla="*/ 0 h 4488110"/>
              <a:gd name="connsiteX2" fmla="*/ 3701643 w 4823670"/>
              <a:gd name="connsiteY2" fmla="*/ 0 h 4488110"/>
              <a:gd name="connsiteX3" fmla="*/ 4823670 w 4823670"/>
              <a:gd name="connsiteY3" fmla="*/ 4488110 h 4488110"/>
              <a:gd name="connsiteX4" fmla="*/ 0 w 4823670"/>
              <a:gd name="connsiteY4" fmla="*/ 3548543 h 4488110"/>
              <a:gd name="connsiteX0" fmla="*/ 0 w 4790114"/>
              <a:gd name="connsiteY0" fmla="*/ 3548543 h 4139734"/>
              <a:gd name="connsiteX1" fmla="*/ 1130417 w 4790114"/>
              <a:gd name="connsiteY1" fmla="*/ 0 h 4139734"/>
              <a:gd name="connsiteX2" fmla="*/ 3701643 w 4790114"/>
              <a:gd name="connsiteY2" fmla="*/ 0 h 4139734"/>
              <a:gd name="connsiteX3" fmla="*/ 4790114 w 4790114"/>
              <a:gd name="connsiteY3" fmla="*/ 3414319 h 4139734"/>
              <a:gd name="connsiteX4" fmla="*/ 0 w 4790114"/>
              <a:gd name="connsiteY4" fmla="*/ 3548543 h 4139734"/>
              <a:gd name="connsiteX0" fmla="*/ 0 w 4794095"/>
              <a:gd name="connsiteY0" fmla="*/ 3548543 h 4829438"/>
              <a:gd name="connsiteX1" fmla="*/ 1130417 w 4794095"/>
              <a:gd name="connsiteY1" fmla="*/ 0 h 4829438"/>
              <a:gd name="connsiteX2" fmla="*/ 3701643 w 4794095"/>
              <a:gd name="connsiteY2" fmla="*/ 0 h 4829438"/>
              <a:gd name="connsiteX3" fmla="*/ 4790114 w 4794095"/>
              <a:gd name="connsiteY3" fmla="*/ 3414319 h 4829438"/>
              <a:gd name="connsiteX4" fmla="*/ 0 w 4794095"/>
              <a:gd name="connsiteY4" fmla="*/ 3548543 h 4829438"/>
              <a:gd name="connsiteX0" fmla="*/ 0 w 4794023"/>
              <a:gd name="connsiteY0" fmla="*/ 3548543 h 4832475"/>
              <a:gd name="connsiteX1" fmla="*/ 1130417 w 4794023"/>
              <a:gd name="connsiteY1" fmla="*/ 0 h 4832475"/>
              <a:gd name="connsiteX2" fmla="*/ 3701643 w 4794023"/>
              <a:gd name="connsiteY2" fmla="*/ 0 h 4832475"/>
              <a:gd name="connsiteX3" fmla="*/ 4790114 w 4794023"/>
              <a:gd name="connsiteY3" fmla="*/ 3414319 h 4832475"/>
              <a:gd name="connsiteX4" fmla="*/ 0 w 4794023"/>
              <a:gd name="connsiteY4" fmla="*/ 3548543 h 4832475"/>
              <a:gd name="connsiteX0" fmla="*/ 0 w 4794023"/>
              <a:gd name="connsiteY0" fmla="*/ 3548543 h 4832475"/>
              <a:gd name="connsiteX1" fmla="*/ 1130417 w 4794023"/>
              <a:gd name="connsiteY1" fmla="*/ 0 h 4832475"/>
              <a:gd name="connsiteX2" fmla="*/ 2401350 w 4794023"/>
              <a:gd name="connsiteY2" fmla="*/ 0 h 4832475"/>
              <a:gd name="connsiteX3" fmla="*/ 4790114 w 4794023"/>
              <a:gd name="connsiteY3" fmla="*/ 3414319 h 4832475"/>
              <a:gd name="connsiteX4" fmla="*/ 0 w 4794023"/>
              <a:gd name="connsiteY4" fmla="*/ 3548543 h 4832475"/>
              <a:gd name="connsiteX0" fmla="*/ 0 w 4794023"/>
              <a:gd name="connsiteY0" fmla="*/ 3549180 h 4833112"/>
              <a:gd name="connsiteX1" fmla="*/ 1130417 w 4794023"/>
              <a:gd name="connsiteY1" fmla="*/ 637 h 4833112"/>
              <a:gd name="connsiteX2" fmla="*/ 2401350 w 4794023"/>
              <a:gd name="connsiteY2" fmla="*/ 637 h 4833112"/>
              <a:gd name="connsiteX3" fmla="*/ 4790114 w 4794023"/>
              <a:gd name="connsiteY3" fmla="*/ 3414956 h 4833112"/>
              <a:gd name="connsiteX4" fmla="*/ 0 w 4794023"/>
              <a:gd name="connsiteY4" fmla="*/ 3549180 h 4833112"/>
              <a:gd name="connsiteX0" fmla="*/ 0 w 4794023"/>
              <a:gd name="connsiteY0" fmla="*/ 3549029 h 4832961"/>
              <a:gd name="connsiteX1" fmla="*/ 1130417 w 4794023"/>
              <a:gd name="connsiteY1" fmla="*/ 486 h 4832961"/>
              <a:gd name="connsiteX2" fmla="*/ 2401350 w 4794023"/>
              <a:gd name="connsiteY2" fmla="*/ 486 h 4832961"/>
              <a:gd name="connsiteX3" fmla="*/ 4790114 w 4794023"/>
              <a:gd name="connsiteY3" fmla="*/ 3414805 h 4832961"/>
              <a:gd name="connsiteX4" fmla="*/ 0 w 4794023"/>
              <a:gd name="connsiteY4" fmla="*/ 3549029 h 4832961"/>
              <a:gd name="connsiteX0" fmla="*/ 0 w 4743728"/>
              <a:gd name="connsiteY0" fmla="*/ 3549062 h 4731571"/>
              <a:gd name="connsiteX1" fmla="*/ 1130417 w 4743728"/>
              <a:gd name="connsiteY1" fmla="*/ 519 h 4731571"/>
              <a:gd name="connsiteX2" fmla="*/ 2401350 w 4743728"/>
              <a:gd name="connsiteY2" fmla="*/ 519 h 4731571"/>
              <a:gd name="connsiteX3" fmla="*/ 4739780 w 4743728"/>
              <a:gd name="connsiteY3" fmla="*/ 3213503 h 4731571"/>
              <a:gd name="connsiteX4" fmla="*/ 0 w 4743728"/>
              <a:gd name="connsiteY4" fmla="*/ 3549062 h 4731571"/>
              <a:gd name="connsiteX0" fmla="*/ 0 w 4743728"/>
              <a:gd name="connsiteY0" fmla="*/ 3549008 h 4731517"/>
              <a:gd name="connsiteX1" fmla="*/ 1130417 w 4743728"/>
              <a:gd name="connsiteY1" fmla="*/ 465 h 4731517"/>
              <a:gd name="connsiteX2" fmla="*/ 2401350 w 4743728"/>
              <a:gd name="connsiteY2" fmla="*/ 465 h 4731517"/>
              <a:gd name="connsiteX3" fmla="*/ 4739780 w 4743728"/>
              <a:gd name="connsiteY3" fmla="*/ 3213449 h 4731517"/>
              <a:gd name="connsiteX4" fmla="*/ 0 w 4743728"/>
              <a:gd name="connsiteY4" fmla="*/ 3549008 h 4731517"/>
              <a:gd name="connsiteX0" fmla="*/ 0 w 4743728"/>
              <a:gd name="connsiteY0" fmla="*/ 3553739 h 4736248"/>
              <a:gd name="connsiteX1" fmla="*/ 1130417 w 4743728"/>
              <a:gd name="connsiteY1" fmla="*/ 5196 h 4736248"/>
              <a:gd name="connsiteX2" fmla="*/ 2401350 w 4743728"/>
              <a:gd name="connsiteY2" fmla="*/ 5196 h 4736248"/>
              <a:gd name="connsiteX3" fmla="*/ 4739780 w 4743728"/>
              <a:gd name="connsiteY3" fmla="*/ 3218180 h 4736248"/>
              <a:gd name="connsiteX4" fmla="*/ 0 w 4743728"/>
              <a:gd name="connsiteY4" fmla="*/ 3553739 h 4736248"/>
              <a:gd name="connsiteX0" fmla="*/ 0 w 4803322"/>
              <a:gd name="connsiteY0" fmla="*/ 3553739 h 4760950"/>
              <a:gd name="connsiteX1" fmla="*/ 1130417 w 4803322"/>
              <a:gd name="connsiteY1" fmla="*/ 5196 h 4760950"/>
              <a:gd name="connsiteX2" fmla="*/ 2401350 w 4803322"/>
              <a:gd name="connsiteY2" fmla="*/ 5196 h 4760950"/>
              <a:gd name="connsiteX3" fmla="*/ 4739780 w 4803322"/>
              <a:gd name="connsiteY3" fmla="*/ 3218180 h 4760950"/>
              <a:gd name="connsiteX4" fmla="*/ 0 w 4803322"/>
              <a:gd name="connsiteY4" fmla="*/ 3553739 h 4760950"/>
              <a:gd name="connsiteX0" fmla="*/ 0 w 4740100"/>
              <a:gd name="connsiteY0" fmla="*/ 3553739 h 4774568"/>
              <a:gd name="connsiteX1" fmla="*/ 1130417 w 4740100"/>
              <a:gd name="connsiteY1" fmla="*/ 5196 h 4774568"/>
              <a:gd name="connsiteX2" fmla="*/ 2401350 w 4740100"/>
              <a:gd name="connsiteY2" fmla="*/ 5196 h 4774568"/>
              <a:gd name="connsiteX3" fmla="*/ 4739780 w 4740100"/>
              <a:gd name="connsiteY3" fmla="*/ 3218180 h 4774568"/>
              <a:gd name="connsiteX4" fmla="*/ 2550254 w 4740100"/>
              <a:gd name="connsiteY4" fmla="*/ 4770144 h 4774568"/>
              <a:gd name="connsiteX5" fmla="*/ 0 w 4740100"/>
              <a:gd name="connsiteY5" fmla="*/ 3553739 h 4774568"/>
              <a:gd name="connsiteX0" fmla="*/ 0 w 4740103"/>
              <a:gd name="connsiteY0" fmla="*/ 3553739 h 4493895"/>
              <a:gd name="connsiteX1" fmla="*/ 1130417 w 4740103"/>
              <a:gd name="connsiteY1" fmla="*/ 5196 h 4493895"/>
              <a:gd name="connsiteX2" fmla="*/ 2401350 w 4740103"/>
              <a:gd name="connsiteY2" fmla="*/ 5196 h 4493895"/>
              <a:gd name="connsiteX3" fmla="*/ 4739780 w 4740103"/>
              <a:gd name="connsiteY3" fmla="*/ 3218180 h 4493895"/>
              <a:gd name="connsiteX4" fmla="*/ 2567032 w 4740103"/>
              <a:gd name="connsiteY4" fmla="*/ 4484918 h 4493895"/>
              <a:gd name="connsiteX5" fmla="*/ 0 w 4740103"/>
              <a:gd name="connsiteY5" fmla="*/ 3553739 h 4493895"/>
              <a:gd name="connsiteX0" fmla="*/ 0 w 4782039"/>
              <a:gd name="connsiteY0" fmla="*/ 3553063 h 4493219"/>
              <a:gd name="connsiteX1" fmla="*/ 1130417 w 4782039"/>
              <a:gd name="connsiteY1" fmla="*/ 4520 h 4493219"/>
              <a:gd name="connsiteX2" fmla="*/ 2401350 w 4782039"/>
              <a:gd name="connsiteY2" fmla="*/ 4520 h 4493219"/>
              <a:gd name="connsiteX3" fmla="*/ 4781725 w 4782039"/>
              <a:gd name="connsiteY3" fmla="*/ 3729232 h 4493219"/>
              <a:gd name="connsiteX4" fmla="*/ 2567032 w 4782039"/>
              <a:gd name="connsiteY4" fmla="*/ 4484242 h 4493219"/>
              <a:gd name="connsiteX5" fmla="*/ 0 w 4782039"/>
              <a:gd name="connsiteY5" fmla="*/ 3553063 h 4493219"/>
              <a:gd name="connsiteX0" fmla="*/ 0 w 4781725"/>
              <a:gd name="connsiteY0" fmla="*/ 3553063 h 4493219"/>
              <a:gd name="connsiteX1" fmla="*/ 1130417 w 4781725"/>
              <a:gd name="connsiteY1" fmla="*/ 4520 h 4493219"/>
              <a:gd name="connsiteX2" fmla="*/ 2401350 w 4781725"/>
              <a:gd name="connsiteY2" fmla="*/ 4520 h 4493219"/>
              <a:gd name="connsiteX3" fmla="*/ 4781725 w 4781725"/>
              <a:gd name="connsiteY3" fmla="*/ 3729232 h 4493219"/>
              <a:gd name="connsiteX4" fmla="*/ 2567032 w 4781725"/>
              <a:gd name="connsiteY4" fmla="*/ 4484242 h 4493219"/>
              <a:gd name="connsiteX5" fmla="*/ 0 w 4781725"/>
              <a:gd name="connsiteY5" fmla="*/ 3553063 h 4493219"/>
              <a:gd name="connsiteX0" fmla="*/ 0 w 4781725"/>
              <a:gd name="connsiteY0" fmla="*/ 3553063 h 4493219"/>
              <a:gd name="connsiteX1" fmla="*/ 1130417 w 4781725"/>
              <a:gd name="connsiteY1" fmla="*/ 4520 h 4493219"/>
              <a:gd name="connsiteX2" fmla="*/ 2401350 w 4781725"/>
              <a:gd name="connsiteY2" fmla="*/ 4520 h 4493219"/>
              <a:gd name="connsiteX3" fmla="*/ 4781725 w 4781725"/>
              <a:gd name="connsiteY3" fmla="*/ 3729232 h 4493219"/>
              <a:gd name="connsiteX4" fmla="*/ 2567032 w 4781725"/>
              <a:gd name="connsiteY4" fmla="*/ 4484242 h 4493219"/>
              <a:gd name="connsiteX5" fmla="*/ 0 w 4781725"/>
              <a:gd name="connsiteY5" fmla="*/ 3553063 h 4493219"/>
              <a:gd name="connsiteX0" fmla="*/ 0 w 4803030"/>
              <a:gd name="connsiteY0" fmla="*/ 3553929 h 4494085"/>
              <a:gd name="connsiteX1" fmla="*/ 1130417 w 4803030"/>
              <a:gd name="connsiteY1" fmla="*/ 5386 h 4494085"/>
              <a:gd name="connsiteX2" fmla="*/ 2401350 w 4803030"/>
              <a:gd name="connsiteY2" fmla="*/ 5386 h 4494085"/>
              <a:gd name="connsiteX3" fmla="*/ 4781725 w 4803030"/>
              <a:gd name="connsiteY3" fmla="*/ 3730098 h 4494085"/>
              <a:gd name="connsiteX4" fmla="*/ 2567032 w 4803030"/>
              <a:gd name="connsiteY4" fmla="*/ 4485108 h 4494085"/>
              <a:gd name="connsiteX5" fmla="*/ 0 w 4803030"/>
              <a:gd name="connsiteY5" fmla="*/ 3553929 h 4494085"/>
              <a:gd name="connsiteX0" fmla="*/ 0 w 4803030"/>
              <a:gd name="connsiteY0" fmla="*/ 3553929 h 4494085"/>
              <a:gd name="connsiteX1" fmla="*/ 1130417 w 4803030"/>
              <a:gd name="connsiteY1" fmla="*/ 5386 h 4494085"/>
              <a:gd name="connsiteX2" fmla="*/ 2401350 w 4803030"/>
              <a:gd name="connsiteY2" fmla="*/ 5386 h 4494085"/>
              <a:gd name="connsiteX3" fmla="*/ 4781725 w 4803030"/>
              <a:gd name="connsiteY3" fmla="*/ 3730098 h 4494085"/>
              <a:gd name="connsiteX4" fmla="*/ 2567032 w 4803030"/>
              <a:gd name="connsiteY4" fmla="*/ 4485108 h 4494085"/>
              <a:gd name="connsiteX5" fmla="*/ 0 w 4803030"/>
              <a:gd name="connsiteY5" fmla="*/ 3553929 h 4494085"/>
              <a:gd name="connsiteX0" fmla="*/ 0 w 4803030"/>
              <a:gd name="connsiteY0" fmla="*/ 3553929 h 4494085"/>
              <a:gd name="connsiteX1" fmla="*/ 1130417 w 4803030"/>
              <a:gd name="connsiteY1" fmla="*/ 5386 h 4494085"/>
              <a:gd name="connsiteX2" fmla="*/ 2401350 w 4803030"/>
              <a:gd name="connsiteY2" fmla="*/ 5386 h 4494085"/>
              <a:gd name="connsiteX3" fmla="*/ 4781725 w 4803030"/>
              <a:gd name="connsiteY3" fmla="*/ 3730098 h 4494085"/>
              <a:gd name="connsiteX4" fmla="*/ 2567032 w 4803030"/>
              <a:gd name="connsiteY4" fmla="*/ 4485108 h 4494085"/>
              <a:gd name="connsiteX5" fmla="*/ 0 w 4803030"/>
              <a:gd name="connsiteY5" fmla="*/ 3553929 h 4494085"/>
              <a:gd name="connsiteX0" fmla="*/ 0 w 4790949"/>
              <a:gd name="connsiteY0" fmla="*/ 3554083 h 4494239"/>
              <a:gd name="connsiteX1" fmla="*/ 1130417 w 4790949"/>
              <a:gd name="connsiteY1" fmla="*/ 5540 h 4494239"/>
              <a:gd name="connsiteX2" fmla="*/ 2401350 w 4790949"/>
              <a:gd name="connsiteY2" fmla="*/ 5540 h 4494239"/>
              <a:gd name="connsiteX3" fmla="*/ 4781725 w 4790949"/>
              <a:gd name="connsiteY3" fmla="*/ 3730252 h 4494239"/>
              <a:gd name="connsiteX4" fmla="*/ 2567032 w 4790949"/>
              <a:gd name="connsiteY4" fmla="*/ 4485262 h 4494239"/>
              <a:gd name="connsiteX5" fmla="*/ 0 w 4790949"/>
              <a:gd name="connsiteY5" fmla="*/ 3554083 h 4494239"/>
              <a:gd name="connsiteX0" fmla="*/ 0 w 4793035"/>
              <a:gd name="connsiteY0" fmla="*/ 3554070 h 4494226"/>
              <a:gd name="connsiteX1" fmla="*/ 1130417 w 4793035"/>
              <a:gd name="connsiteY1" fmla="*/ 5527 h 4494226"/>
              <a:gd name="connsiteX2" fmla="*/ 2401350 w 4793035"/>
              <a:gd name="connsiteY2" fmla="*/ 5527 h 4494226"/>
              <a:gd name="connsiteX3" fmla="*/ 4781725 w 4793035"/>
              <a:gd name="connsiteY3" fmla="*/ 3730239 h 4494226"/>
              <a:gd name="connsiteX4" fmla="*/ 2567032 w 4793035"/>
              <a:gd name="connsiteY4" fmla="*/ 4485249 h 4494226"/>
              <a:gd name="connsiteX5" fmla="*/ 0 w 4793035"/>
              <a:gd name="connsiteY5" fmla="*/ 3554070 h 4494226"/>
              <a:gd name="connsiteX0" fmla="*/ 0 w 4821204"/>
              <a:gd name="connsiteY0" fmla="*/ 3554310 h 4494466"/>
              <a:gd name="connsiteX1" fmla="*/ 1130417 w 4821204"/>
              <a:gd name="connsiteY1" fmla="*/ 5767 h 4494466"/>
              <a:gd name="connsiteX2" fmla="*/ 2401350 w 4821204"/>
              <a:gd name="connsiteY2" fmla="*/ 5767 h 4494466"/>
              <a:gd name="connsiteX3" fmla="*/ 4810078 w 4821204"/>
              <a:gd name="connsiteY3" fmla="*/ 3595800 h 4494466"/>
              <a:gd name="connsiteX4" fmla="*/ 2567032 w 4821204"/>
              <a:gd name="connsiteY4" fmla="*/ 4485489 h 4494466"/>
              <a:gd name="connsiteX5" fmla="*/ 0 w 4821204"/>
              <a:gd name="connsiteY5" fmla="*/ 3554310 h 4494466"/>
              <a:gd name="connsiteX0" fmla="*/ 0 w 4807027"/>
              <a:gd name="connsiteY0" fmla="*/ 3603929 h 4496242"/>
              <a:gd name="connsiteX1" fmla="*/ 1116240 w 4807027"/>
              <a:gd name="connsiteY1" fmla="*/ 5767 h 4496242"/>
              <a:gd name="connsiteX2" fmla="*/ 2387173 w 4807027"/>
              <a:gd name="connsiteY2" fmla="*/ 5767 h 4496242"/>
              <a:gd name="connsiteX3" fmla="*/ 4795901 w 4807027"/>
              <a:gd name="connsiteY3" fmla="*/ 3595800 h 4496242"/>
              <a:gd name="connsiteX4" fmla="*/ 2552855 w 4807027"/>
              <a:gd name="connsiteY4" fmla="*/ 4485489 h 4496242"/>
              <a:gd name="connsiteX5" fmla="*/ 0 w 4807027"/>
              <a:gd name="connsiteY5" fmla="*/ 3603929 h 4496242"/>
              <a:gd name="connsiteX0" fmla="*/ 0 w 4807027"/>
              <a:gd name="connsiteY0" fmla="*/ 3603929 h 4496242"/>
              <a:gd name="connsiteX1" fmla="*/ 1116240 w 4807027"/>
              <a:gd name="connsiteY1" fmla="*/ 5767 h 4496242"/>
              <a:gd name="connsiteX2" fmla="*/ 2387173 w 4807027"/>
              <a:gd name="connsiteY2" fmla="*/ 5767 h 4496242"/>
              <a:gd name="connsiteX3" fmla="*/ 4795901 w 4807027"/>
              <a:gd name="connsiteY3" fmla="*/ 3595800 h 4496242"/>
              <a:gd name="connsiteX4" fmla="*/ 2396911 w 4807027"/>
              <a:gd name="connsiteY4" fmla="*/ 4485489 h 4496242"/>
              <a:gd name="connsiteX5" fmla="*/ 0 w 4807027"/>
              <a:gd name="connsiteY5" fmla="*/ 3603929 h 4496242"/>
              <a:gd name="connsiteX0" fmla="*/ 0 w 4807027"/>
              <a:gd name="connsiteY0" fmla="*/ 3603929 h 4496242"/>
              <a:gd name="connsiteX1" fmla="*/ 1116240 w 4807027"/>
              <a:gd name="connsiteY1" fmla="*/ 5767 h 4496242"/>
              <a:gd name="connsiteX2" fmla="*/ 2387173 w 4807027"/>
              <a:gd name="connsiteY2" fmla="*/ 5767 h 4496242"/>
              <a:gd name="connsiteX3" fmla="*/ 4795901 w 4807027"/>
              <a:gd name="connsiteY3" fmla="*/ 3595800 h 4496242"/>
              <a:gd name="connsiteX4" fmla="*/ 2396911 w 4807027"/>
              <a:gd name="connsiteY4" fmla="*/ 4485489 h 4496242"/>
              <a:gd name="connsiteX5" fmla="*/ 0 w 4807027"/>
              <a:gd name="connsiteY5" fmla="*/ 3603929 h 4496242"/>
              <a:gd name="connsiteX0" fmla="*/ 0 w 4807027"/>
              <a:gd name="connsiteY0" fmla="*/ 3603929 h 4513950"/>
              <a:gd name="connsiteX1" fmla="*/ 1116240 w 4807027"/>
              <a:gd name="connsiteY1" fmla="*/ 5767 h 4513950"/>
              <a:gd name="connsiteX2" fmla="*/ 2387173 w 4807027"/>
              <a:gd name="connsiteY2" fmla="*/ 5767 h 4513950"/>
              <a:gd name="connsiteX3" fmla="*/ 4795901 w 4807027"/>
              <a:gd name="connsiteY3" fmla="*/ 3595800 h 4513950"/>
              <a:gd name="connsiteX4" fmla="*/ 2396911 w 4807027"/>
              <a:gd name="connsiteY4" fmla="*/ 4485489 h 4513950"/>
              <a:gd name="connsiteX5" fmla="*/ 0 w 4807027"/>
              <a:gd name="connsiteY5" fmla="*/ 3603929 h 4513950"/>
              <a:gd name="connsiteX0" fmla="*/ 0 w 4807027"/>
              <a:gd name="connsiteY0" fmla="*/ 3603929 h 4497146"/>
              <a:gd name="connsiteX1" fmla="*/ 1116240 w 4807027"/>
              <a:gd name="connsiteY1" fmla="*/ 5767 h 4497146"/>
              <a:gd name="connsiteX2" fmla="*/ 2387173 w 4807027"/>
              <a:gd name="connsiteY2" fmla="*/ 5767 h 4497146"/>
              <a:gd name="connsiteX3" fmla="*/ 4795901 w 4807027"/>
              <a:gd name="connsiteY3" fmla="*/ 3595800 h 4497146"/>
              <a:gd name="connsiteX4" fmla="*/ 2396911 w 4807027"/>
              <a:gd name="connsiteY4" fmla="*/ 4485489 h 4497146"/>
              <a:gd name="connsiteX5" fmla="*/ 0 w 4807027"/>
              <a:gd name="connsiteY5" fmla="*/ 3603929 h 4497146"/>
              <a:gd name="connsiteX0" fmla="*/ 0 w 4807027"/>
              <a:gd name="connsiteY0" fmla="*/ 3603929 h 4515916"/>
              <a:gd name="connsiteX1" fmla="*/ 1116240 w 4807027"/>
              <a:gd name="connsiteY1" fmla="*/ 5767 h 4515916"/>
              <a:gd name="connsiteX2" fmla="*/ 2387173 w 4807027"/>
              <a:gd name="connsiteY2" fmla="*/ 5767 h 4515916"/>
              <a:gd name="connsiteX3" fmla="*/ 4795901 w 4807027"/>
              <a:gd name="connsiteY3" fmla="*/ 3595800 h 4515916"/>
              <a:gd name="connsiteX4" fmla="*/ 2396911 w 4807027"/>
              <a:gd name="connsiteY4" fmla="*/ 4485489 h 4515916"/>
              <a:gd name="connsiteX5" fmla="*/ 0 w 4807027"/>
              <a:gd name="connsiteY5" fmla="*/ 3603929 h 4515916"/>
              <a:gd name="connsiteX0" fmla="*/ 0 w 4807027"/>
              <a:gd name="connsiteY0" fmla="*/ 3603929 h 4485489"/>
              <a:gd name="connsiteX1" fmla="*/ 1116240 w 4807027"/>
              <a:gd name="connsiteY1" fmla="*/ 5767 h 4485489"/>
              <a:gd name="connsiteX2" fmla="*/ 2387173 w 4807027"/>
              <a:gd name="connsiteY2" fmla="*/ 5767 h 4485489"/>
              <a:gd name="connsiteX3" fmla="*/ 4795901 w 4807027"/>
              <a:gd name="connsiteY3" fmla="*/ 3595800 h 4485489"/>
              <a:gd name="connsiteX4" fmla="*/ 2396911 w 4807027"/>
              <a:gd name="connsiteY4" fmla="*/ 4485489 h 4485489"/>
              <a:gd name="connsiteX5" fmla="*/ 0 w 4807027"/>
              <a:gd name="connsiteY5" fmla="*/ 3603929 h 4485489"/>
              <a:gd name="connsiteX0" fmla="*/ 0 w 4807027"/>
              <a:gd name="connsiteY0" fmla="*/ 3603929 h 4500292"/>
              <a:gd name="connsiteX1" fmla="*/ 1116240 w 4807027"/>
              <a:gd name="connsiteY1" fmla="*/ 5767 h 4500292"/>
              <a:gd name="connsiteX2" fmla="*/ 2387173 w 4807027"/>
              <a:gd name="connsiteY2" fmla="*/ 5767 h 4500292"/>
              <a:gd name="connsiteX3" fmla="*/ 4795901 w 4807027"/>
              <a:gd name="connsiteY3" fmla="*/ 3595800 h 4500292"/>
              <a:gd name="connsiteX4" fmla="*/ 2396911 w 4807027"/>
              <a:gd name="connsiteY4" fmla="*/ 4485489 h 4500292"/>
              <a:gd name="connsiteX5" fmla="*/ 0 w 4807027"/>
              <a:gd name="connsiteY5" fmla="*/ 3603929 h 4500292"/>
              <a:gd name="connsiteX0" fmla="*/ 0 w 4807027"/>
              <a:gd name="connsiteY0" fmla="*/ 3603929 h 4500292"/>
              <a:gd name="connsiteX1" fmla="*/ 1116240 w 4807027"/>
              <a:gd name="connsiteY1" fmla="*/ 5767 h 4500292"/>
              <a:gd name="connsiteX2" fmla="*/ 2387173 w 4807027"/>
              <a:gd name="connsiteY2" fmla="*/ 5767 h 4500292"/>
              <a:gd name="connsiteX3" fmla="*/ 4795901 w 4807027"/>
              <a:gd name="connsiteY3" fmla="*/ 3595800 h 4500292"/>
              <a:gd name="connsiteX4" fmla="*/ 2396911 w 4807027"/>
              <a:gd name="connsiteY4" fmla="*/ 4485489 h 4500292"/>
              <a:gd name="connsiteX5" fmla="*/ 0 w 4807027"/>
              <a:gd name="connsiteY5" fmla="*/ 3603929 h 4500292"/>
              <a:gd name="connsiteX0" fmla="*/ 0 w 4807027"/>
              <a:gd name="connsiteY0" fmla="*/ 3603929 h 4491161"/>
              <a:gd name="connsiteX1" fmla="*/ 1116240 w 4807027"/>
              <a:gd name="connsiteY1" fmla="*/ 5767 h 4491161"/>
              <a:gd name="connsiteX2" fmla="*/ 2387173 w 4807027"/>
              <a:gd name="connsiteY2" fmla="*/ 5767 h 4491161"/>
              <a:gd name="connsiteX3" fmla="*/ 4795901 w 4807027"/>
              <a:gd name="connsiteY3" fmla="*/ 3595800 h 4491161"/>
              <a:gd name="connsiteX4" fmla="*/ 2396911 w 4807027"/>
              <a:gd name="connsiteY4" fmla="*/ 4485489 h 4491161"/>
              <a:gd name="connsiteX5" fmla="*/ 0 w 4807027"/>
              <a:gd name="connsiteY5" fmla="*/ 3603929 h 4491161"/>
              <a:gd name="connsiteX0" fmla="*/ 0 w 4807027"/>
              <a:gd name="connsiteY0" fmla="*/ 3603929 h 4491161"/>
              <a:gd name="connsiteX1" fmla="*/ 1116240 w 4807027"/>
              <a:gd name="connsiteY1" fmla="*/ 5767 h 4491161"/>
              <a:gd name="connsiteX2" fmla="*/ 2387173 w 4807027"/>
              <a:gd name="connsiteY2" fmla="*/ 5767 h 4491161"/>
              <a:gd name="connsiteX3" fmla="*/ 4795901 w 4807027"/>
              <a:gd name="connsiteY3" fmla="*/ 3595800 h 4491161"/>
              <a:gd name="connsiteX4" fmla="*/ 2396911 w 4807027"/>
              <a:gd name="connsiteY4" fmla="*/ 4485489 h 4491161"/>
              <a:gd name="connsiteX5" fmla="*/ 0 w 4807027"/>
              <a:gd name="connsiteY5" fmla="*/ 3603929 h 4491161"/>
              <a:gd name="connsiteX0" fmla="*/ 0 w 4807027"/>
              <a:gd name="connsiteY0" fmla="*/ 3603929 h 4491996"/>
              <a:gd name="connsiteX1" fmla="*/ 1116240 w 4807027"/>
              <a:gd name="connsiteY1" fmla="*/ 5767 h 4491996"/>
              <a:gd name="connsiteX2" fmla="*/ 2387173 w 4807027"/>
              <a:gd name="connsiteY2" fmla="*/ 5767 h 4491996"/>
              <a:gd name="connsiteX3" fmla="*/ 4795901 w 4807027"/>
              <a:gd name="connsiteY3" fmla="*/ 3595800 h 4491996"/>
              <a:gd name="connsiteX4" fmla="*/ 2396911 w 4807027"/>
              <a:gd name="connsiteY4" fmla="*/ 4485489 h 4491996"/>
              <a:gd name="connsiteX5" fmla="*/ 0 w 4807027"/>
              <a:gd name="connsiteY5" fmla="*/ 3603929 h 4491996"/>
              <a:gd name="connsiteX0" fmla="*/ 0 w 4807027"/>
              <a:gd name="connsiteY0" fmla="*/ 3603929 h 4491996"/>
              <a:gd name="connsiteX1" fmla="*/ 1116240 w 4807027"/>
              <a:gd name="connsiteY1" fmla="*/ 5767 h 4491996"/>
              <a:gd name="connsiteX2" fmla="*/ 2387173 w 4807027"/>
              <a:gd name="connsiteY2" fmla="*/ 5767 h 4491996"/>
              <a:gd name="connsiteX3" fmla="*/ 4795901 w 4807027"/>
              <a:gd name="connsiteY3" fmla="*/ 3595800 h 4491996"/>
              <a:gd name="connsiteX4" fmla="*/ 2396911 w 4807027"/>
              <a:gd name="connsiteY4" fmla="*/ 4485489 h 4491996"/>
              <a:gd name="connsiteX5" fmla="*/ 0 w 4807027"/>
              <a:gd name="connsiteY5" fmla="*/ 3603929 h 4491996"/>
              <a:gd name="connsiteX0" fmla="*/ 0 w 4807027"/>
              <a:gd name="connsiteY0" fmla="*/ 3603929 h 4491996"/>
              <a:gd name="connsiteX1" fmla="*/ 1116240 w 4807027"/>
              <a:gd name="connsiteY1" fmla="*/ 5767 h 4491996"/>
              <a:gd name="connsiteX2" fmla="*/ 2387173 w 4807027"/>
              <a:gd name="connsiteY2" fmla="*/ 5767 h 4491996"/>
              <a:gd name="connsiteX3" fmla="*/ 4795901 w 4807027"/>
              <a:gd name="connsiteY3" fmla="*/ 3595800 h 4491996"/>
              <a:gd name="connsiteX4" fmla="*/ 2396911 w 4807027"/>
              <a:gd name="connsiteY4" fmla="*/ 4485489 h 4491996"/>
              <a:gd name="connsiteX5" fmla="*/ 0 w 4807027"/>
              <a:gd name="connsiteY5" fmla="*/ 3603929 h 4491996"/>
              <a:gd name="connsiteX0" fmla="*/ 0 w 4814070"/>
              <a:gd name="connsiteY0" fmla="*/ 3603726 h 4491793"/>
              <a:gd name="connsiteX1" fmla="*/ 1116240 w 4814070"/>
              <a:gd name="connsiteY1" fmla="*/ 5564 h 4491793"/>
              <a:gd name="connsiteX2" fmla="*/ 2387173 w 4814070"/>
              <a:gd name="connsiteY2" fmla="*/ 5564 h 4491793"/>
              <a:gd name="connsiteX3" fmla="*/ 4802989 w 4814070"/>
              <a:gd name="connsiteY3" fmla="*/ 3709011 h 4491793"/>
              <a:gd name="connsiteX4" fmla="*/ 2396911 w 4814070"/>
              <a:gd name="connsiteY4" fmla="*/ 4485286 h 4491793"/>
              <a:gd name="connsiteX5" fmla="*/ 0 w 4814070"/>
              <a:gd name="connsiteY5" fmla="*/ 3603726 h 4491793"/>
              <a:gd name="connsiteX0" fmla="*/ 0 w 4814070"/>
              <a:gd name="connsiteY0" fmla="*/ 3603726 h 4491793"/>
              <a:gd name="connsiteX1" fmla="*/ 1116240 w 4814070"/>
              <a:gd name="connsiteY1" fmla="*/ 5564 h 4491793"/>
              <a:gd name="connsiteX2" fmla="*/ 2387173 w 4814070"/>
              <a:gd name="connsiteY2" fmla="*/ 5564 h 4491793"/>
              <a:gd name="connsiteX3" fmla="*/ 4802989 w 4814070"/>
              <a:gd name="connsiteY3" fmla="*/ 3709011 h 4491793"/>
              <a:gd name="connsiteX4" fmla="*/ 2396911 w 4814070"/>
              <a:gd name="connsiteY4" fmla="*/ 4485286 h 4491793"/>
              <a:gd name="connsiteX5" fmla="*/ 0 w 4814070"/>
              <a:gd name="connsiteY5" fmla="*/ 3603726 h 4491793"/>
              <a:gd name="connsiteX0" fmla="*/ 0 w 4792941"/>
              <a:gd name="connsiteY0" fmla="*/ 3603689 h 4491756"/>
              <a:gd name="connsiteX1" fmla="*/ 1116240 w 4792941"/>
              <a:gd name="connsiteY1" fmla="*/ 5527 h 4491756"/>
              <a:gd name="connsiteX2" fmla="*/ 2387173 w 4792941"/>
              <a:gd name="connsiteY2" fmla="*/ 5527 h 4491756"/>
              <a:gd name="connsiteX3" fmla="*/ 4781724 w 4792941"/>
              <a:gd name="connsiteY3" fmla="*/ 3730239 h 4491756"/>
              <a:gd name="connsiteX4" fmla="*/ 2396911 w 4792941"/>
              <a:gd name="connsiteY4" fmla="*/ 4485249 h 4491756"/>
              <a:gd name="connsiteX5" fmla="*/ 0 w 4792941"/>
              <a:gd name="connsiteY5" fmla="*/ 3603689 h 4491756"/>
              <a:gd name="connsiteX0" fmla="*/ 0 w 4792941"/>
              <a:gd name="connsiteY0" fmla="*/ 3603689 h 4491756"/>
              <a:gd name="connsiteX1" fmla="*/ 1116240 w 4792941"/>
              <a:gd name="connsiteY1" fmla="*/ 5527 h 4491756"/>
              <a:gd name="connsiteX2" fmla="*/ 2387173 w 4792941"/>
              <a:gd name="connsiteY2" fmla="*/ 5527 h 4491756"/>
              <a:gd name="connsiteX3" fmla="*/ 4781724 w 4792941"/>
              <a:gd name="connsiteY3" fmla="*/ 3730239 h 4491756"/>
              <a:gd name="connsiteX4" fmla="*/ 2396911 w 4792941"/>
              <a:gd name="connsiteY4" fmla="*/ 4485249 h 4491756"/>
              <a:gd name="connsiteX5" fmla="*/ 0 w 4792941"/>
              <a:gd name="connsiteY5" fmla="*/ 3603689 h 4491756"/>
              <a:gd name="connsiteX0" fmla="*/ 0 w 4785900"/>
              <a:gd name="connsiteY0" fmla="*/ 3603700 h 4491767"/>
              <a:gd name="connsiteX1" fmla="*/ 1116240 w 4785900"/>
              <a:gd name="connsiteY1" fmla="*/ 5538 h 4491767"/>
              <a:gd name="connsiteX2" fmla="*/ 2387173 w 4785900"/>
              <a:gd name="connsiteY2" fmla="*/ 5538 h 4491767"/>
              <a:gd name="connsiteX3" fmla="*/ 4774636 w 4785900"/>
              <a:gd name="connsiteY3" fmla="*/ 3723162 h 4491767"/>
              <a:gd name="connsiteX4" fmla="*/ 2396911 w 4785900"/>
              <a:gd name="connsiteY4" fmla="*/ 4485260 h 4491767"/>
              <a:gd name="connsiteX5" fmla="*/ 0 w 4785900"/>
              <a:gd name="connsiteY5" fmla="*/ 3603700 h 4491767"/>
              <a:gd name="connsiteX0" fmla="*/ 0 w 4785900"/>
              <a:gd name="connsiteY0" fmla="*/ 3603700 h 4491767"/>
              <a:gd name="connsiteX1" fmla="*/ 1116240 w 4785900"/>
              <a:gd name="connsiteY1" fmla="*/ 5538 h 4491767"/>
              <a:gd name="connsiteX2" fmla="*/ 2387173 w 4785900"/>
              <a:gd name="connsiteY2" fmla="*/ 5538 h 4491767"/>
              <a:gd name="connsiteX3" fmla="*/ 4774636 w 4785900"/>
              <a:gd name="connsiteY3" fmla="*/ 3723162 h 4491767"/>
              <a:gd name="connsiteX4" fmla="*/ 2396911 w 4785900"/>
              <a:gd name="connsiteY4" fmla="*/ 4485260 h 4491767"/>
              <a:gd name="connsiteX5" fmla="*/ 0 w 4785900"/>
              <a:gd name="connsiteY5" fmla="*/ 3603700 h 4491767"/>
              <a:gd name="connsiteX0" fmla="*/ 0 w 4785900"/>
              <a:gd name="connsiteY0" fmla="*/ 3603700 h 4491767"/>
              <a:gd name="connsiteX1" fmla="*/ 1116240 w 4785900"/>
              <a:gd name="connsiteY1" fmla="*/ 5538 h 4491767"/>
              <a:gd name="connsiteX2" fmla="*/ 2387173 w 4785900"/>
              <a:gd name="connsiteY2" fmla="*/ 5538 h 4491767"/>
              <a:gd name="connsiteX3" fmla="*/ 4774636 w 4785900"/>
              <a:gd name="connsiteY3" fmla="*/ 3723162 h 4491767"/>
              <a:gd name="connsiteX4" fmla="*/ 2396911 w 4785900"/>
              <a:gd name="connsiteY4" fmla="*/ 4485260 h 4491767"/>
              <a:gd name="connsiteX5" fmla="*/ 0 w 4785900"/>
              <a:gd name="connsiteY5" fmla="*/ 3603700 h 4491767"/>
              <a:gd name="connsiteX0" fmla="*/ 0 w 4785900"/>
              <a:gd name="connsiteY0" fmla="*/ 3603700 h 4491767"/>
              <a:gd name="connsiteX1" fmla="*/ 1116240 w 4785900"/>
              <a:gd name="connsiteY1" fmla="*/ 5538 h 4491767"/>
              <a:gd name="connsiteX2" fmla="*/ 2387173 w 4785900"/>
              <a:gd name="connsiteY2" fmla="*/ 5538 h 4491767"/>
              <a:gd name="connsiteX3" fmla="*/ 4774636 w 4785900"/>
              <a:gd name="connsiteY3" fmla="*/ 3723162 h 4491767"/>
              <a:gd name="connsiteX4" fmla="*/ 2396911 w 4785900"/>
              <a:gd name="connsiteY4" fmla="*/ 4485260 h 4491767"/>
              <a:gd name="connsiteX5" fmla="*/ 0 w 4785900"/>
              <a:gd name="connsiteY5" fmla="*/ 3603700 h 4491767"/>
              <a:gd name="connsiteX0" fmla="*/ 0 w 4785900"/>
              <a:gd name="connsiteY0" fmla="*/ 3603700 h 4491767"/>
              <a:gd name="connsiteX1" fmla="*/ 1116240 w 4785900"/>
              <a:gd name="connsiteY1" fmla="*/ 5538 h 4491767"/>
              <a:gd name="connsiteX2" fmla="*/ 2387173 w 4785900"/>
              <a:gd name="connsiteY2" fmla="*/ 5538 h 4491767"/>
              <a:gd name="connsiteX3" fmla="*/ 4774636 w 4785900"/>
              <a:gd name="connsiteY3" fmla="*/ 3723162 h 4491767"/>
              <a:gd name="connsiteX4" fmla="*/ 2396911 w 4785900"/>
              <a:gd name="connsiteY4" fmla="*/ 4485260 h 4491767"/>
              <a:gd name="connsiteX5" fmla="*/ 0 w 4785900"/>
              <a:gd name="connsiteY5" fmla="*/ 3603700 h 4491767"/>
              <a:gd name="connsiteX0" fmla="*/ 0 w 4785900"/>
              <a:gd name="connsiteY0" fmla="*/ 3603700 h 4491767"/>
              <a:gd name="connsiteX1" fmla="*/ 1116240 w 4785900"/>
              <a:gd name="connsiteY1" fmla="*/ 5538 h 4491767"/>
              <a:gd name="connsiteX2" fmla="*/ 2387173 w 4785900"/>
              <a:gd name="connsiteY2" fmla="*/ 5538 h 4491767"/>
              <a:gd name="connsiteX3" fmla="*/ 4774636 w 4785900"/>
              <a:gd name="connsiteY3" fmla="*/ 3723162 h 4491767"/>
              <a:gd name="connsiteX4" fmla="*/ 2396911 w 4785900"/>
              <a:gd name="connsiteY4" fmla="*/ 4485260 h 4491767"/>
              <a:gd name="connsiteX5" fmla="*/ 0 w 4785900"/>
              <a:gd name="connsiteY5" fmla="*/ 3603700 h 4491767"/>
              <a:gd name="connsiteX0" fmla="*/ 0 w 4785900"/>
              <a:gd name="connsiteY0" fmla="*/ 3603700 h 4491767"/>
              <a:gd name="connsiteX1" fmla="*/ 1116240 w 4785900"/>
              <a:gd name="connsiteY1" fmla="*/ 5538 h 4491767"/>
              <a:gd name="connsiteX2" fmla="*/ 2387173 w 4785900"/>
              <a:gd name="connsiteY2" fmla="*/ 5538 h 4491767"/>
              <a:gd name="connsiteX3" fmla="*/ 4774636 w 4785900"/>
              <a:gd name="connsiteY3" fmla="*/ 3723162 h 4491767"/>
              <a:gd name="connsiteX4" fmla="*/ 2396911 w 4785900"/>
              <a:gd name="connsiteY4" fmla="*/ 4485260 h 4491767"/>
              <a:gd name="connsiteX5" fmla="*/ 0 w 4785900"/>
              <a:gd name="connsiteY5" fmla="*/ 3603700 h 4491767"/>
              <a:gd name="connsiteX0" fmla="*/ 0 w 4785900"/>
              <a:gd name="connsiteY0" fmla="*/ 3603700 h 4491767"/>
              <a:gd name="connsiteX1" fmla="*/ 1116240 w 4785900"/>
              <a:gd name="connsiteY1" fmla="*/ 5538 h 4491767"/>
              <a:gd name="connsiteX2" fmla="*/ 2387173 w 4785900"/>
              <a:gd name="connsiteY2" fmla="*/ 5538 h 4491767"/>
              <a:gd name="connsiteX3" fmla="*/ 4774636 w 4785900"/>
              <a:gd name="connsiteY3" fmla="*/ 3723162 h 4491767"/>
              <a:gd name="connsiteX4" fmla="*/ 2396911 w 4785900"/>
              <a:gd name="connsiteY4" fmla="*/ 4485260 h 4491767"/>
              <a:gd name="connsiteX5" fmla="*/ 0 w 4785900"/>
              <a:gd name="connsiteY5" fmla="*/ 3603700 h 4491767"/>
              <a:gd name="connsiteX0" fmla="*/ 0 w 4785900"/>
              <a:gd name="connsiteY0" fmla="*/ 3603700 h 4491767"/>
              <a:gd name="connsiteX1" fmla="*/ 1116240 w 4785900"/>
              <a:gd name="connsiteY1" fmla="*/ 5538 h 4491767"/>
              <a:gd name="connsiteX2" fmla="*/ 2387173 w 4785900"/>
              <a:gd name="connsiteY2" fmla="*/ 5538 h 4491767"/>
              <a:gd name="connsiteX3" fmla="*/ 4774636 w 4785900"/>
              <a:gd name="connsiteY3" fmla="*/ 3723162 h 4491767"/>
              <a:gd name="connsiteX4" fmla="*/ 2396911 w 4785900"/>
              <a:gd name="connsiteY4" fmla="*/ 4485260 h 4491767"/>
              <a:gd name="connsiteX5" fmla="*/ 0 w 4785900"/>
              <a:gd name="connsiteY5" fmla="*/ 3603700 h 4491767"/>
              <a:gd name="connsiteX0" fmla="*/ 0 w 4785900"/>
              <a:gd name="connsiteY0" fmla="*/ 3603700 h 4491767"/>
              <a:gd name="connsiteX1" fmla="*/ 1116240 w 4785900"/>
              <a:gd name="connsiteY1" fmla="*/ 5538 h 4491767"/>
              <a:gd name="connsiteX2" fmla="*/ 2387173 w 4785900"/>
              <a:gd name="connsiteY2" fmla="*/ 5538 h 4491767"/>
              <a:gd name="connsiteX3" fmla="*/ 4774636 w 4785900"/>
              <a:gd name="connsiteY3" fmla="*/ 3723162 h 4491767"/>
              <a:gd name="connsiteX4" fmla="*/ 2396911 w 4785900"/>
              <a:gd name="connsiteY4" fmla="*/ 4485260 h 4491767"/>
              <a:gd name="connsiteX5" fmla="*/ 0 w 4785900"/>
              <a:gd name="connsiteY5" fmla="*/ 3603700 h 4491767"/>
              <a:gd name="connsiteX0" fmla="*/ 0 w 4785900"/>
              <a:gd name="connsiteY0" fmla="*/ 3603700 h 4491767"/>
              <a:gd name="connsiteX1" fmla="*/ 1116240 w 4785900"/>
              <a:gd name="connsiteY1" fmla="*/ 5538 h 4491767"/>
              <a:gd name="connsiteX2" fmla="*/ 2387173 w 4785900"/>
              <a:gd name="connsiteY2" fmla="*/ 5538 h 4491767"/>
              <a:gd name="connsiteX3" fmla="*/ 4774636 w 4785900"/>
              <a:gd name="connsiteY3" fmla="*/ 3723162 h 4491767"/>
              <a:gd name="connsiteX4" fmla="*/ 2396911 w 4785900"/>
              <a:gd name="connsiteY4" fmla="*/ 4485260 h 4491767"/>
              <a:gd name="connsiteX5" fmla="*/ 0 w 4785900"/>
              <a:gd name="connsiteY5" fmla="*/ 3603700 h 4491767"/>
              <a:gd name="connsiteX0" fmla="*/ 0 w 4785900"/>
              <a:gd name="connsiteY0" fmla="*/ 3603700 h 4491767"/>
              <a:gd name="connsiteX1" fmla="*/ 1116240 w 4785900"/>
              <a:gd name="connsiteY1" fmla="*/ 5538 h 4491767"/>
              <a:gd name="connsiteX2" fmla="*/ 2387173 w 4785900"/>
              <a:gd name="connsiteY2" fmla="*/ 5538 h 4491767"/>
              <a:gd name="connsiteX3" fmla="*/ 4774636 w 4785900"/>
              <a:gd name="connsiteY3" fmla="*/ 3723162 h 4491767"/>
              <a:gd name="connsiteX4" fmla="*/ 2396911 w 4785900"/>
              <a:gd name="connsiteY4" fmla="*/ 4485260 h 4491767"/>
              <a:gd name="connsiteX5" fmla="*/ 0 w 4785900"/>
              <a:gd name="connsiteY5" fmla="*/ 3603700 h 4491767"/>
              <a:gd name="connsiteX0" fmla="*/ 0 w 4785900"/>
              <a:gd name="connsiteY0" fmla="*/ 3603700 h 4491767"/>
              <a:gd name="connsiteX1" fmla="*/ 1116240 w 4785900"/>
              <a:gd name="connsiteY1" fmla="*/ 5538 h 4491767"/>
              <a:gd name="connsiteX2" fmla="*/ 2387173 w 4785900"/>
              <a:gd name="connsiteY2" fmla="*/ 5538 h 4491767"/>
              <a:gd name="connsiteX3" fmla="*/ 4774636 w 4785900"/>
              <a:gd name="connsiteY3" fmla="*/ 3723162 h 4491767"/>
              <a:gd name="connsiteX4" fmla="*/ 2396911 w 4785900"/>
              <a:gd name="connsiteY4" fmla="*/ 4485260 h 4491767"/>
              <a:gd name="connsiteX5" fmla="*/ 0 w 4785900"/>
              <a:gd name="connsiteY5" fmla="*/ 3603700 h 4491767"/>
              <a:gd name="connsiteX0" fmla="*/ 0 w 4785900"/>
              <a:gd name="connsiteY0" fmla="*/ 3603700 h 4506731"/>
              <a:gd name="connsiteX1" fmla="*/ 1116240 w 4785900"/>
              <a:gd name="connsiteY1" fmla="*/ 5538 h 4506731"/>
              <a:gd name="connsiteX2" fmla="*/ 2387173 w 4785900"/>
              <a:gd name="connsiteY2" fmla="*/ 5538 h 4506731"/>
              <a:gd name="connsiteX3" fmla="*/ 4774636 w 4785900"/>
              <a:gd name="connsiteY3" fmla="*/ 3723162 h 4506731"/>
              <a:gd name="connsiteX4" fmla="*/ 2396911 w 4785900"/>
              <a:gd name="connsiteY4" fmla="*/ 4485260 h 4506731"/>
              <a:gd name="connsiteX5" fmla="*/ 0 w 4785900"/>
              <a:gd name="connsiteY5" fmla="*/ 3603700 h 4506731"/>
              <a:gd name="connsiteX0" fmla="*/ 0 w 4785900"/>
              <a:gd name="connsiteY0" fmla="*/ 3603700 h 4494993"/>
              <a:gd name="connsiteX1" fmla="*/ 1116240 w 4785900"/>
              <a:gd name="connsiteY1" fmla="*/ 5538 h 4494993"/>
              <a:gd name="connsiteX2" fmla="*/ 2387173 w 4785900"/>
              <a:gd name="connsiteY2" fmla="*/ 5538 h 4494993"/>
              <a:gd name="connsiteX3" fmla="*/ 4774636 w 4785900"/>
              <a:gd name="connsiteY3" fmla="*/ 3723162 h 4494993"/>
              <a:gd name="connsiteX4" fmla="*/ 2396911 w 4785900"/>
              <a:gd name="connsiteY4" fmla="*/ 4485260 h 4494993"/>
              <a:gd name="connsiteX5" fmla="*/ 0 w 4785900"/>
              <a:gd name="connsiteY5" fmla="*/ 3603700 h 4494993"/>
              <a:gd name="connsiteX0" fmla="*/ 0 w 4785900"/>
              <a:gd name="connsiteY0" fmla="*/ 3603700 h 4496124"/>
              <a:gd name="connsiteX1" fmla="*/ 1116240 w 4785900"/>
              <a:gd name="connsiteY1" fmla="*/ 5538 h 4496124"/>
              <a:gd name="connsiteX2" fmla="*/ 2387173 w 4785900"/>
              <a:gd name="connsiteY2" fmla="*/ 5538 h 4496124"/>
              <a:gd name="connsiteX3" fmla="*/ 4774636 w 4785900"/>
              <a:gd name="connsiteY3" fmla="*/ 3723162 h 4496124"/>
              <a:gd name="connsiteX4" fmla="*/ 2396911 w 4785900"/>
              <a:gd name="connsiteY4" fmla="*/ 4485260 h 4496124"/>
              <a:gd name="connsiteX5" fmla="*/ 0 w 4785900"/>
              <a:gd name="connsiteY5" fmla="*/ 3603700 h 4496124"/>
              <a:gd name="connsiteX0" fmla="*/ 0 w 4785900"/>
              <a:gd name="connsiteY0" fmla="*/ 3603700 h 4491767"/>
              <a:gd name="connsiteX1" fmla="*/ 1116240 w 4785900"/>
              <a:gd name="connsiteY1" fmla="*/ 5538 h 4491767"/>
              <a:gd name="connsiteX2" fmla="*/ 2387173 w 4785900"/>
              <a:gd name="connsiteY2" fmla="*/ 5538 h 4491767"/>
              <a:gd name="connsiteX3" fmla="*/ 4774636 w 4785900"/>
              <a:gd name="connsiteY3" fmla="*/ 3723162 h 4491767"/>
              <a:gd name="connsiteX4" fmla="*/ 2396911 w 4785900"/>
              <a:gd name="connsiteY4" fmla="*/ 4485260 h 4491767"/>
              <a:gd name="connsiteX5" fmla="*/ 0 w 4785900"/>
              <a:gd name="connsiteY5" fmla="*/ 3603700 h 4491767"/>
              <a:gd name="connsiteX0" fmla="*/ 0 w 4785900"/>
              <a:gd name="connsiteY0" fmla="*/ 3603700 h 4491767"/>
              <a:gd name="connsiteX1" fmla="*/ 1116240 w 4785900"/>
              <a:gd name="connsiteY1" fmla="*/ 5538 h 4491767"/>
              <a:gd name="connsiteX2" fmla="*/ 2387173 w 4785900"/>
              <a:gd name="connsiteY2" fmla="*/ 5538 h 4491767"/>
              <a:gd name="connsiteX3" fmla="*/ 4774636 w 4785900"/>
              <a:gd name="connsiteY3" fmla="*/ 3723162 h 4491767"/>
              <a:gd name="connsiteX4" fmla="*/ 2396911 w 4785900"/>
              <a:gd name="connsiteY4" fmla="*/ 4485260 h 4491767"/>
              <a:gd name="connsiteX5" fmla="*/ 0 w 4785900"/>
              <a:gd name="connsiteY5" fmla="*/ 3603700 h 4491767"/>
              <a:gd name="connsiteX0" fmla="*/ 0 w 4785900"/>
              <a:gd name="connsiteY0" fmla="*/ 3603700 h 4492559"/>
              <a:gd name="connsiteX1" fmla="*/ 1116240 w 4785900"/>
              <a:gd name="connsiteY1" fmla="*/ 5538 h 4492559"/>
              <a:gd name="connsiteX2" fmla="*/ 2387173 w 4785900"/>
              <a:gd name="connsiteY2" fmla="*/ 5538 h 4492559"/>
              <a:gd name="connsiteX3" fmla="*/ 4774636 w 4785900"/>
              <a:gd name="connsiteY3" fmla="*/ 3723162 h 4492559"/>
              <a:gd name="connsiteX4" fmla="*/ 2396911 w 4785900"/>
              <a:gd name="connsiteY4" fmla="*/ 4485260 h 4492559"/>
              <a:gd name="connsiteX5" fmla="*/ 0 w 4785900"/>
              <a:gd name="connsiteY5" fmla="*/ 3603700 h 4492559"/>
              <a:gd name="connsiteX0" fmla="*/ 0 w 4785900"/>
              <a:gd name="connsiteY0" fmla="*/ 3603700 h 4510917"/>
              <a:gd name="connsiteX1" fmla="*/ 1116240 w 4785900"/>
              <a:gd name="connsiteY1" fmla="*/ 5538 h 4510917"/>
              <a:gd name="connsiteX2" fmla="*/ 2387173 w 4785900"/>
              <a:gd name="connsiteY2" fmla="*/ 5538 h 4510917"/>
              <a:gd name="connsiteX3" fmla="*/ 4774636 w 4785900"/>
              <a:gd name="connsiteY3" fmla="*/ 3723162 h 4510917"/>
              <a:gd name="connsiteX4" fmla="*/ 2396911 w 4785900"/>
              <a:gd name="connsiteY4" fmla="*/ 4485260 h 4510917"/>
              <a:gd name="connsiteX5" fmla="*/ 0 w 4785900"/>
              <a:gd name="connsiteY5" fmla="*/ 3603700 h 4510917"/>
              <a:gd name="connsiteX0" fmla="*/ 0 w 4785900"/>
              <a:gd name="connsiteY0" fmla="*/ 3603700 h 4491767"/>
              <a:gd name="connsiteX1" fmla="*/ 1116240 w 4785900"/>
              <a:gd name="connsiteY1" fmla="*/ 5538 h 4491767"/>
              <a:gd name="connsiteX2" fmla="*/ 2387173 w 4785900"/>
              <a:gd name="connsiteY2" fmla="*/ 5538 h 4491767"/>
              <a:gd name="connsiteX3" fmla="*/ 4774636 w 4785900"/>
              <a:gd name="connsiteY3" fmla="*/ 3723162 h 4491767"/>
              <a:gd name="connsiteX4" fmla="*/ 2396911 w 4785900"/>
              <a:gd name="connsiteY4" fmla="*/ 4485260 h 4491767"/>
              <a:gd name="connsiteX5" fmla="*/ 0 w 4785900"/>
              <a:gd name="connsiteY5" fmla="*/ 3603700 h 4491767"/>
              <a:gd name="connsiteX0" fmla="*/ 0 w 4785900"/>
              <a:gd name="connsiteY0" fmla="*/ 3603700 h 4529463"/>
              <a:gd name="connsiteX1" fmla="*/ 1116240 w 4785900"/>
              <a:gd name="connsiteY1" fmla="*/ 5538 h 4529463"/>
              <a:gd name="connsiteX2" fmla="*/ 2387173 w 4785900"/>
              <a:gd name="connsiteY2" fmla="*/ 5538 h 4529463"/>
              <a:gd name="connsiteX3" fmla="*/ 4774636 w 4785900"/>
              <a:gd name="connsiteY3" fmla="*/ 3723162 h 4529463"/>
              <a:gd name="connsiteX4" fmla="*/ 2396911 w 4785900"/>
              <a:gd name="connsiteY4" fmla="*/ 4485260 h 4529463"/>
              <a:gd name="connsiteX5" fmla="*/ 0 w 4785900"/>
              <a:gd name="connsiteY5" fmla="*/ 3603700 h 4529463"/>
              <a:gd name="connsiteX0" fmla="*/ 0 w 4835631"/>
              <a:gd name="connsiteY0" fmla="*/ 3603700 h 4575108"/>
              <a:gd name="connsiteX1" fmla="*/ 1116240 w 4835631"/>
              <a:gd name="connsiteY1" fmla="*/ 5538 h 4575108"/>
              <a:gd name="connsiteX2" fmla="*/ 2387173 w 4835631"/>
              <a:gd name="connsiteY2" fmla="*/ 5538 h 4575108"/>
              <a:gd name="connsiteX3" fmla="*/ 4774636 w 4835631"/>
              <a:gd name="connsiteY3" fmla="*/ 3723162 h 4575108"/>
              <a:gd name="connsiteX4" fmla="*/ 3980283 w 4835631"/>
              <a:gd name="connsiteY4" fmla="*/ 4459638 h 4575108"/>
              <a:gd name="connsiteX5" fmla="*/ 2396911 w 4835631"/>
              <a:gd name="connsiteY5" fmla="*/ 4485260 h 4575108"/>
              <a:gd name="connsiteX6" fmla="*/ 0 w 4835631"/>
              <a:gd name="connsiteY6" fmla="*/ 3603700 h 4575108"/>
              <a:gd name="connsiteX0" fmla="*/ 0 w 4831573"/>
              <a:gd name="connsiteY0" fmla="*/ 3603700 h 4555690"/>
              <a:gd name="connsiteX1" fmla="*/ 1116240 w 4831573"/>
              <a:gd name="connsiteY1" fmla="*/ 5538 h 4555690"/>
              <a:gd name="connsiteX2" fmla="*/ 2387173 w 4831573"/>
              <a:gd name="connsiteY2" fmla="*/ 5538 h 4555690"/>
              <a:gd name="connsiteX3" fmla="*/ 4774636 w 4831573"/>
              <a:gd name="connsiteY3" fmla="*/ 3723162 h 4555690"/>
              <a:gd name="connsiteX4" fmla="*/ 3916488 w 4831573"/>
              <a:gd name="connsiteY4" fmla="*/ 4402931 h 4555690"/>
              <a:gd name="connsiteX5" fmla="*/ 2396911 w 4831573"/>
              <a:gd name="connsiteY5" fmla="*/ 4485260 h 4555690"/>
              <a:gd name="connsiteX6" fmla="*/ 0 w 4831573"/>
              <a:gd name="connsiteY6" fmla="*/ 3603700 h 4555690"/>
              <a:gd name="connsiteX0" fmla="*/ 0 w 4824192"/>
              <a:gd name="connsiteY0" fmla="*/ 3603700 h 4555690"/>
              <a:gd name="connsiteX1" fmla="*/ 1116240 w 4824192"/>
              <a:gd name="connsiteY1" fmla="*/ 5538 h 4555690"/>
              <a:gd name="connsiteX2" fmla="*/ 2387173 w 4824192"/>
              <a:gd name="connsiteY2" fmla="*/ 5538 h 4555690"/>
              <a:gd name="connsiteX3" fmla="*/ 4774636 w 4824192"/>
              <a:gd name="connsiteY3" fmla="*/ 3723162 h 4555690"/>
              <a:gd name="connsiteX4" fmla="*/ 3916488 w 4824192"/>
              <a:gd name="connsiteY4" fmla="*/ 4402931 h 4555690"/>
              <a:gd name="connsiteX5" fmla="*/ 2396911 w 4824192"/>
              <a:gd name="connsiteY5" fmla="*/ 4485260 h 4555690"/>
              <a:gd name="connsiteX6" fmla="*/ 0 w 4824192"/>
              <a:gd name="connsiteY6" fmla="*/ 3603700 h 4555690"/>
              <a:gd name="connsiteX0" fmla="*/ 0 w 4824192"/>
              <a:gd name="connsiteY0" fmla="*/ 3603677 h 4555667"/>
              <a:gd name="connsiteX1" fmla="*/ 1116240 w 4824192"/>
              <a:gd name="connsiteY1" fmla="*/ 5515 h 4555667"/>
              <a:gd name="connsiteX2" fmla="*/ 2387173 w 4824192"/>
              <a:gd name="connsiteY2" fmla="*/ 5515 h 4555667"/>
              <a:gd name="connsiteX3" fmla="*/ 4774636 w 4824192"/>
              <a:gd name="connsiteY3" fmla="*/ 3737316 h 4555667"/>
              <a:gd name="connsiteX4" fmla="*/ 3916488 w 4824192"/>
              <a:gd name="connsiteY4" fmla="*/ 4402908 h 4555667"/>
              <a:gd name="connsiteX5" fmla="*/ 2396911 w 4824192"/>
              <a:gd name="connsiteY5" fmla="*/ 4485237 h 4555667"/>
              <a:gd name="connsiteX6" fmla="*/ 0 w 4824192"/>
              <a:gd name="connsiteY6" fmla="*/ 3603677 h 4555667"/>
              <a:gd name="connsiteX0" fmla="*/ 0 w 4785900"/>
              <a:gd name="connsiteY0" fmla="*/ 3603677 h 4555667"/>
              <a:gd name="connsiteX1" fmla="*/ 1116240 w 4785900"/>
              <a:gd name="connsiteY1" fmla="*/ 5515 h 4555667"/>
              <a:gd name="connsiteX2" fmla="*/ 2387173 w 4785900"/>
              <a:gd name="connsiteY2" fmla="*/ 5515 h 4555667"/>
              <a:gd name="connsiteX3" fmla="*/ 4774636 w 4785900"/>
              <a:gd name="connsiteY3" fmla="*/ 3737316 h 4555667"/>
              <a:gd name="connsiteX4" fmla="*/ 3916488 w 4785900"/>
              <a:gd name="connsiteY4" fmla="*/ 4402908 h 4555667"/>
              <a:gd name="connsiteX5" fmla="*/ 2396911 w 4785900"/>
              <a:gd name="connsiteY5" fmla="*/ 4485237 h 4555667"/>
              <a:gd name="connsiteX6" fmla="*/ 0 w 4785900"/>
              <a:gd name="connsiteY6" fmla="*/ 3603677 h 4555667"/>
              <a:gd name="connsiteX0" fmla="*/ 0 w 4785900"/>
              <a:gd name="connsiteY0" fmla="*/ 3603677 h 4539916"/>
              <a:gd name="connsiteX1" fmla="*/ 1116240 w 4785900"/>
              <a:gd name="connsiteY1" fmla="*/ 5515 h 4539916"/>
              <a:gd name="connsiteX2" fmla="*/ 2387173 w 4785900"/>
              <a:gd name="connsiteY2" fmla="*/ 5515 h 4539916"/>
              <a:gd name="connsiteX3" fmla="*/ 4774636 w 4785900"/>
              <a:gd name="connsiteY3" fmla="*/ 3737316 h 4539916"/>
              <a:gd name="connsiteX4" fmla="*/ 3916488 w 4785900"/>
              <a:gd name="connsiteY4" fmla="*/ 4402908 h 4539916"/>
              <a:gd name="connsiteX5" fmla="*/ 2396911 w 4785900"/>
              <a:gd name="connsiteY5" fmla="*/ 4485237 h 4539916"/>
              <a:gd name="connsiteX6" fmla="*/ 0 w 4785900"/>
              <a:gd name="connsiteY6" fmla="*/ 3603677 h 4539916"/>
              <a:gd name="connsiteX0" fmla="*/ 0 w 4785900"/>
              <a:gd name="connsiteY0" fmla="*/ 3603677 h 4491744"/>
              <a:gd name="connsiteX1" fmla="*/ 1116240 w 4785900"/>
              <a:gd name="connsiteY1" fmla="*/ 5515 h 4491744"/>
              <a:gd name="connsiteX2" fmla="*/ 2387173 w 4785900"/>
              <a:gd name="connsiteY2" fmla="*/ 5515 h 4491744"/>
              <a:gd name="connsiteX3" fmla="*/ 4774636 w 4785900"/>
              <a:gd name="connsiteY3" fmla="*/ 3737316 h 4491744"/>
              <a:gd name="connsiteX4" fmla="*/ 3916488 w 4785900"/>
              <a:gd name="connsiteY4" fmla="*/ 4402908 h 4491744"/>
              <a:gd name="connsiteX5" fmla="*/ 2396911 w 4785900"/>
              <a:gd name="connsiteY5" fmla="*/ 4485237 h 4491744"/>
              <a:gd name="connsiteX6" fmla="*/ 0 w 4785900"/>
              <a:gd name="connsiteY6" fmla="*/ 3603677 h 4491744"/>
              <a:gd name="connsiteX0" fmla="*/ 0 w 4785900"/>
              <a:gd name="connsiteY0" fmla="*/ 3603677 h 4491744"/>
              <a:gd name="connsiteX1" fmla="*/ 1116240 w 4785900"/>
              <a:gd name="connsiteY1" fmla="*/ 5515 h 4491744"/>
              <a:gd name="connsiteX2" fmla="*/ 2387173 w 4785900"/>
              <a:gd name="connsiteY2" fmla="*/ 5515 h 4491744"/>
              <a:gd name="connsiteX3" fmla="*/ 4774636 w 4785900"/>
              <a:gd name="connsiteY3" fmla="*/ 3737316 h 4491744"/>
              <a:gd name="connsiteX4" fmla="*/ 3916488 w 4785900"/>
              <a:gd name="connsiteY4" fmla="*/ 4402908 h 4491744"/>
              <a:gd name="connsiteX5" fmla="*/ 2396911 w 4785900"/>
              <a:gd name="connsiteY5" fmla="*/ 4485237 h 4491744"/>
              <a:gd name="connsiteX6" fmla="*/ 0 w 4785900"/>
              <a:gd name="connsiteY6" fmla="*/ 3603677 h 4491744"/>
              <a:gd name="connsiteX0" fmla="*/ 0 w 4801302"/>
              <a:gd name="connsiteY0" fmla="*/ 3598162 h 4486229"/>
              <a:gd name="connsiteX1" fmla="*/ 1116240 w 4801302"/>
              <a:gd name="connsiteY1" fmla="*/ 0 h 4486229"/>
              <a:gd name="connsiteX2" fmla="*/ 2387173 w 4801302"/>
              <a:gd name="connsiteY2" fmla="*/ 0 h 4486229"/>
              <a:gd name="connsiteX3" fmla="*/ 4377231 w 4801302"/>
              <a:gd name="connsiteY3" fmla="*/ 2228350 h 4486229"/>
              <a:gd name="connsiteX4" fmla="*/ 4774636 w 4801302"/>
              <a:gd name="connsiteY4" fmla="*/ 3731801 h 4486229"/>
              <a:gd name="connsiteX5" fmla="*/ 3916488 w 4801302"/>
              <a:gd name="connsiteY5" fmla="*/ 4397393 h 4486229"/>
              <a:gd name="connsiteX6" fmla="*/ 2396911 w 4801302"/>
              <a:gd name="connsiteY6" fmla="*/ 4479722 h 4486229"/>
              <a:gd name="connsiteX7" fmla="*/ 0 w 4801302"/>
              <a:gd name="connsiteY7" fmla="*/ 3598162 h 4486229"/>
              <a:gd name="connsiteX0" fmla="*/ 0 w 4791830"/>
              <a:gd name="connsiteY0" fmla="*/ 3598162 h 4486229"/>
              <a:gd name="connsiteX1" fmla="*/ 1116240 w 4791830"/>
              <a:gd name="connsiteY1" fmla="*/ 0 h 4486229"/>
              <a:gd name="connsiteX2" fmla="*/ 2387173 w 4791830"/>
              <a:gd name="connsiteY2" fmla="*/ 0 h 4486229"/>
              <a:gd name="connsiteX3" fmla="*/ 4270906 w 4791830"/>
              <a:gd name="connsiteY3" fmla="*/ 2207085 h 4486229"/>
              <a:gd name="connsiteX4" fmla="*/ 4774636 w 4791830"/>
              <a:gd name="connsiteY4" fmla="*/ 3731801 h 4486229"/>
              <a:gd name="connsiteX5" fmla="*/ 3916488 w 4791830"/>
              <a:gd name="connsiteY5" fmla="*/ 4397393 h 4486229"/>
              <a:gd name="connsiteX6" fmla="*/ 2396911 w 4791830"/>
              <a:gd name="connsiteY6" fmla="*/ 4479722 h 4486229"/>
              <a:gd name="connsiteX7" fmla="*/ 0 w 4791830"/>
              <a:gd name="connsiteY7" fmla="*/ 3598162 h 4486229"/>
              <a:gd name="connsiteX0" fmla="*/ 0 w 4791432"/>
              <a:gd name="connsiteY0" fmla="*/ 3598162 h 4486229"/>
              <a:gd name="connsiteX1" fmla="*/ 1116240 w 4791432"/>
              <a:gd name="connsiteY1" fmla="*/ 0 h 4486229"/>
              <a:gd name="connsiteX2" fmla="*/ 2387173 w 4791432"/>
              <a:gd name="connsiteY2" fmla="*/ 0 h 4486229"/>
              <a:gd name="connsiteX3" fmla="*/ 4270906 w 4791432"/>
              <a:gd name="connsiteY3" fmla="*/ 2207085 h 4486229"/>
              <a:gd name="connsiteX4" fmla="*/ 4774636 w 4791432"/>
              <a:gd name="connsiteY4" fmla="*/ 3731801 h 4486229"/>
              <a:gd name="connsiteX5" fmla="*/ 3916488 w 4791432"/>
              <a:gd name="connsiteY5" fmla="*/ 4397393 h 4486229"/>
              <a:gd name="connsiteX6" fmla="*/ 2396911 w 4791432"/>
              <a:gd name="connsiteY6" fmla="*/ 4479722 h 4486229"/>
              <a:gd name="connsiteX7" fmla="*/ 0 w 4791432"/>
              <a:gd name="connsiteY7" fmla="*/ 3598162 h 4486229"/>
              <a:gd name="connsiteX0" fmla="*/ 0 w 4793736"/>
              <a:gd name="connsiteY0" fmla="*/ 3598162 h 4486229"/>
              <a:gd name="connsiteX1" fmla="*/ 1116240 w 4793736"/>
              <a:gd name="connsiteY1" fmla="*/ 0 h 4486229"/>
              <a:gd name="connsiteX2" fmla="*/ 2387173 w 4793736"/>
              <a:gd name="connsiteY2" fmla="*/ 0 h 4486229"/>
              <a:gd name="connsiteX3" fmla="*/ 4270906 w 4793736"/>
              <a:gd name="connsiteY3" fmla="*/ 2207085 h 4486229"/>
              <a:gd name="connsiteX4" fmla="*/ 4774636 w 4793736"/>
              <a:gd name="connsiteY4" fmla="*/ 3731801 h 4486229"/>
              <a:gd name="connsiteX5" fmla="*/ 3916488 w 4793736"/>
              <a:gd name="connsiteY5" fmla="*/ 4397393 h 4486229"/>
              <a:gd name="connsiteX6" fmla="*/ 2396911 w 4793736"/>
              <a:gd name="connsiteY6" fmla="*/ 4479722 h 4486229"/>
              <a:gd name="connsiteX7" fmla="*/ 0 w 4793736"/>
              <a:gd name="connsiteY7" fmla="*/ 3598162 h 4486229"/>
              <a:gd name="connsiteX0" fmla="*/ 0 w 4784927"/>
              <a:gd name="connsiteY0" fmla="*/ 3598162 h 4486229"/>
              <a:gd name="connsiteX1" fmla="*/ 1116240 w 4784927"/>
              <a:gd name="connsiteY1" fmla="*/ 0 h 4486229"/>
              <a:gd name="connsiteX2" fmla="*/ 2387173 w 4784927"/>
              <a:gd name="connsiteY2" fmla="*/ 0 h 4486229"/>
              <a:gd name="connsiteX3" fmla="*/ 4022812 w 4784927"/>
              <a:gd name="connsiteY3" fmla="*/ 1774695 h 4486229"/>
              <a:gd name="connsiteX4" fmla="*/ 4774636 w 4784927"/>
              <a:gd name="connsiteY4" fmla="*/ 3731801 h 4486229"/>
              <a:gd name="connsiteX5" fmla="*/ 3916488 w 4784927"/>
              <a:gd name="connsiteY5" fmla="*/ 4397393 h 4486229"/>
              <a:gd name="connsiteX6" fmla="*/ 2396911 w 4784927"/>
              <a:gd name="connsiteY6" fmla="*/ 4479722 h 4486229"/>
              <a:gd name="connsiteX7" fmla="*/ 0 w 4784927"/>
              <a:gd name="connsiteY7" fmla="*/ 3598162 h 4486229"/>
              <a:gd name="connsiteX0" fmla="*/ 0 w 4788027"/>
              <a:gd name="connsiteY0" fmla="*/ 3598162 h 4486229"/>
              <a:gd name="connsiteX1" fmla="*/ 1116240 w 4788027"/>
              <a:gd name="connsiteY1" fmla="*/ 0 h 4486229"/>
              <a:gd name="connsiteX2" fmla="*/ 2387173 w 4788027"/>
              <a:gd name="connsiteY2" fmla="*/ 0 h 4486229"/>
              <a:gd name="connsiteX3" fmla="*/ 4022812 w 4788027"/>
              <a:gd name="connsiteY3" fmla="*/ 1774695 h 4486229"/>
              <a:gd name="connsiteX4" fmla="*/ 4774636 w 4788027"/>
              <a:gd name="connsiteY4" fmla="*/ 3731801 h 4486229"/>
              <a:gd name="connsiteX5" fmla="*/ 3916488 w 4788027"/>
              <a:gd name="connsiteY5" fmla="*/ 4397393 h 4486229"/>
              <a:gd name="connsiteX6" fmla="*/ 2396911 w 4788027"/>
              <a:gd name="connsiteY6" fmla="*/ 4479722 h 4486229"/>
              <a:gd name="connsiteX7" fmla="*/ 0 w 4788027"/>
              <a:gd name="connsiteY7" fmla="*/ 3598162 h 4486229"/>
              <a:gd name="connsiteX0" fmla="*/ 0 w 4795825"/>
              <a:gd name="connsiteY0" fmla="*/ 3598162 h 4486229"/>
              <a:gd name="connsiteX1" fmla="*/ 1116240 w 4795825"/>
              <a:gd name="connsiteY1" fmla="*/ 0 h 4486229"/>
              <a:gd name="connsiteX2" fmla="*/ 2387173 w 4795825"/>
              <a:gd name="connsiteY2" fmla="*/ 0 h 4486229"/>
              <a:gd name="connsiteX3" fmla="*/ 4022812 w 4795825"/>
              <a:gd name="connsiteY3" fmla="*/ 1774695 h 4486229"/>
              <a:gd name="connsiteX4" fmla="*/ 4774636 w 4795825"/>
              <a:gd name="connsiteY4" fmla="*/ 3731801 h 4486229"/>
              <a:gd name="connsiteX5" fmla="*/ 3916488 w 4795825"/>
              <a:gd name="connsiteY5" fmla="*/ 4397393 h 4486229"/>
              <a:gd name="connsiteX6" fmla="*/ 2396911 w 4795825"/>
              <a:gd name="connsiteY6" fmla="*/ 4479722 h 4486229"/>
              <a:gd name="connsiteX7" fmla="*/ 0 w 4795825"/>
              <a:gd name="connsiteY7" fmla="*/ 3598162 h 4486229"/>
              <a:gd name="connsiteX0" fmla="*/ 0 w 4788585"/>
              <a:gd name="connsiteY0" fmla="*/ 3598162 h 4486229"/>
              <a:gd name="connsiteX1" fmla="*/ 1116240 w 4788585"/>
              <a:gd name="connsiteY1" fmla="*/ 0 h 4486229"/>
              <a:gd name="connsiteX2" fmla="*/ 2387173 w 4788585"/>
              <a:gd name="connsiteY2" fmla="*/ 0 h 4486229"/>
              <a:gd name="connsiteX3" fmla="*/ 4022812 w 4788585"/>
              <a:gd name="connsiteY3" fmla="*/ 1774695 h 4486229"/>
              <a:gd name="connsiteX4" fmla="*/ 4774636 w 4788585"/>
              <a:gd name="connsiteY4" fmla="*/ 3731801 h 4486229"/>
              <a:gd name="connsiteX5" fmla="*/ 3916488 w 4788585"/>
              <a:gd name="connsiteY5" fmla="*/ 4397393 h 4486229"/>
              <a:gd name="connsiteX6" fmla="*/ 2396911 w 4788585"/>
              <a:gd name="connsiteY6" fmla="*/ 4479722 h 4486229"/>
              <a:gd name="connsiteX7" fmla="*/ 0 w 4788585"/>
              <a:gd name="connsiteY7" fmla="*/ 3598162 h 4486229"/>
              <a:gd name="connsiteX0" fmla="*/ 0 w 4789166"/>
              <a:gd name="connsiteY0" fmla="*/ 3598162 h 4486229"/>
              <a:gd name="connsiteX1" fmla="*/ 1116240 w 4789166"/>
              <a:gd name="connsiteY1" fmla="*/ 0 h 4486229"/>
              <a:gd name="connsiteX2" fmla="*/ 2387173 w 4789166"/>
              <a:gd name="connsiteY2" fmla="*/ 0 h 4486229"/>
              <a:gd name="connsiteX3" fmla="*/ 4022812 w 4789166"/>
              <a:gd name="connsiteY3" fmla="*/ 1774695 h 4486229"/>
              <a:gd name="connsiteX4" fmla="*/ 4774636 w 4789166"/>
              <a:gd name="connsiteY4" fmla="*/ 3731801 h 4486229"/>
              <a:gd name="connsiteX5" fmla="*/ 3916488 w 4789166"/>
              <a:gd name="connsiteY5" fmla="*/ 4397393 h 4486229"/>
              <a:gd name="connsiteX6" fmla="*/ 2396911 w 4789166"/>
              <a:gd name="connsiteY6" fmla="*/ 4479722 h 4486229"/>
              <a:gd name="connsiteX7" fmla="*/ 0 w 4789166"/>
              <a:gd name="connsiteY7" fmla="*/ 3598162 h 4486229"/>
              <a:gd name="connsiteX0" fmla="*/ 0 w 4794089"/>
              <a:gd name="connsiteY0" fmla="*/ 3598162 h 4486229"/>
              <a:gd name="connsiteX1" fmla="*/ 1116240 w 4794089"/>
              <a:gd name="connsiteY1" fmla="*/ 0 h 4486229"/>
              <a:gd name="connsiteX2" fmla="*/ 2387173 w 4794089"/>
              <a:gd name="connsiteY2" fmla="*/ 0 h 4486229"/>
              <a:gd name="connsiteX3" fmla="*/ 4022812 w 4794089"/>
              <a:gd name="connsiteY3" fmla="*/ 1774695 h 4486229"/>
              <a:gd name="connsiteX4" fmla="*/ 4774636 w 4794089"/>
              <a:gd name="connsiteY4" fmla="*/ 3731801 h 4486229"/>
              <a:gd name="connsiteX5" fmla="*/ 3916488 w 4794089"/>
              <a:gd name="connsiteY5" fmla="*/ 4397393 h 4486229"/>
              <a:gd name="connsiteX6" fmla="*/ 2396911 w 4794089"/>
              <a:gd name="connsiteY6" fmla="*/ 4479722 h 4486229"/>
              <a:gd name="connsiteX7" fmla="*/ 0 w 4794089"/>
              <a:gd name="connsiteY7" fmla="*/ 3598162 h 4486229"/>
              <a:gd name="connsiteX0" fmla="*/ 0 w 4795830"/>
              <a:gd name="connsiteY0" fmla="*/ 3598162 h 4486229"/>
              <a:gd name="connsiteX1" fmla="*/ 1116240 w 4795830"/>
              <a:gd name="connsiteY1" fmla="*/ 0 h 4486229"/>
              <a:gd name="connsiteX2" fmla="*/ 2387173 w 4795830"/>
              <a:gd name="connsiteY2" fmla="*/ 0 h 4486229"/>
              <a:gd name="connsiteX3" fmla="*/ 4022812 w 4795830"/>
              <a:gd name="connsiteY3" fmla="*/ 1774695 h 4486229"/>
              <a:gd name="connsiteX4" fmla="*/ 4774636 w 4795830"/>
              <a:gd name="connsiteY4" fmla="*/ 3731801 h 4486229"/>
              <a:gd name="connsiteX5" fmla="*/ 3916488 w 4795830"/>
              <a:gd name="connsiteY5" fmla="*/ 4397393 h 4486229"/>
              <a:gd name="connsiteX6" fmla="*/ 2396911 w 4795830"/>
              <a:gd name="connsiteY6" fmla="*/ 4479722 h 4486229"/>
              <a:gd name="connsiteX7" fmla="*/ 0 w 4795830"/>
              <a:gd name="connsiteY7" fmla="*/ 3598162 h 4486229"/>
              <a:gd name="connsiteX0" fmla="*/ 0 w 4795830"/>
              <a:gd name="connsiteY0" fmla="*/ 3598162 h 4486229"/>
              <a:gd name="connsiteX1" fmla="*/ 1116240 w 4795830"/>
              <a:gd name="connsiteY1" fmla="*/ 0 h 4486229"/>
              <a:gd name="connsiteX2" fmla="*/ 2387173 w 4795830"/>
              <a:gd name="connsiteY2" fmla="*/ 0 h 4486229"/>
              <a:gd name="connsiteX3" fmla="*/ 4022812 w 4795830"/>
              <a:gd name="connsiteY3" fmla="*/ 1774695 h 4486229"/>
              <a:gd name="connsiteX4" fmla="*/ 4774636 w 4795830"/>
              <a:gd name="connsiteY4" fmla="*/ 3731801 h 4486229"/>
              <a:gd name="connsiteX5" fmla="*/ 3916488 w 4795830"/>
              <a:gd name="connsiteY5" fmla="*/ 4397393 h 4486229"/>
              <a:gd name="connsiteX6" fmla="*/ 2396911 w 4795830"/>
              <a:gd name="connsiteY6" fmla="*/ 4479722 h 4486229"/>
              <a:gd name="connsiteX7" fmla="*/ 0 w 4795830"/>
              <a:gd name="connsiteY7" fmla="*/ 3598162 h 4486229"/>
              <a:gd name="connsiteX0" fmla="*/ 0 w 4802783"/>
              <a:gd name="connsiteY0" fmla="*/ 3598162 h 4486229"/>
              <a:gd name="connsiteX1" fmla="*/ 1116240 w 4802783"/>
              <a:gd name="connsiteY1" fmla="*/ 0 h 4486229"/>
              <a:gd name="connsiteX2" fmla="*/ 2387173 w 4802783"/>
              <a:gd name="connsiteY2" fmla="*/ 0 h 4486229"/>
              <a:gd name="connsiteX3" fmla="*/ 4200021 w 4802783"/>
              <a:gd name="connsiteY3" fmla="*/ 2100760 h 4486229"/>
              <a:gd name="connsiteX4" fmla="*/ 4774636 w 4802783"/>
              <a:gd name="connsiteY4" fmla="*/ 3731801 h 4486229"/>
              <a:gd name="connsiteX5" fmla="*/ 3916488 w 4802783"/>
              <a:gd name="connsiteY5" fmla="*/ 4397393 h 4486229"/>
              <a:gd name="connsiteX6" fmla="*/ 2396911 w 4802783"/>
              <a:gd name="connsiteY6" fmla="*/ 4479722 h 4486229"/>
              <a:gd name="connsiteX7" fmla="*/ 0 w 4802783"/>
              <a:gd name="connsiteY7" fmla="*/ 3598162 h 4486229"/>
              <a:gd name="connsiteX0" fmla="*/ 0 w 4797833"/>
              <a:gd name="connsiteY0" fmla="*/ 3598162 h 4486229"/>
              <a:gd name="connsiteX1" fmla="*/ 1116240 w 4797833"/>
              <a:gd name="connsiteY1" fmla="*/ 0 h 4486229"/>
              <a:gd name="connsiteX2" fmla="*/ 2387173 w 4797833"/>
              <a:gd name="connsiteY2" fmla="*/ 0 h 4486229"/>
              <a:gd name="connsiteX3" fmla="*/ 4200021 w 4797833"/>
              <a:gd name="connsiteY3" fmla="*/ 2100760 h 4486229"/>
              <a:gd name="connsiteX4" fmla="*/ 4774636 w 4797833"/>
              <a:gd name="connsiteY4" fmla="*/ 3731801 h 4486229"/>
              <a:gd name="connsiteX5" fmla="*/ 3916488 w 4797833"/>
              <a:gd name="connsiteY5" fmla="*/ 4397393 h 4486229"/>
              <a:gd name="connsiteX6" fmla="*/ 2396911 w 4797833"/>
              <a:gd name="connsiteY6" fmla="*/ 4479722 h 4486229"/>
              <a:gd name="connsiteX7" fmla="*/ 0 w 4797833"/>
              <a:gd name="connsiteY7" fmla="*/ 3598162 h 4486229"/>
              <a:gd name="connsiteX0" fmla="*/ 0 w 4797592"/>
              <a:gd name="connsiteY0" fmla="*/ 3598162 h 4486229"/>
              <a:gd name="connsiteX1" fmla="*/ 1116240 w 4797592"/>
              <a:gd name="connsiteY1" fmla="*/ 0 h 4486229"/>
              <a:gd name="connsiteX2" fmla="*/ 2387173 w 4797592"/>
              <a:gd name="connsiteY2" fmla="*/ 0 h 4486229"/>
              <a:gd name="connsiteX3" fmla="*/ 4200021 w 4797592"/>
              <a:gd name="connsiteY3" fmla="*/ 2100760 h 4486229"/>
              <a:gd name="connsiteX4" fmla="*/ 4774636 w 4797592"/>
              <a:gd name="connsiteY4" fmla="*/ 3731801 h 4486229"/>
              <a:gd name="connsiteX5" fmla="*/ 3916488 w 4797592"/>
              <a:gd name="connsiteY5" fmla="*/ 4397393 h 4486229"/>
              <a:gd name="connsiteX6" fmla="*/ 2396911 w 4797592"/>
              <a:gd name="connsiteY6" fmla="*/ 4479722 h 4486229"/>
              <a:gd name="connsiteX7" fmla="*/ 0 w 4797592"/>
              <a:gd name="connsiteY7" fmla="*/ 3598162 h 4486229"/>
              <a:gd name="connsiteX0" fmla="*/ 0 w 4795619"/>
              <a:gd name="connsiteY0" fmla="*/ 3598162 h 4486229"/>
              <a:gd name="connsiteX1" fmla="*/ 1116240 w 4795619"/>
              <a:gd name="connsiteY1" fmla="*/ 0 h 4486229"/>
              <a:gd name="connsiteX2" fmla="*/ 2387173 w 4795619"/>
              <a:gd name="connsiteY2" fmla="*/ 0 h 4486229"/>
              <a:gd name="connsiteX3" fmla="*/ 4200021 w 4795619"/>
              <a:gd name="connsiteY3" fmla="*/ 2100760 h 4486229"/>
              <a:gd name="connsiteX4" fmla="*/ 4774636 w 4795619"/>
              <a:gd name="connsiteY4" fmla="*/ 3731801 h 4486229"/>
              <a:gd name="connsiteX5" fmla="*/ 3916488 w 4795619"/>
              <a:gd name="connsiteY5" fmla="*/ 4397393 h 4486229"/>
              <a:gd name="connsiteX6" fmla="*/ 2396911 w 4795619"/>
              <a:gd name="connsiteY6" fmla="*/ 4479722 h 4486229"/>
              <a:gd name="connsiteX7" fmla="*/ 0 w 4795619"/>
              <a:gd name="connsiteY7" fmla="*/ 3598162 h 4486229"/>
              <a:gd name="connsiteX0" fmla="*/ 0 w 4794842"/>
              <a:gd name="connsiteY0" fmla="*/ 3598162 h 4486229"/>
              <a:gd name="connsiteX1" fmla="*/ 1116240 w 4794842"/>
              <a:gd name="connsiteY1" fmla="*/ 0 h 4486229"/>
              <a:gd name="connsiteX2" fmla="*/ 2387173 w 4794842"/>
              <a:gd name="connsiteY2" fmla="*/ 0 h 4486229"/>
              <a:gd name="connsiteX3" fmla="*/ 4200021 w 4794842"/>
              <a:gd name="connsiteY3" fmla="*/ 2100760 h 4486229"/>
              <a:gd name="connsiteX4" fmla="*/ 4774636 w 4794842"/>
              <a:gd name="connsiteY4" fmla="*/ 3731801 h 4486229"/>
              <a:gd name="connsiteX5" fmla="*/ 3916488 w 4794842"/>
              <a:gd name="connsiteY5" fmla="*/ 4397393 h 4486229"/>
              <a:gd name="connsiteX6" fmla="*/ 2396911 w 4794842"/>
              <a:gd name="connsiteY6" fmla="*/ 4479722 h 4486229"/>
              <a:gd name="connsiteX7" fmla="*/ 0 w 4794842"/>
              <a:gd name="connsiteY7" fmla="*/ 3598162 h 4486229"/>
              <a:gd name="connsiteX0" fmla="*/ 0 w 4794294"/>
              <a:gd name="connsiteY0" fmla="*/ 3598162 h 4486229"/>
              <a:gd name="connsiteX1" fmla="*/ 1116240 w 4794294"/>
              <a:gd name="connsiteY1" fmla="*/ 0 h 4486229"/>
              <a:gd name="connsiteX2" fmla="*/ 2387173 w 4794294"/>
              <a:gd name="connsiteY2" fmla="*/ 0 h 4486229"/>
              <a:gd name="connsiteX3" fmla="*/ 4200021 w 4794294"/>
              <a:gd name="connsiteY3" fmla="*/ 2100760 h 4486229"/>
              <a:gd name="connsiteX4" fmla="*/ 4774636 w 4794294"/>
              <a:gd name="connsiteY4" fmla="*/ 3731801 h 4486229"/>
              <a:gd name="connsiteX5" fmla="*/ 3916488 w 4794294"/>
              <a:gd name="connsiteY5" fmla="*/ 4397393 h 4486229"/>
              <a:gd name="connsiteX6" fmla="*/ 2396911 w 4794294"/>
              <a:gd name="connsiteY6" fmla="*/ 4479722 h 4486229"/>
              <a:gd name="connsiteX7" fmla="*/ 0 w 4794294"/>
              <a:gd name="connsiteY7" fmla="*/ 3598162 h 4486229"/>
              <a:gd name="connsiteX0" fmla="*/ 0 w 4799753"/>
              <a:gd name="connsiteY0" fmla="*/ 3598162 h 4486229"/>
              <a:gd name="connsiteX1" fmla="*/ 1116240 w 4799753"/>
              <a:gd name="connsiteY1" fmla="*/ 0 h 4486229"/>
              <a:gd name="connsiteX2" fmla="*/ 2387173 w 4799753"/>
              <a:gd name="connsiteY2" fmla="*/ 0 h 4486229"/>
              <a:gd name="connsiteX3" fmla="*/ 4200021 w 4799753"/>
              <a:gd name="connsiteY3" fmla="*/ 2100760 h 4486229"/>
              <a:gd name="connsiteX4" fmla="*/ 4774636 w 4799753"/>
              <a:gd name="connsiteY4" fmla="*/ 3731801 h 4486229"/>
              <a:gd name="connsiteX5" fmla="*/ 3916488 w 4799753"/>
              <a:gd name="connsiteY5" fmla="*/ 4397393 h 4486229"/>
              <a:gd name="connsiteX6" fmla="*/ 2396911 w 4799753"/>
              <a:gd name="connsiteY6" fmla="*/ 4479722 h 4486229"/>
              <a:gd name="connsiteX7" fmla="*/ 0 w 4799753"/>
              <a:gd name="connsiteY7" fmla="*/ 3598162 h 4486229"/>
              <a:gd name="connsiteX0" fmla="*/ 0 w 4795092"/>
              <a:gd name="connsiteY0" fmla="*/ 3598162 h 4486229"/>
              <a:gd name="connsiteX1" fmla="*/ 1116240 w 4795092"/>
              <a:gd name="connsiteY1" fmla="*/ 0 h 4486229"/>
              <a:gd name="connsiteX2" fmla="*/ 2387173 w 4795092"/>
              <a:gd name="connsiteY2" fmla="*/ 0 h 4486229"/>
              <a:gd name="connsiteX3" fmla="*/ 4019046 w 4795092"/>
              <a:gd name="connsiteY3" fmla="*/ 1764210 h 4486229"/>
              <a:gd name="connsiteX4" fmla="*/ 4774636 w 4795092"/>
              <a:gd name="connsiteY4" fmla="*/ 3731801 h 4486229"/>
              <a:gd name="connsiteX5" fmla="*/ 3916488 w 4795092"/>
              <a:gd name="connsiteY5" fmla="*/ 4397393 h 4486229"/>
              <a:gd name="connsiteX6" fmla="*/ 2396911 w 4795092"/>
              <a:gd name="connsiteY6" fmla="*/ 4479722 h 4486229"/>
              <a:gd name="connsiteX7" fmla="*/ 0 w 4795092"/>
              <a:gd name="connsiteY7" fmla="*/ 3598162 h 4486229"/>
              <a:gd name="connsiteX0" fmla="*/ 0 w 4795157"/>
              <a:gd name="connsiteY0" fmla="*/ 3598162 h 4486229"/>
              <a:gd name="connsiteX1" fmla="*/ 1116240 w 4795157"/>
              <a:gd name="connsiteY1" fmla="*/ 0 h 4486229"/>
              <a:gd name="connsiteX2" fmla="*/ 2387173 w 4795157"/>
              <a:gd name="connsiteY2" fmla="*/ 0 h 4486229"/>
              <a:gd name="connsiteX3" fmla="*/ 4019046 w 4795157"/>
              <a:gd name="connsiteY3" fmla="*/ 1764210 h 4486229"/>
              <a:gd name="connsiteX4" fmla="*/ 4774636 w 4795157"/>
              <a:gd name="connsiteY4" fmla="*/ 3731801 h 4486229"/>
              <a:gd name="connsiteX5" fmla="*/ 3916488 w 4795157"/>
              <a:gd name="connsiteY5" fmla="*/ 4397393 h 4486229"/>
              <a:gd name="connsiteX6" fmla="*/ 2396911 w 4795157"/>
              <a:gd name="connsiteY6" fmla="*/ 4479722 h 4486229"/>
              <a:gd name="connsiteX7" fmla="*/ 0 w 4795157"/>
              <a:gd name="connsiteY7" fmla="*/ 3598162 h 4486229"/>
              <a:gd name="connsiteX0" fmla="*/ 0 w 4774636"/>
              <a:gd name="connsiteY0" fmla="*/ 3598162 h 4486229"/>
              <a:gd name="connsiteX1" fmla="*/ 1116240 w 4774636"/>
              <a:gd name="connsiteY1" fmla="*/ 0 h 4486229"/>
              <a:gd name="connsiteX2" fmla="*/ 2387173 w 4774636"/>
              <a:gd name="connsiteY2" fmla="*/ 0 h 4486229"/>
              <a:gd name="connsiteX3" fmla="*/ 4774636 w 4774636"/>
              <a:gd name="connsiteY3" fmla="*/ 3731801 h 4486229"/>
              <a:gd name="connsiteX4" fmla="*/ 3916488 w 4774636"/>
              <a:gd name="connsiteY4" fmla="*/ 4397393 h 4486229"/>
              <a:gd name="connsiteX5" fmla="*/ 2396911 w 4774636"/>
              <a:gd name="connsiteY5" fmla="*/ 4479722 h 4486229"/>
              <a:gd name="connsiteX6" fmla="*/ 0 w 4774636"/>
              <a:gd name="connsiteY6" fmla="*/ 3598162 h 4486229"/>
              <a:gd name="connsiteX0" fmla="*/ 0 w 4798862"/>
              <a:gd name="connsiteY0" fmla="*/ 3598162 h 4486229"/>
              <a:gd name="connsiteX1" fmla="*/ 1116240 w 4798862"/>
              <a:gd name="connsiteY1" fmla="*/ 0 h 4486229"/>
              <a:gd name="connsiteX2" fmla="*/ 2387173 w 4798862"/>
              <a:gd name="connsiteY2" fmla="*/ 0 h 4486229"/>
              <a:gd name="connsiteX3" fmla="*/ 4774636 w 4798862"/>
              <a:gd name="connsiteY3" fmla="*/ 3731801 h 4486229"/>
              <a:gd name="connsiteX4" fmla="*/ 3916488 w 4798862"/>
              <a:gd name="connsiteY4" fmla="*/ 4397393 h 4486229"/>
              <a:gd name="connsiteX5" fmla="*/ 2396911 w 4798862"/>
              <a:gd name="connsiteY5" fmla="*/ 4479722 h 4486229"/>
              <a:gd name="connsiteX6" fmla="*/ 0 w 4798862"/>
              <a:gd name="connsiteY6" fmla="*/ 3598162 h 4486229"/>
              <a:gd name="connsiteX0" fmla="*/ 0 w 4807335"/>
              <a:gd name="connsiteY0" fmla="*/ 3598162 h 4486229"/>
              <a:gd name="connsiteX1" fmla="*/ 1116240 w 4807335"/>
              <a:gd name="connsiteY1" fmla="*/ 0 h 4486229"/>
              <a:gd name="connsiteX2" fmla="*/ 2387173 w 4807335"/>
              <a:gd name="connsiteY2" fmla="*/ 0 h 4486229"/>
              <a:gd name="connsiteX3" fmla="*/ 4774636 w 4807335"/>
              <a:gd name="connsiteY3" fmla="*/ 3731801 h 4486229"/>
              <a:gd name="connsiteX4" fmla="*/ 3916488 w 4807335"/>
              <a:gd name="connsiteY4" fmla="*/ 4397393 h 4486229"/>
              <a:gd name="connsiteX5" fmla="*/ 2396911 w 4807335"/>
              <a:gd name="connsiteY5" fmla="*/ 4479722 h 4486229"/>
              <a:gd name="connsiteX6" fmla="*/ 0 w 4807335"/>
              <a:gd name="connsiteY6" fmla="*/ 3598162 h 4486229"/>
              <a:gd name="connsiteX0" fmla="*/ 0 w 4788519"/>
              <a:gd name="connsiteY0" fmla="*/ 3598162 h 4486229"/>
              <a:gd name="connsiteX1" fmla="*/ 1116240 w 4788519"/>
              <a:gd name="connsiteY1" fmla="*/ 0 h 4486229"/>
              <a:gd name="connsiteX2" fmla="*/ 2387173 w 4788519"/>
              <a:gd name="connsiteY2" fmla="*/ 0 h 4486229"/>
              <a:gd name="connsiteX3" fmla="*/ 4292171 w 4788519"/>
              <a:gd name="connsiteY3" fmla="*/ 1829703 h 4486229"/>
              <a:gd name="connsiteX4" fmla="*/ 4774636 w 4788519"/>
              <a:gd name="connsiteY4" fmla="*/ 3731801 h 4486229"/>
              <a:gd name="connsiteX5" fmla="*/ 3916488 w 4788519"/>
              <a:gd name="connsiteY5" fmla="*/ 4397393 h 4486229"/>
              <a:gd name="connsiteX6" fmla="*/ 2396911 w 4788519"/>
              <a:gd name="connsiteY6" fmla="*/ 4479722 h 4486229"/>
              <a:gd name="connsiteX7" fmla="*/ 0 w 4788519"/>
              <a:gd name="connsiteY7" fmla="*/ 3598162 h 4486229"/>
              <a:gd name="connsiteX0" fmla="*/ 0 w 4788519"/>
              <a:gd name="connsiteY0" fmla="*/ 3598162 h 4486229"/>
              <a:gd name="connsiteX1" fmla="*/ 1116240 w 4788519"/>
              <a:gd name="connsiteY1" fmla="*/ 0 h 4486229"/>
              <a:gd name="connsiteX2" fmla="*/ 2387173 w 4788519"/>
              <a:gd name="connsiteY2" fmla="*/ 0 h 4486229"/>
              <a:gd name="connsiteX3" fmla="*/ 4292171 w 4788519"/>
              <a:gd name="connsiteY3" fmla="*/ 1829703 h 4486229"/>
              <a:gd name="connsiteX4" fmla="*/ 4774636 w 4788519"/>
              <a:gd name="connsiteY4" fmla="*/ 3731801 h 4486229"/>
              <a:gd name="connsiteX5" fmla="*/ 3916488 w 4788519"/>
              <a:gd name="connsiteY5" fmla="*/ 4397393 h 4486229"/>
              <a:gd name="connsiteX6" fmla="*/ 2396911 w 4788519"/>
              <a:gd name="connsiteY6" fmla="*/ 4479722 h 4486229"/>
              <a:gd name="connsiteX7" fmla="*/ 0 w 4788519"/>
              <a:gd name="connsiteY7" fmla="*/ 3598162 h 4486229"/>
              <a:gd name="connsiteX0" fmla="*/ 0 w 4788519"/>
              <a:gd name="connsiteY0" fmla="*/ 3598162 h 4486229"/>
              <a:gd name="connsiteX1" fmla="*/ 1116240 w 4788519"/>
              <a:gd name="connsiteY1" fmla="*/ 0 h 4486229"/>
              <a:gd name="connsiteX2" fmla="*/ 2387173 w 4788519"/>
              <a:gd name="connsiteY2" fmla="*/ 0 h 4486229"/>
              <a:gd name="connsiteX3" fmla="*/ 4292171 w 4788519"/>
              <a:gd name="connsiteY3" fmla="*/ 1829703 h 4486229"/>
              <a:gd name="connsiteX4" fmla="*/ 4774636 w 4788519"/>
              <a:gd name="connsiteY4" fmla="*/ 3731801 h 4486229"/>
              <a:gd name="connsiteX5" fmla="*/ 3916488 w 4788519"/>
              <a:gd name="connsiteY5" fmla="*/ 4397393 h 4486229"/>
              <a:gd name="connsiteX6" fmla="*/ 2396911 w 4788519"/>
              <a:gd name="connsiteY6" fmla="*/ 4479722 h 4486229"/>
              <a:gd name="connsiteX7" fmla="*/ 0 w 4788519"/>
              <a:gd name="connsiteY7" fmla="*/ 3598162 h 4486229"/>
              <a:gd name="connsiteX0" fmla="*/ 0 w 4781405"/>
              <a:gd name="connsiteY0" fmla="*/ 3598162 h 4486229"/>
              <a:gd name="connsiteX1" fmla="*/ 1116240 w 4781405"/>
              <a:gd name="connsiteY1" fmla="*/ 0 h 4486229"/>
              <a:gd name="connsiteX2" fmla="*/ 2387173 w 4781405"/>
              <a:gd name="connsiteY2" fmla="*/ 0 h 4486229"/>
              <a:gd name="connsiteX3" fmla="*/ 4057221 w 4781405"/>
              <a:gd name="connsiteY3" fmla="*/ 1826528 h 4486229"/>
              <a:gd name="connsiteX4" fmla="*/ 4774636 w 4781405"/>
              <a:gd name="connsiteY4" fmla="*/ 3731801 h 4486229"/>
              <a:gd name="connsiteX5" fmla="*/ 3916488 w 4781405"/>
              <a:gd name="connsiteY5" fmla="*/ 4397393 h 4486229"/>
              <a:gd name="connsiteX6" fmla="*/ 2396911 w 4781405"/>
              <a:gd name="connsiteY6" fmla="*/ 4479722 h 4486229"/>
              <a:gd name="connsiteX7" fmla="*/ 0 w 4781405"/>
              <a:gd name="connsiteY7" fmla="*/ 3598162 h 4486229"/>
              <a:gd name="connsiteX0" fmla="*/ 0 w 4798396"/>
              <a:gd name="connsiteY0" fmla="*/ 3598162 h 4486229"/>
              <a:gd name="connsiteX1" fmla="*/ 1116240 w 4798396"/>
              <a:gd name="connsiteY1" fmla="*/ 0 h 4486229"/>
              <a:gd name="connsiteX2" fmla="*/ 2387173 w 4798396"/>
              <a:gd name="connsiteY2" fmla="*/ 0 h 4486229"/>
              <a:gd name="connsiteX3" fmla="*/ 4057221 w 4798396"/>
              <a:gd name="connsiteY3" fmla="*/ 1826528 h 4486229"/>
              <a:gd name="connsiteX4" fmla="*/ 4774636 w 4798396"/>
              <a:gd name="connsiteY4" fmla="*/ 3731801 h 4486229"/>
              <a:gd name="connsiteX5" fmla="*/ 3916488 w 4798396"/>
              <a:gd name="connsiteY5" fmla="*/ 4397393 h 4486229"/>
              <a:gd name="connsiteX6" fmla="*/ 2396911 w 4798396"/>
              <a:gd name="connsiteY6" fmla="*/ 4479722 h 4486229"/>
              <a:gd name="connsiteX7" fmla="*/ 0 w 4798396"/>
              <a:gd name="connsiteY7" fmla="*/ 3598162 h 4486229"/>
              <a:gd name="connsiteX0" fmla="*/ 0 w 4799552"/>
              <a:gd name="connsiteY0" fmla="*/ 3598162 h 4486229"/>
              <a:gd name="connsiteX1" fmla="*/ 1116240 w 4799552"/>
              <a:gd name="connsiteY1" fmla="*/ 0 h 4486229"/>
              <a:gd name="connsiteX2" fmla="*/ 2387173 w 4799552"/>
              <a:gd name="connsiteY2" fmla="*/ 0 h 4486229"/>
              <a:gd name="connsiteX3" fmla="*/ 4057221 w 4799552"/>
              <a:gd name="connsiteY3" fmla="*/ 1826528 h 4486229"/>
              <a:gd name="connsiteX4" fmla="*/ 4774636 w 4799552"/>
              <a:gd name="connsiteY4" fmla="*/ 3731801 h 4486229"/>
              <a:gd name="connsiteX5" fmla="*/ 3916488 w 4799552"/>
              <a:gd name="connsiteY5" fmla="*/ 4397393 h 4486229"/>
              <a:gd name="connsiteX6" fmla="*/ 2396911 w 4799552"/>
              <a:gd name="connsiteY6" fmla="*/ 4479722 h 4486229"/>
              <a:gd name="connsiteX7" fmla="*/ 0 w 4799552"/>
              <a:gd name="connsiteY7" fmla="*/ 3598162 h 4486229"/>
              <a:gd name="connsiteX0" fmla="*/ 0 w 4799552"/>
              <a:gd name="connsiteY0" fmla="*/ 3598195 h 4486262"/>
              <a:gd name="connsiteX1" fmla="*/ 1116240 w 4799552"/>
              <a:gd name="connsiteY1" fmla="*/ 33 h 4486262"/>
              <a:gd name="connsiteX2" fmla="*/ 2387173 w 4799552"/>
              <a:gd name="connsiteY2" fmla="*/ 33 h 4486262"/>
              <a:gd name="connsiteX3" fmla="*/ 4057221 w 4799552"/>
              <a:gd name="connsiteY3" fmla="*/ 1826561 h 4486262"/>
              <a:gd name="connsiteX4" fmla="*/ 4774636 w 4799552"/>
              <a:gd name="connsiteY4" fmla="*/ 3731834 h 4486262"/>
              <a:gd name="connsiteX5" fmla="*/ 3916488 w 4799552"/>
              <a:gd name="connsiteY5" fmla="*/ 4397426 h 4486262"/>
              <a:gd name="connsiteX6" fmla="*/ 2396911 w 4799552"/>
              <a:gd name="connsiteY6" fmla="*/ 4479755 h 4486262"/>
              <a:gd name="connsiteX7" fmla="*/ 0 w 4799552"/>
              <a:gd name="connsiteY7" fmla="*/ 3598195 h 4486262"/>
              <a:gd name="connsiteX0" fmla="*/ 0 w 4822130"/>
              <a:gd name="connsiteY0" fmla="*/ 3598183 h 4486250"/>
              <a:gd name="connsiteX1" fmla="*/ 1116240 w 4822130"/>
              <a:gd name="connsiteY1" fmla="*/ 21 h 4486250"/>
              <a:gd name="connsiteX2" fmla="*/ 2387173 w 4822130"/>
              <a:gd name="connsiteY2" fmla="*/ 21 h 4486250"/>
              <a:gd name="connsiteX3" fmla="*/ 4057221 w 4822130"/>
              <a:gd name="connsiteY3" fmla="*/ 1826549 h 4486250"/>
              <a:gd name="connsiteX4" fmla="*/ 4774636 w 4822130"/>
              <a:gd name="connsiteY4" fmla="*/ 3731822 h 4486250"/>
              <a:gd name="connsiteX5" fmla="*/ 3916488 w 4822130"/>
              <a:gd name="connsiteY5" fmla="*/ 4397414 h 4486250"/>
              <a:gd name="connsiteX6" fmla="*/ 2396911 w 4822130"/>
              <a:gd name="connsiteY6" fmla="*/ 4479743 h 4486250"/>
              <a:gd name="connsiteX7" fmla="*/ 0 w 4822130"/>
              <a:gd name="connsiteY7" fmla="*/ 3598183 h 4486250"/>
              <a:gd name="connsiteX0" fmla="*/ 0 w 4822130"/>
              <a:gd name="connsiteY0" fmla="*/ 3598162 h 4486229"/>
              <a:gd name="connsiteX1" fmla="*/ 1116240 w 4822130"/>
              <a:gd name="connsiteY1" fmla="*/ 0 h 4486229"/>
              <a:gd name="connsiteX2" fmla="*/ 2387173 w 4822130"/>
              <a:gd name="connsiteY2" fmla="*/ 0 h 4486229"/>
              <a:gd name="connsiteX3" fmla="*/ 4057221 w 4822130"/>
              <a:gd name="connsiteY3" fmla="*/ 1826528 h 4486229"/>
              <a:gd name="connsiteX4" fmla="*/ 4774636 w 4822130"/>
              <a:gd name="connsiteY4" fmla="*/ 3731801 h 4486229"/>
              <a:gd name="connsiteX5" fmla="*/ 3916488 w 4822130"/>
              <a:gd name="connsiteY5" fmla="*/ 4397393 h 4486229"/>
              <a:gd name="connsiteX6" fmla="*/ 2396911 w 4822130"/>
              <a:gd name="connsiteY6" fmla="*/ 4479722 h 4486229"/>
              <a:gd name="connsiteX7" fmla="*/ 0 w 4822130"/>
              <a:gd name="connsiteY7" fmla="*/ 3598162 h 4486229"/>
              <a:gd name="connsiteX0" fmla="*/ 0 w 4807880"/>
              <a:gd name="connsiteY0" fmla="*/ 3598162 h 4486229"/>
              <a:gd name="connsiteX1" fmla="*/ 1116240 w 4807880"/>
              <a:gd name="connsiteY1" fmla="*/ 0 h 4486229"/>
              <a:gd name="connsiteX2" fmla="*/ 2387173 w 4807880"/>
              <a:gd name="connsiteY2" fmla="*/ 0 h 4486229"/>
              <a:gd name="connsiteX3" fmla="*/ 4057221 w 4807880"/>
              <a:gd name="connsiteY3" fmla="*/ 1826528 h 4486229"/>
              <a:gd name="connsiteX4" fmla="*/ 4774636 w 4807880"/>
              <a:gd name="connsiteY4" fmla="*/ 3731801 h 4486229"/>
              <a:gd name="connsiteX5" fmla="*/ 3916488 w 4807880"/>
              <a:gd name="connsiteY5" fmla="*/ 4397393 h 4486229"/>
              <a:gd name="connsiteX6" fmla="*/ 2396911 w 4807880"/>
              <a:gd name="connsiteY6" fmla="*/ 4479722 h 4486229"/>
              <a:gd name="connsiteX7" fmla="*/ 0 w 4807880"/>
              <a:gd name="connsiteY7" fmla="*/ 3598162 h 4486229"/>
              <a:gd name="connsiteX0" fmla="*/ 0 w 4807880"/>
              <a:gd name="connsiteY0" fmla="*/ 3598323 h 4486390"/>
              <a:gd name="connsiteX1" fmla="*/ 1116240 w 4807880"/>
              <a:gd name="connsiteY1" fmla="*/ 161 h 4486390"/>
              <a:gd name="connsiteX2" fmla="*/ 2387173 w 4807880"/>
              <a:gd name="connsiteY2" fmla="*/ 161 h 4486390"/>
              <a:gd name="connsiteX3" fmla="*/ 4057221 w 4807880"/>
              <a:gd name="connsiteY3" fmla="*/ 1826689 h 4486390"/>
              <a:gd name="connsiteX4" fmla="*/ 4774636 w 4807880"/>
              <a:gd name="connsiteY4" fmla="*/ 3731962 h 4486390"/>
              <a:gd name="connsiteX5" fmla="*/ 3916488 w 4807880"/>
              <a:gd name="connsiteY5" fmla="*/ 4397554 h 4486390"/>
              <a:gd name="connsiteX6" fmla="*/ 2396911 w 4807880"/>
              <a:gd name="connsiteY6" fmla="*/ 4479883 h 4486390"/>
              <a:gd name="connsiteX7" fmla="*/ 0 w 4807880"/>
              <a:gd name="connsiteY7" fmla="*/ 3598323 h 4486390"/>
              <a:gd name="connsiteX0" fmla="*/ 0 w 4794686"/>
              <a:gd name="connsiteY0" fmla="*/ 3598343 h 4486410"/>
              <a:gd name="connsiteX1" fmla="*/ 1116240 w 4794686"/>
              <a:gd name="connsiteY1" fmla="*/ 181 h 4486410"/>
              <a:gd name="connsiteX2" fmla="*/ 2387173 w 4794686"/>
              <a:gd name="connsiteY2" fmla="*/ 181 h 4486410"/>
              <a:gd name="connsiteX3" fmla="*/ 3955621 w 4794686"/>
              <a:gd name="connsiteY3" fmla="*/ 1648909 h 4486410"/>
              <a:gd name="connsiteX4" fmla="*/ 4774636 w 4794686"/>
              <a:gd name="connsiteY4" fmla="*/ 3731982 h 4486410"/>
              <a:gd name="connsiteX5" fmla="*/ 3916488 w 4794686"/>
              <a:gd name="connsiteY5" fmla="*/ 4397574 h 4486410"/>
              <a:gd name="connsiteX6" fmla="*/ 2396911 w 4794686"/>
              <a:gd name="connsiteY6" fmla="*/ 4479903 h 4486410"/>
              <a:gd name="connsiteX7" fmla="*/ 0 w 4794686"/>
              <a:gd name="connsiteY7" fmla="*/ 3598343 h 4486410"/>
              <a:gd name="connsiteX0" fmla="*/ 0 w 4790281"/>
              <a:gd name="connsiteY0" fmla="*/ 3598348 h 4486415"/>
              <a:gd name="connsiteX1" fmla="*/ 1116240 w 4790281"/>
              <a:gd name="connsiteY1" fmla="*/ 186 h 4486415"/>
              <a:gd name="connsiteX2" fmla="*/ 2387173 w 4790281"/>
              <a:gd name="connsiteY2" fmla="*/ 186 h 4486415"/>
              <a:gd name="connsiteX3" fmla="*/ 3955621 w 4790281"/>
              <a:gd name="connsiteY3" fmla="*/ 1648914 h 4486415"/>
              <a:gd name="connsiteX4" fmla="*/ 4774636 w 4790281"/>
              <a:gd name="connsiteY4" fmla="*/ 3731987 h 4486415"/>
              <a:gd name="connsiteX5" fmla="*/ 3916488 w 4790281"/>
              <a:gd name="connsiteY5" fmla="*/ 4397579 h 4486415"/>
              <a:gd name="connsiteX6" fmla="*/ 2396911 w 4790281"/>
              <a:gd name="connsiteY6" fmla="*/ 4479908 h 4486415"/>
              <a:gd name="connsiteX7" fmla="*/ 0 w 4790281"/>
              <a:gd name="connsiteY7" fmla="*/ 3598348 h 4486415"/>
              <a:gd name="connsiteX0" fmla="*/ 0 w 4794171"/>
              <a:gd name="connsiteY0" fmla="*/ 3598348 h 4486415"/>
              <a:gd name="connsiteX1" fmla="*/ 1116240 w 4794171"/>
              <a:gd name="connsiteY1" fmla="*/ 186 h 4486415"/>
              <a:gd name="connsiteX2" fmla="*/ 2387173 w 4794171"/>
              <a:gd name="connsiteY2" fmla="*/ 186 h 4486415"/>
              <a:gd name="connsiteX3" fmla="*/ 3955621 w 4794171"/>
              <a:gd name="connsiteY3" fmla="*/ 1648914 h 4486415"/>
              <a:gd name="connsiteX4" fmla="*/ 4774636 w 4794171"/>
              <a:gd name="connsiteY4" fmla="*/ 3731987 h 4486415"/>
              <a:gd name="connsiteX5" fmla="*/ 3916488 w 4794171"/>
              <a:gd name="connsiteY5" fmla="*/ 4397579 h 4486415"/>
              <a:gd name="connsiteX6" fmla="*/ 2396911 w 4794171"/>
              <a:gd name="connsiteY6" fmla="*/ 4479908 h 4486415"/>
              <a:gd name="connsiteX7" fmla="*/ 0 w 4794171"/>
              <a:gd name="connsiteY7" fmla="*/ 3598348 h 4486415"/>
              <a:gd name="connsiteX0" fmla="*/ 0 w 4793147"/>
              <a:gd name="connsiteY0" fmla="*/ 3598348 h 4486415"/>
              <a:gd name="connsiteX1" fmla="*/ 1116240 w 4793147"/>
              <a:gd name="connsiteY1" fmla="*/ 186 h 4486415"/>
              <a:gd name="connsiteX2" fmla="*/ 2387173 w 4793147"/>
              <a:gd name="connsiteY2" fmla="*/ 186 h 4486415"/>
              <a:gd name="connsiteX3" fmla="*/ 3955621 w 4793147"/>
              <a:gd name="connsiteY3" fmla="*/ 1648914 h 4486415"/>
              <a:gd name="connsiteX4" fmla="*/ 4774636 w 4793147"/>
              <a:gd name="connsiteY4" fmla="*/ 3731987 h 4486415"/>
              <a:gd name="connsiteX5" fmla="*/ 3916488 w 4793147"/>
              <a:gd name="connsiteY5" fmla="*/ 4397579 h 4486415"/>
              <a:gd name="connsiteX6" fmla="*/ 2396911 w 4793147"/>
              <a:gd name="connsiteY6" fmla="*/ 4479908 h 4486415"/>
              <a:gd name="connsiteX7" fmla="*/ 0 w 4793147"/>
              <a:gd name="connsiteY7" fmla="*/ 3598348 h 4486415"/>
              <a:gd name="connsiteX0" fmla="*/ 0 w 4776428"/>
              <a:gd name="connsiteY0" fmla="*/ 3598322 h 4486389"/>
              <a:gd name="connsiteX1" fmla="*/ 1116240 w 4776428"/>
              <a:gd name="connsiteY1" fmla="*/ 160 h 4486389"/>
              <a:gd name="connsiteX2" fmla="*/ 2387173 w 4776428"/>
              <a:gd name="connsiteY2" fmla="*/ 160 h 4486389"/>
              <a:gd name="connsiteX3" fmla="*/ 3955621 w 4776428"/>
              <a:gd name="connsiteY3" fmla="*/ 1648888 h 4486389"/>
              <a:gd name="connsiteX4" fmla="*/ 4774636 w 4776428"/>
              <a:gd name="connsiteY4" fmla="*/ 3731961 h 4486389"/>
              <a:gd name="connsiteX5" fmla="*/ 3916488 w 4776428"/>
              <a:gd name="connsiteY5" fmla="*/ 4397553 h 4486389"/>
              <a:gd name="connsiteX6" fmla="*/ 2396911 w 4776428"/>
              <a:gd name="connsiteY6" fmla="*/ 4479882 h 4486389"/>
              <a:gd name="connsiteX7" fmla="*/ 0 w 4776428"/>
              <a:gd name="connsiteY7" fmla="*/ 3598322 h 4486389"/>
              <a:gd name="connsiteX0" fmla="*/ 0 w 4793322"/>
              <a:gd name="connsiteY0" fmla="*/ 3598322 h 4486389"/>
              <a:gd name="connsiteX1" fmla="*/ 1116240 w 4793322"/>
              <a:gd name="connsiteY1" fmla="*/ 160 h 4486389"/>
              <a:gd name="connsiteX2" fmla="*/ 2387173 w 4793322"/>
              <a:gd name="connsiteY2" fmla="*/ 160 h 4486389"/>
              <a:gd name="connsiteX3" fmla="*/ 3955621 w 4793322"/>
              <a:gd name="connsiteY3" fmla="*/ 1648888 h 4486389"/>
              <a:gd name="connsiteX4" fmla="*/ 4774636 w 4793322"/>
              <a:gd name="connsiteY4" fmla="*/ 3731961 h 4486389"/>
              <a:gd name="connsiteX5" fmla="*/ 3916488 w 4793322"/>
              <a:gd name="connsiteY5" fmla="*/ 4397553 h 4486389"/>
              <a:gd name="connsiteX6" fmla="*/ 2396911 w 4793322"/>
              <a:gd name="connsiteY6" fmla="*/ 4479882 h 4486389"/>
              <a:gd name="connsiteX7" fmla="*/ 0 w 4793322"/>
              <a:gd name="connsiteY7" fmla="*/ 3598322 h 4486389"/>
              <a:gd name="connsiteX0" fmla="*/ 0 w 4793322"/>
              <a:gd name="connsiteY0" fmla="*/ 3598162 h 4486229"/>
              <a:gd name="connsiteX1" fmla="*/ 1116240 w 4793322"/>
              <a:gd name="connsiteY1" fmla="*/ 0 h 4486229"/>
              <a:gd name="connsiteX2" fmla="*/ 2387173 w 4793322"/>
              <a:gd name="connsiteY2" fmla="*/ 0 h 4486229"/>
              <a:gd name="connsiteX3" fmla="*/ 3955621 w 4793322"/>
              <a:gd name="connsiteY3" fmla="*/ 1648728 h 4486229"/>
              <a:gd name="connsiteX4" fmla="*/ 4774636 w 4793322"/>
              <a:gd name="connsiteY4" fmla="*/ 3731801 h 4486229"/>
              <a:gd name="connsiteX5" fmla="*/ 3916488 w 4793322"/>
              <a:gd name="connsiteY5" fmla="*/ 4397393 h 4486229"/>
              <a:gd name="connsiteX6" fmla="*/ 2396911 w 4793322"/>
              <a:gd name="connsiteY6" fmla="*/ 4479722 h 4486229"/>
              <a:gd name="connsiteX7" fmla="*/ 0 w 4793322"/>
              <a:gd name="connsiteY7" fmla="*/ 3598162 h 4486229"/>
              <a:gd name="connsiteX0" fmla="*/ 0 w 4781208"/>
              <a:gd name="connsiteY0" fmla="*/ 3598162 h 4486229"/>
              <a:gd name="connsiteX1" fmla="*/ 1116240 w 4781208"/>
              <a:gd name="connsiteY1" fmla="*/ 0 h 4486229"/>
              <a:gd name="connsiteX2" fmla="*/ 2387173 w 4781208"/>
              <a:gd name="connsiteY2" fmla="*/ 0 h 4486229"/>
              <a:gd name="connsiteX3" fmla="*/ 3955621 w 4781208"/>
              <a:gd name="connsiteY3" fmla="*/ 1648728 h 4486229"/>
              <a:gd name="connsiteX4" fmla="*/ 4774636 w 4781208"/>
              <a:gd name="connsiteY4" fmla="*/ 3731801 h 4486229"/>
              <a:gd name="connsiteX5" fmla="*/ 3916488 w 4781208"/>
              <a:gd name="connsiteY5" fmla="*/ 4397393 h 4486229"/>
              <a:gd name="connsiteX6" fmla="*/ 2396911 w 4781208"/>
              <a:gd name="connsiteY6" fmla="*/ 4479722 h 4486229"/>
              <a:gd name="connsiteX7" fmla="*/ 0 w 4781208"/>
              <a:gd name="connsiteY7" fmla="*/ 3598162 h 4486229"/>
              <a:gd name="connsiteX0" fmla="*/ 0 w 4781208"/>
              <a:gd name="connsiteY0" fmla="*/ 3598164 h 4486231"/>
              <a:gd name="connsiteX1" fmla="*/ 1116240 w 4781208"/>
              <a:gd name="connsiteY1" fmla="*/ 2 h 4486231"/>
              <a:gd name="connsiteX2" fmla="*/ 2387173 w 4781208"/>
              <a:gd name="connsiteY2" fmla="*/ 2 h 4486231"/>
              <a:gd name="connsiteX3" fmla="*/ 3955621 w 4781208"/>
              <a:gd name="connsiteY3" fmla="*/ 1648730 h 4486231"/>
              <a:gd name="connsiteX4" fmla="*/ 4774636 w 4781208"/>
              <a:gd name="connsiteY4" fmla="*/ 3731803 h 4486231"/>
              <a:gd name="connsiteX5" fmla="*/ 3916488 w 4781208"/>
              <a:gd name="connsiteY5" fmla="*/ 4397395 h 4486231"/>
              <a:gd name="connsiteX6" fmla="*/ 2396911 w 4781208"/>
              <a:gd name="connsiteY6" fmla="*/ 4479724 h 4486231"/>
              <a:gd name="connsiteX7" fmla="*/ 0 w 4781208"/>
              <a:gd name="connsiteY7" fmla="*/ 3598164 h 4486231"/>
              <a:gd name="connsiteX0" fmla="*/ 0 w 4798466"/>
              <a:gd name="connsiteY0" fmla="*/ 3598164 h 4486231"/>
              <a:gd name="connsiteX1" fmla="*/ 1116240 w 4798466"/>
              <a:gd name="connsiteY1" fmla="*/ 2 h 4486231"/>
              <a:gd name="connsiteX2" fmla="*/ 2387173 w 4798466"/>
              <a:gd name="connsiteY2" fmla="*/ 2 h 4486231"/>
              <a:gd name="connsiteX3" fmla="*/ 3955621 w 4798466"/>
              <a:gd name="connsiteY3" fmla="*/ 1648730 h 4486231"/>
              <a:gd name="connsiteX4" fmla="*/ 4774636 w 4798466"/>
              <a:gd name="connsiteY4" fmla="*/ 3731803 h 4486231"/>
              <a:gd name="connsiteX5" fmla="*/ 3916488 w 4798466"/>
              <a:gd name="connsiteY5" fmla="*/ 4397395 h 4486231"/>
              <a:gd name="connsiteX6" fmla="*/ 2396911 w 4798466"/>
              <a:gd name="connsiteY6" fmla="*/ 4479724 h 4486231"/>
              <a:gd name="connsiteX7" fmla="*/ 0 w 4798466"/>
              <a:gd name="connsiteY7" fmla="*/ 3598164 h 4486231"/>
              <a:gd name="connsiteX0" fmla="*/ 0 w 4796680"/>
              <a:gd name="connsiteY0" fmla="*/ 3598164 h 4486231"/>
              <a:gd name="connsiteX1" fmla="*/ 1116240 w 4796680"/>
              <a:gd name="connsiteY1" fmla="*/ 2 h 4486231"/>
              <a:gd name="connsiteX2" fmla="*/ 2387173 w 4796680"/>
              <a:gd name="connsiteY2" fmla="*/ 2 h 4486231"/>
              <a:gd name="connsiteX3" fmla="*/ 3955621 w 4796680"/>
              <a:gd name="connsiteY3" fmla="*/ 1648730 h 4486231"/>
              <a:gd name="connsiteX4" fmla="*/ 4774636 w 4796680"/>
              <a:gd name="connsiteY4" fmla="*/ 3731803 h 4486231"/>
              <a:gd name="connsiteX5" fmla="*/ 3916488 w 4796680"/>
              <a:gd name="connsiteY5" fmla="*/ 4397395 h 4486231"/>
              <a:gd name="connsiteX6" fmla="*/ 2396911 w 4796680"/>
              <a:gd name="connsiteY6" fmla="*/ 4479724 h 4486231"/>
              <a:gd name="connsiteX7" fmla="*/ 0 w 4796680"/>
              <a:gd name="connsiteY7" fmla="*/ 3598164 h 4486231"/>
              <a:gd name="connsiteX0" fmla="*/ 0 w 4798466"/>
              <a:gd name="connsiteY0" fmla="*/ 3598164 h 4486231"/>
              <a:gd name="connsiteX1" fmla="*/ 1116240 w 4798466"/>
              <a:gd name="connsiteY1" fmla="*/ 2 h 4486231"/>
              <a:gd name="connsiteX2" fmla="*/ 2387173 w 4798466"/>
              <a:gd name="connsiteY2" fmla="*/ 2 h 4486231"/>
              <a:gd name="connsiteX3" fmla="*/ 3955621 w 4798466"/>
              <a:gd name="connsiteY3" fmla="*/ 1648730 h 4486231"/>
              <a:gd name="connsiteX4" fmla="*/ 4774636 w 4798466"/>
              <a:gd name="connsiteY4" fmla="*/ 3731803 h 4486231"/>
              <a:gd name="connsiteX5" fmla="*/ 3916488 w 4798466"/>
              <a:gd name="connsiteY5" fmla="*/ 4397395 h 4486231"/>
              <a:gd name="connsiteX6" fmla="*/ 2396911 w 4798466"/>
              <a:gd name="connsiteY6" fmla="*/ 4479724 h 4486231"/>
              <a:gd name="connsiteX7" fmla="*/ 0 w 4798466"/>
              <a:gd name="connsiteY7" fmla="*/ 3598164 h 4486231"/>
              <a:gd name="connsiteX0" fmla="*/ 0 w 4798466"/>
              <a:gd name="connsiteY0" fmla="*/ 3598162 h 4486229"/>
              <a:gd name="connsiteX1" fmla="*/ 1116240 w 4798466"/>
              <a:gd name="connsiteY1" fmla="*/ 0 h 4486229"/>
              <a:gd name="connsiteX2" fmla="*/ 2387173 w 4798466"/>
              <a:gd name="connsiteY2" fmla="*/ 0 h 4486229"/>
              <a:gd name="connsiteX3" fmla="*/ 3955621 w 4798466"/>
              <a:gd name="connsiteY3" fmla="*/ 1648728 h 4486229"/>
              <a:gd name="connsiteX4" fmla="*/ 4774636 w 4798466"/>
              <a:gd name="connsiteY4" fmla="*/ 3731801 h 4486229"/>
              <a:gd name="connsiteX5" fmla="*/ 3916488 w 4798466"/>
              <a:gd name="connsiteY5" fmla="*/ 4397393 h 4486229"/>
              <a:gd name="connsiteX6" fmla="*/ 2396911 w 4798466"/>
              <a:gd name="connsiteY6" fmla="*/ 4479722 h 4486229"/>
              <a:gd name="connsiteX7" fmla="*/ 0 w 4798466"/>
              <a:gd name="connsiteY7" fmla="*/ 3598162 h 4486229"/>
              <a:gd name="connsiteX0" fmla="*/ 0 w 4798466"/>
              <a:gd name="connsiteY0" fmla="*/ 3598162 h 4486229"/>
              <a:gd name="connsiteX1" fmla="*/ 1116240 w 4798466"/>
              <a:gd name="connsiteY1" fmla="*/ 0 h 4486229"/>
              <a:gd name="connsiteX2" fmla="*/ 2387173 w 4798466"/>
              <a:gd name="connsiteY2" fmla="*/ 0 h 4486229"/>
              <a:gd name="connsiteX3" fmla="*/ 3955621 w 4798466"/>
              <a:gd name="connsiteY3" fmla="*/ 1655078 h 4486229"/>
              <a:gd name="connsiteX4" fmla="*/ 4774636 w 4798466"/>
              <a:gd name="connsiteY4" fmla="*/ 3731801 h 4486229"/>
              <a:gd name="connsiteX5" fmla="*/ 3916488 w 4798466"/>
              <a:gd name="connsiteY5" fmla="*/ 4397393 h 4486229"/>
              <a:gd name="connsiteX6" fmla="*/ 2396911 w 4798466"/>
              <a:gd name="connsiteY6" fmla="*/ 4479722 h 4486229"/>
              <a:gd name="connsiteX7" fmla="*/ 0 w 4798466"/>
              <a:gd name="connsiteY7" fmla="*/ 3598162 h 4486229"/>
              <a:gd name="connsiteX0" fmla="*/ 0 w 4774636"/>
              <a:gd name="connsiteY0" fmla="*/ 3598162 h 4486229"/>
              <a:gd name="connsiteX1" fmla="*/ 1116240 w 4774636"/>
              <a:gd name="connsiteY1" fmla="*/ 0 h 4486229"/>
              <a:gd name="connsiteX2" fmla="*/ 2387173 w 4774636"/>
              <a:gd name="connsiteY2" fmla="*/ 0 h 4486229"/>
              <a:gd name="connsiteX3" fmla="*/ 4774636 w 4774636"/>
              <a:gd name="connsiteY3" fmla="*/ 3731801 h 4486229"/>
              <a:gd name="connsiteX4" fmla="*/ 3916488 w 4774636"/>
              <a:gd name="connsiteY4" fmla="*/ 4397393 h 4486229"/>
              <a:gd name="connsiteX5" fmla="*/ 2396911 w 4774636"/>
              <a:gd name="connsiteY5" fmla="*/ 4479722 h 4486229"/>
              <a:gd name="connsiteX6" fmla="*/ 0 w 4774636"/>
              <a:gd name="connsiteY6" fmla="*/ 3598162 h 4486229"/>
              <a:gd name="connsiteX0" fmla="*/ 0 w 4800948"/>
              <a:gd name="connsiteY0" fmla="*/ 3598162 h 4486229"/>
              <a:gd name="connsiteX1" fmla="*/ 1116240 w 4800948"/>
              <a:gd name="connsiteY1" fmla="*/ 0 h 4486229"/>
              <a:gd name="connsiteX2" fmla="*/ 2387173 w 4800948"/>
              <a:gd name="connsiteY2" fmla="*/ 0 h 4486229"/>
              <a:gd name="connsiteX3" fmla="*/ 4774636 w 4800948"/>
              <a:gd name="connsiteY3" fmla="*/ 3731801 h 4486229"/>
              <a:gd name="connsiteX4" fmla="*/ 3916488 w 4800948"/>
              <a:gd name="connsiteY4" fmla="*/ 4397393 h 4486229"/>
              <a:gd name="connsiteX5" fmla="*/ 2396911 w 4800948"/>
              <a:gd name="connsiteY5" fmla="*/ 4479722 h 4486229"/>
              <a:gd name="connsiteX6" fmla="*/ 0 w 4800948"/>
              <a:gd name="connsiteY6" fmla="*/ 3598162 h 4486229"/>
              <a:gd name="connsiteX0" fmla="*/ 0 w 4820153"/>
              <a:gd name="connsiteY0" fmla="*/ 3598162 h 4486229"/>
              <a:gd name="connsiteX1" fmla="*/ 1116240 w 4820153"/>
              <a:gd name="connsiteY1" fmla="*/ 0 h 4486229"/>
              <a:gd name="connsiteX2" fmla="*/ 2387173 w 4820153"/>
              <a:gd name="connsiteY2" fmla="*/ 0 h 4486229"/>
              <a:gd name="connsiteX3" fmla="*/ 4454096 w 4820153"/>
              <a:gd name="connsiteY3" fmla="*/ 2582179 h 4486229"/>
              <a:gd name="connsiteX4" fmla="*/ 4774636 w 4820153"/>
              <a:gd name="connsiteY4" fmla="*/ 3731801 h 4486229"/>
              <a:gd name="connsiteX5" fmla="*/ 3916488 w 4820153"/>
              <a:gd name="connsiteY5" fmla="*/ 4397393 h 4486229"/>
              <a:gd name="connsiteX6" fmla="*/ 2396911 w 4820153"/>
              <a:gd name="connsiteY6" fmla="*/ 4479722 h 4486229"/>
              <a:gd name="connsiteX7" fmla="*/ 0 w 4820153"/>
              <a:gd name="connsiteY7" fmla="*/ 3598162 h 4486229"/>
              <a:gd name="connsiteX0" fmla="*/ 0 w 4803044"/>
              <a:gd name="connsiteY0" fmla="*/ 3598162 h 4486229"/>
              <a:gd name="connsiteX1" fmla="*/ 1116240 w 4803044"/>
              <a:gd name="connsiteY1" fmla="*/ 0 h 4486229"/>
              <a:gd name="connsiteX2" fmla="*/ 2387173 w 4803044"/>
              <a:gd name="connsiteY2" fmla="*/ 0 h 4486229"/>
              <a:gd name="connsiteX3" fmla="*/ 4454096 w 4803044"/>
              <a:gd name="connsiteY3" fmla="*/ 2582179 h 4486229"/>
              <a:gd name="connsiteX4" fmla="*/ 4774636 w 4803044"/>
              <a:gd name="connsiteY4" fmla="*/ 3731801 h 4486229"/>
              <a:gd name="connsiteX5" fmla="*/ 3916488 w 4803044"/>
              <a:gd name="connsiteY5" fmla="*/ 4397393 h 4486229"/>
              <a:gd name="connsiteX6" fmla="*/ 2396911 w 4803044"/>
              <a:gd name="connsiteY6" fmla="*/ 4479722 h 4486229"/>
              <a:gd name="connsiteX7" fmla="*/ 0 w 4803044"/>
              <a:gd name="connsiteY7" fmla="*/ 3598162 h 4486229"/>
              <a:gd name="connsiteX0" fmla="*/ 0 w 4803044"/>
              <a:gd name="connsiteY0" fmla="*/ 3598162 h 4486229"/>
              <a:gd name="connsiteX1" fmla="*/ 1116240 w 4803044"/>
              <a:gd name="connsiteY1" fmla="*/ 0 h 4486229"/>
              <a:gd name="connsiteX2" fmla="*/ 2387173 w 4803044"/>
              <a:gd name="connsiteY2" fmla="*/ 0 h 4486229"/>
              <a:gd name="connsiteX3" fmla="*/ 2942796 w 4803044"/>
              <a:gd name="connsiteY3" fmla="*/ 559704 h 4486229"/>
              <a:gd name="connsiteX4" fmla="*/ 4454096 w 4803044"/>
              <a:gd name="connsiteY4" fmla="*/ 2582179 h 4486229"/>
              <a:gd name="connsiteX5" fmla="*/ 4774636 w 4803044"/>
              <a:gd name="connsiteY5" fmla="*/ 3731801 h 4486229"/>
              <a:gd name="connsiteX6" fmla="*/ 3916488 w 4803044"/>
              <a:gd name="connsiteY6" fmla="*/ 4397393 h 4486229"/>
              <a:gd name="connsiteX7" fmla="*/ 2396911 w 4803044"/>
              <a:gd name="connsiteY7" fmla="*/ 4479722 h 4486229"/>
              <a:gd name="connsiteX8" fmla="*/ 0 w 4803044"/>
              <a:gd name="connsiteY8" fmla="*/ 3598162 h 4486229"/>
              <a:gd name="connsiteX0" fmla="*/ 0 w 4803044"/>
              <a:gd name="connsiteY0" fmla="*/ 3598162 h 4486229"/>
              <a:gd name="connsiteX1" fmla="*/ 1116240 w 4803044"/>
              <a:gd name="connsiteY1" fmla="*/ 0 h 4486229"/>
              <a:gd name="connsiteX2" fmla="*/ 2387173 w 4803044"/>
              <a:gd name="connsiteY2" fmla="*/ 0 h 4486229"/>
              <a:gd name="connsiteX3" fmla="*/ 3184096 w 4803044"/>
              <a:gd name="connsiteY3" fmla="*/ 473979 h 4486229"/>
              <a:gd name="connsiteX4" fmla="*/ 4454096 w 4803044"/>
              <a:gd name="connsiteY4" fmla="*/ 2582179 h 4486229"/>
              <a:gd name="connsiteX5" fmla="*/ 4774636 w 4803044"/>
              <a:gd name="connsiteY5" fmla="*/ 3731801 h 4486229"/>
              <a:gd name="connsiteX6" fmla="*/ 3916488 w 4803044"/>
              <a:gd name="connsiteY6" fmla="*/ 4397393 h 4486229"/>
              <a:gd name="connsiteX7" fmla="*/ 2396911 w 4803044"/>
              <a:gd name="connsiteY7" fmla="*/ 4479722 h 4486229"/>
              <a:gd name="connsiteX8" fmla="*/ 0 w 4803044"/>
              <a:gd name="connsiteY8" fmla="*/ 3598162 h 4486229"/>
              <a:gd name="connsiteX0" fmla="*/ 0 w 4803044"/>
              <a:gd name="connsiteY0" fmla="*/ 3598162 h 4486229"/>
              <a:gd name="connsiteX1" fmla="*/ 1116240 w 4803044"/>
              <a:gd name="connsiteY1" fmla="*/ 0 h 4486229"/>
              <a:gd name="connsiteX2" fmla="*/ 2387173 w 4803044"/>
              <a:gd name="connsiteY2" fmla="*/ 0 h 4486229"/>
              <a:gd name="connsiteX3" fmla="*/ 3184096 w 4803044"/>
              <a:gd name="connsiteY3" fmla="*/ 473979 h 4486229"/>
              <a:gd name="connsiteX4" fmla="*/ 4454096 w 4803044"/>
              <a:gd name="connsiteY4" fmla="*/ 2582179 h 4486229"/>
              <a:gd name="connsiteX5" fmla="*/ 4774636 w 4803044"/>
              <a:gd name="connsiteY5" fmla="*/ 3731801 h 4486229"/>
              <a:gd name="connsiteX6" fmla="*/ 3916488 w 4803044"/>
              <a:gd name="connsiteY6" fmla="*/ 4397393 h 4486229"/>
              <a:gd name="connsiteX7" fmla="*/ 2396911 w 4803044"/>
              <a:gd name="connsiteY7" fmla="*/ 4479722 h 4486229"/>
              <a:gd name="connsiteX8" fmla="*/ 0 w 4803044"/>
              <a:gd name="connsiteY8" fmla="*/ 3598162 h 4486229"/>
              <a:gd name="connsiteX0" fmla="*/ 0 w 4803044"/>
              <a:gd name="connsiteY0" fmla="*/ 3598162 h 4486229"/>
              <a:gd name="connsiteX1" fmla="*/ 1116240 w 4803044"/>
              <a:gd name="connsiteY1" fmla="*/ 0 h 4486229"/>
              <a:gd name="connsiteX2" fmla="*/ 2387173 w 4803044"/>
              <a:gd name="connsiteY2" fmla="*/ 0 h 4486229"/>
              <a:gd name="connsiteX3" fmla="*/ 3184096 w 4803044"/>
              <a:gd name="connsiteY3" fmla="*/ 473979 h 4486229"/>
              <a:gd name="connsiteX4" fmla="*/ 4454096 w 4803044"/>
              <a:gd name="connsiteY4" fmla="*/ 2582179 h 4486229"/>
              <a:gd name="connsiteX5" fmla="*/ 4774636 w 4803044"/>
              <a:gd name="connsiteY5" fmla="*/ 3731801 h 4486229"/>
              <a:gd name="connsiteX6" fmla="*/ 3916488 w 4803044"/>
              <a:gd name="connsiteY6" fmla="*/ 4397393 h 4486229"/>
              <a:gd name="connsiteX7" fmla="*/ 2396911 w 4803044"/>
              <a:gd name="connsiteY7" fmla="*/ 4479722 h 4486229"/>
              <a:gd name="connsiteX8" fmla="*/ 0 w 4803044"/>
              <a:gd name="connsiteY8" fmla="*/ 3598162 h 4486229"/>
              <a:gd name="connsiteX0" fmla="*/ 0 w 4803044"/>
              <a:gd name="connsiteY0" fmla="*/ 3598162 h 4486229"/>
              <a:gd name="connsiteX1" fmla="*/ 1116240 w 4803044"/>
              <a:gd name="connsiteY1" fmla="*/ 0 h 4486229"/>
              <a:gd name="connsiteX2" fmla="*/ 2387173 w 4803044"/>
              <a:gd name="connsiteY2" fmla="*/ 0 h 4486229"/>
              <a:gd name="connsiteX3" fmla="*/ 3184096 w 4803044"/>
              <a:gd name="connsiteY3" fmla="*/ 473979 h 4486229"/>
              <a:gd name="connsiteX4" fmla="*/ 4454096 w 4803044"/>
              <a:gd name="connsiteY4" fmla="*/ 2582179 h 4486229"/>
              <a:gd name="connsiteX5" fmla="*/ 4774636 w 4803044"/>
              <a:gd name="connsiteY5" fmla="*/ 3731801 h 4486229"/>
              <a:gd name="connsiteX6" fmla="*/ 3916488 w 4803044"/>
              <a:gd name="connsiteY6" fmla="*/ 4397393 h 4486229"/>
              <a:gd name="connsiteX7" fmla="*/ 2396911 w 4803044"/>
              <a:gd name="connsiteY7" fmla="*/ 4479722 h 4486229"/>
              <a:gd name="connsiteX8" fmla="*/ 0 w 4803044"/>
              <a:gd name="connsiteY8" fmla="*/ 3598162 h 4486229"/>
              <a:gd name="connsiteX0" fmla="*/ 0 w 4803044"/>
              <a:gd name="connsiteY0" fmla="*/ 3598162 h 4486229"/>
              <a:gd name="connsiteX1" fmla="*/ 1116240 w 4803044"/>
              <a:gd name="connsiteY1" fmla="*/ 0 h 4486229"/>
              <a:gd name="connsiteX2" fmla="*/ 2387173 w 4803044"/>
              <a:gd name="connsiteY2" fmla="*/ 0 h 4486229"/>
              <a:gd name="connsiteX3" fmla="*/ 3184096 w 4803044"/>
              <a:gd name="connsiteY3" fmla="*/ 473979 h 4486229"/>
              <a:gd name="connsiteX4" fmla="*/ 4454096 w 4803044"/>
              <a:gd name="connsiteY4" fmla="*/ 2582179 h 4486229"/>
              <a:gd name="connsiteX5" fmla="*/ 4774636 w 4803044"/>
              <a:gd name="connsiteY5" fmla="*/ 3731801 h 4486229"/>
              <a:gd name="connsiteX6" fmla="*/ 3916488 w 4803044"/>
              <a:gd name="connsiteY6" fmla="*/ 4397393 h 4486229"/>
              <a:gd name="connsiteX7" fmla="*/ 2396911 w 4803044"/>
              <a:gd name="connsiteY7" fmla="*/ 4479722 h 4486229"/>
              <a:gd name="connsiteX8" fmla="*/ 0 w 4803044"/>
              <a:gd name="connsiteY8" fmla="*/ 3598162 h 4486229"/>
              <a:gd name="connsiteX0" fmla="*/ 0 w 4803044"/>
              <a:gd name="connsiteY0" fmla="*/ 3598162 h 4486229"/>
              <a:gd name="connsiteX1" fmla="*/ 1655990 w 4803044"/>
              <a:gd name="connsiteY1" fmla="*/ 422275 h 4486229"/>
              <a:gd name="connsiteX2" fmla="*/ 2387173 w 4803044"/>
              <a:gd name="connsiteY2" fmla="*/ 0 h 4486229"/>
              <a:gd name="connsiteX3" fmla="*/ 3184096 w 4803044"/>
              <a:gd name="connsiteY3" fmla="*/ 473979 h 4486229"/>
              <a:gd name="connsiteX4" fmla="*/ 4454096 w 4803044"/>
              <a:gd name="connsiteY4" fmla="*/ 2582179 h 4486229"/>
              <a:gd name="connsiteX5" fmla="*/ 4774636 w 4803044"/>
              <a:gd name="connsiteY5" fmla="*/ 3731801 h 4486229"/>
              <a:gd name="connsiteX6" fmla="*/ 3916488 w 4803044"/>
              <a:gd name="connsiteY6" fmla="*/ 4397393 h 4486229"/>
              <a:gd name="connsiteX7" fmla="*/ 2396911 w 4803044"/>
              <a:gd name="connsiteY7" fmla="*/ 4479722 h 4486229"/>
              <a:gd name="connsiteX8" fmla="*/ 0 w 4803044"/>
              <a:gd name="connsiteY8" fmla="*/ 3598162 h 4486229"/>
              <a:gd name="connsiteX0" fmla="*/ 0 w 4803044"/>
              <a:gd name="connsiteY0" fmla="*/ 3598162 h 4486229"/>
              <a:gd name="connsiteX1" fmla="*/ 1655990 w 4803044"/>
              <a:gd name="connsiteY1" fmla="*/ 422275 h 4486229"/>
              <a:gd name="connsiteX2" fmla="*/ 2387173 w 4803044"/>
              <a:gd name="connsiteY2" fmla="*/ 0 h 4486229"/>
              <a:gd name="connsiteX3" fmla="*/ 3184096 w 4803044"/>
              <a:gd name="connsiteY3" fmla="*/ 473979 h 4486229"/>
              <a:gd name="connsiteX4" fmla="*/ 4454096 w 4803044"/>
              <a:gd name="connsiteY4" fmla="*/ 2582179 h 4486229"/>
              <a:gd name="connsiteX5" fmla="*/ 4774636 w 4803044"/>
              <a:gd name="connsiteY5" fmla="*/ 3731801 h 4486229"/>
              <a:gd name="connsiteX6" fmla="*/ 3916488 w 4803044"/>
              <a:gd name="connsiteY6" fmla="*/ 4397393 h 4486229"/>
              <a:gd name="connsiteX7" fmla="*/ 2396911 w 4803044"/>
              <a:gd name="connsiteY7" fmla="*/ 4479722 h 4486229"/>
              <a:gd name="connsiteX8" fmla="*/ 0 w 4803044"/>
              <a:gd name="connsiteY8" fmla="*/ 3598162 h 4486229"/>
              <a:gd name="connsiteX0" fmla="*/ 0 w 4803044"/>
              <a:gd name="connsiteY0" fmla="*/ 3598162 h 4486229"/>
              <a:gd name="connsiteX1" fmla="*/ 1655990 w 4803044"/>
              <a:gd name="connsiteY1" fmla="*/ 422275 h 4486229"/>
              <a:gd name="connsiteX2" fmla="*/ 2387173 w 4803044"/>
              <a:gd name="connsiteY2" fmla="*/ 0 h 4486229"/>
              <a:gd name="connsiteX3" fmla="*/ 3184096 w 4803044"/>
              <a:gd name="connsiteY3" fmla="*/ 473979 h 4486229"/>
              <a:gd name="connsiteX4" fmla="*/ 4454096 w 4803044"/>
              <a:gd name="connsiteY4" fmla="*/ 2582179 h 4486229"/>
              <a:gd name="connsiteX5" fmla="*/ 4774636 w 4803044"/>
              <a:gd name="connsiteY5" fmla="*/ 3731801 h 4486229"/>
              <a:gd name="connsiteX6" fmla="*/ 3916488 w 4803044"/>
              <a:gd name="connsiteY6" fmla="*/ 4397393 h 4486229"/>
              <a:gd name="connsiteX7" fmla="*/ 2396911 w 4803044"/>
              <a:gd name="connsiteY7" fmla="*/ 4479722 h 4486229"/>
              <a:gd name="connsiteX8" fmla="*/ 0 w 4803044"/>
              <a:gd name="connsiteY8" fmla="*/ 3598162 h 4486229"/>
              <a:gd name="connsiteX0" fmla="*/ 0 w 4803044"/>
              <a:gd name="connsiteY0" fmla="*/ 3598162 h 4486229"/>
              <a:gd name="connsiteX1" fmla="*/ 1655990 w 4803044"/>
              <a:gd name="connsiteY1" fmla="*/ 422275 h 4486229"/>
              <a:gd name="connsiteX2" fmla="*/ 2387173 w 4803044"/>
              <a:gd name="connsiteY2" fmla="*/ 0 h 4486229"/>
              <a:gd name="connsiteX3" fmla="*/ 3184096 w 4803044"/>
              <a:gd name="connsiteY3" fmla="*/ 473979 h 4486229"/>
              <a:gd name="connsiteX4" fmla="*/ 4454096 w 4803044"/>
              <a:gd name="connsiteY4" fmla="*/ 2582179 h 4486229"/>
              <a:gd name="connsiteX5" fmla="*/ 4774636 w 4803044"/>
              <a:gd name="connsiteY5" fmla="*/ 3731801 h 4486229"/>
              <a:gd name="connsiteX6" fmla="*/ 3916488 w 4803044"/>
              <a:gd name="connsiteY6" fmla="*/ 4397393 h 4486229"/>
              <a:gd name="connsiteX7" fmla="*/ 2396911 w 4803044"/>
              <a:gd name="connsiteY7" fmla="*/ 4479722 h 4486229"/>
              <a:gd name="connsiteX8" fmla="*/ 0 w 4803044"/>
              <a:gd name="connsiteY8" fmla="*/ 3598162 h 4486229"/>
              <a:gd name="connsiteX0" fmla="*/ 0 w 4803044"/>
              <a:gd name="connsiteY0" fmla="*/ 3598162 h 4486229"/>
              <a:gd name="connsiteX1" fmla="*/ 1655990 w 4803044"/>
              <a:gd name="connsiteY1" fmla="*/ 422275 h 4486229"/>
              <a:gd name="connsiteX2" fmla="*/ 2374473 w 4803044"/>
              <a:gd name="connsiteY2" fmla="*/ 0 h 4486229"/>
              <a:gd name="connsiteX3" fmla="*/ 3184096 w 4803044"/>
              <a:gd name="connsiteY3" fmla="*/ 473979 h 4486229"/>
              <a:gd name="connsiteX4" fmla="*/ 4454096 w 4803044"/>
              <a:gd name="connsiteY4" fmla="*/ 2582179 h 4486229"/>
              <a:gd name="connsiteX5" fmla="*/ 4774636 w 4803044"/>
              <a:gd name="connsiteY5" fmla="*/ 3731801 h 4486229"/>
              <a:gd name="connsiteX6" fmla="*/ 3916488 w 4803044"/>
              <a:gd name="connsiteY6" fmla="*/ 4397393 h 4486229"/>
              <a:gd name="connsiteX7" fmla="*/ 2396911 w 4803044"/>
              <a:gd name="connsiteY7" fmla="*/ 4479722 h 4486229"/>
              <a:gd name="connsiteX8" fmla="*/ 0 w 4803044"/>
              <a:gd name="connsiteY8" fmla="*/ 3598162 h 4486229"/>
              <a:gd name="connsiteX0" fmla="*/ 0 w 4803044"/>
              <a:gd name="connsiteY0" fmla="*/ 3598162 h 4486229"/>
              <a:gd name="connsiteX1" fmla="*/ 1655990 w 4803044"/>
              <a:gd name="connsiteY1" fmla="*/ 422275 h 4486229"/>
              <a:gd name="connsiteX2" fmla="*/ 2374473 w 4803044"/>
              <a:gd name="connsiteY2" fmla="*/ 0 h 4486229"/>
              <a:gd name="connsiteX3" fmla="*/ 3184096 w 4803044"/>
              <a:gd name="connsiteY3" fmla="*/ 473979 h 4486229"/>
              <a:gd name="connsiteX4" fmla="*/ 4454096 w 4803044"/>
              <a:gd name="connsiteY4" fmla="*/ 2582179 h 4486229"/>
              <a:gd name="connsiteX5" fmla="*/ 4774636 w 4803044"/>
              <a:gd name="connsiteY5" fmla="*/ 3731801 h 4486229"/>
              <a:gd name="connsiteX6" fmla="*/ 3916488 w 4803044"/>
              <a:gd name="connsiteY6" fmla="*/ 4397393 h 4486229"/>
              <a:gd name="connsiteX7" fmla="*/ 2396911 w 4803044"/>
              <a:gd name="connsiteY7" fmla="*/ 4479722 h 4486229"/>
              <a:gd name="connsiteX8" fmla="*/ 0 w 4803044"/>
              <a:gd name="connsiteY8" fmla="*/ 3598162 h 4486229"/>
              <a:gd name="connsiteX0" fmla="*/ 0 w 4803044"/>
              <a:gd name="connsiteY0" fmla="*/ 3628806 h 4516873"/>
              <a:gd name="connsiteX1" fmla="*/ 1655990 w 4803044"/>
              <a:gd name="connsiteY1" fmla="*/ 452919 h 4516873"/>
              <a:gd name="connsiteX2" fmla="*/ 2374473 w 4803044"/>
              <a:gd name="connsiteY2" fmla="*/ 30644 h 4516873"/>
              <a:gd name="connsiteX3" fmla="*/ 3184096 w 4803044"/>
              <a:gd name="connsiteY3" fmla="*/ 504623 h 4516873"/>
              <a:gd name="connsiteX4" fmla="*/ 4454096 w 4803044"/>
              <a:gd name="connsiteY4" fmla="*/ 2612823 h 4516873"/>
              <a:gd name="connsiteX5" fmla="*/ 4774636 w 4803044"/>
              <a:gd name="connsiteY5" fmla="*/ 3762445 h 4516873"/>
              <a:gd name="connsiteX6" fmla="*/ 3916488 w 4803044"/>
              <a:gd name="connsiteY6" fmla="*/ 4428037 h 4516873"/>
              <a:gd name="connsiteX7" fmla="*/ 2396911 w 4803044"/>
              <a:gd name="connsiteY7" fmla="*/ 4510366 h 4516873"/>
              <a:gd name="connsiteX8" fmla="*/ 0 w 4803044"/>
              <a:gd name="connsiteY8" fmla="*/ 3628806 h 4516873"/>
              <a:gd name="connsiteX0" fmla="*/ 0 w 4803044"/>
              <a:gd name="connsiteY0" fmla="*/ 3623212 h 4511279"/>
              <a:gd name="connsiteX1" fmla="*/ 1655990 w 4803044"/>
              <a:gd name="connsiteY1" fmla="*/ 447325 h 4511279"/>
              <a:gd name="connsiteX2" fmla="*/ 2374473 w 4803044"/>
              <a:gd name="connsiteY2" fmla="*/ 25050 h 4511279"/>
              <a:gd name="connsiteX3" fmla="*/ 3184096 w 4803044"/>
              <a:gd name="connsiteY3" fmla="*/ 499029 h 4511279"/>
              <a:gd name="connsiteX4" fmla="*/ 4454096 w 4803044"/>
              <a:gd name="connsiteY4" fmla="*/ 2607229 h 4511279"/>
              <a:gd name="connsiteX5" fmla="*/ 4774636 w 4803044"/>
              <a:gd name="connsiteY5" fmla="*/ 3756851 h 4511279"/>
              <a:gd name="connsiteX6" fmla="*/ 3916488 w 4803044"/>
              <a:gd name="connsiteY6" fmla="*/ 4422443 h 4511279"/>
              <a:gd name="connsiteX7" fmla="*/ 2396911 w 4803044"/>
              <a:gd name="connsiteY7" fmla="*/ 4504772 h 4511279"/>
              <a:gd name="connsiteX8" fmla="*/ 0 w 4803044"/>
              <a:gd name="connsiteY8" fmla="*/ 3623212 h 4511279"/>
              <a:gd name="connsiteX0" fmla="*/ 0 w 4803044"/>
              <a:gd name="connsiteY0" fmla="*/ 3598170 h 4486237"/>
              <a:gd name="connsiteX1" fmla="*/ 1655990 w 4803044"/>
              <a:gd name="connsiteY1" fmla="*/ 422283 h 4486237"/>
              <a:gd name="connsiteX2" fmla="*/ 2374473 w 4803044"/>
              <a:gd name="connsiteY2" fmla="*/ 8 h 4486237"/>
              <a:gd name="connsiteX3" fmla="*/ 3184096 w 4803044"/>
              <a:gd name="connsiteY3" fmla="*/ 473987 h 4486237"/>
              <a:gd name="connsiteX4" fmla="*/ 4454096 w 4803044"/>
              <a:gd name="connsiteY4" fmla="*/ 2582187 h 4486237"/>
              <a:gd name="connsiteX5" fmla="*/ 4774636 w 4803044"/>
              <a:gd name="connsiteY5" fmla="*/ 3731809 h 4486237"/>
              <a:gd name="connsiteX6" fmla="*/ 3916488 w 4803044"/>
              <a:gd name="connsiteY6" fmla="*/ 4397401 h 4486237"/>
              <a:gd name="connsiteX7" fmla="*/ 2396911 w 4803044"/>
              <a:gd name="connsiteY7" fmla="*/ 4479730 h 4486237"/>
              <a:gd name="connsiteX8" fmla="*/ 0 w 4803044"/>
              <a:gd name="connsiteY8" fmla="*/ 3598170 h 4486237"/>
              <a:gd name="connsiteX0" fmla="*/ 0 w 4803044"/>
              <a:gd name="connsiteY0" fmla="*/ 3598254 h 4486321"/>
              <a:gd name="connsiteX1" fmla="*/ 1655990 w 4803044"/>
              <a:gd name="connsiteY1" fmla="*/ 422367 h 4486321"/>
              <a:gd name="connsiteX2" fmla="*/ 2374473 w 4803044"/>
              <a:gd name="connsiteY2" fmla="*/ 92 h 4486321"/>
              <a:gd name="connsiteX3" fmla="*/ 3184096 w 4803044"/>
              <a:gd name="connsiteY3" fmla="*/ 474071 h 4486321"/>
              <a:gd name="connsiteX4" fmla="*/ 4454096 w 4803044"/>
              <a:gd name="connsiteY4" fmla="*/ 2582271 h 4486321"/>
              <a:gd name="connsiteX5" fmla="*/ 4774636 w 4803044"/>
              <a:gd name="connsiteY5" fmla="*/ 3731893 h 4486321"/>
              <a:gd name="connsiteX6" fmla="*/ 3916488 w 4803044"/>
              <a:gd name="connsiteY6" fmla="*/ 4397485 h 4486321"/>
              <a:gd name="connsiteX7" fmla="*/ 2396911 w 4803044"/>
              <a:gd name="connsiteY7" fmla="*/ 4479814 h 4486321"/>
              <a:gd name="connsiteX8" fmla="*/ 0 w 4803044"/>
              <a:gd name="connsiteY8" fmla="*/ 3598254 h 4486321"/>
              <a:gd name="connsiteX0" fmla="*/ 0 w 4803044"/>
              <a:gd name="connsiteY0" fmla="*/ 3598348 h 4486415"/>
              <a:gd name="connsiteX1" fmla="*/ 1655990 w 4803044"/>
              <a:gd name="connsiteY1" fmla="*/ 422461 h 4486415"/>
              <a:gd name="connsiteX2" fmla="*/ 2374473 w 4803044"/>
              <a:gd name="connsiteY2" fmla="*/ 186 h 4486415"/>
              <a:gd name="connsiteX3" fmla="*/ 3184096 w 4803044"/>
              <a:gd name="connsiteY3" fmla="*/ 474165 h 4486415"/>
              <a:gd name="connsiteX4" fmla="*/ 4454096 w 4803044"/>
              <a:gd name="connsiteY4" fmla="*/ 2582365 h 4486415"/>
              <a:gd name="connsiteX5" fmla="*/ 4774636 w 4803044"/>
              <a:gd name="connsiteY5" fmla="*/ 3731987 h 4486415"/>
              <a:gd name="connsiteX6" fmla="*/ 3916488 w 4803044"/>
              <a:gd name="connsiteY6" fmla="*/ 4397579 h 4486415"/>
              <a:gd name="connsiteX7" fmla="*/ 2396911 w 4803044"/>
              <a:gd name="connsiteY7" fmla="*/ 4479908 h 4486415"/>
              <a:gd name="connsiteX8" fmla="*/ 0 w 4803044"/>
              <a:gd name="connsiteY8" fmla="*/ 3598348 h 4486415"/>
              <a:gd name="connsiteX0" fmla="*/ 0 w 4803044"/>
              <a:gd name="connsiteY0" fmla="*/ 3598348 h 4486415"/>
              <a:gd name="connsiteX1" fmla="*/ 532971 w 4803044"/>
              <a:gd name="connsiteY1" fmla="*/ 2569665 h 4486415"/>
              <a:gd name="connsiteX2" fmla="*/ 1655990 w 4803044"/>
              <a:gd name="connsiteY2" fmla="*/ 422461 h 4486415"/>
              <a:gd name="connsiteX3" fmla="*/ 2374473 w 4803044"/>
              <a:gd name="connsiteY3" fmla="*/ 186 h 4486415"/>
              <a:gd name="connsiteX4" fmla="*/ 3184096 w 4803044"/>
              <a:gd name="connsiteY4" fmla="*/ 474165 h 4486415"/>
              <a:gd name="connsiteX5" fmla="*/ 4454096 w 4803044"/>
              <a:gd name="connsiteY5" fmla="*/ 2582365 h 4486415"/>
              <a:gd name="connsiteX6" fmla="*/ 4774636 w 4803044"/>
              <a:gd name="connsiteY6" fmla="*/ 3731987 h 4486415"/>
              <a:gd name="connsiteX7" fmla="*/ 3916488 w 4803044"/>
              <a:gd name="connsiteY7" fmla="*/ 4397579 h 4486415"/>
              <a:gd name="connsiteX8" fmla="*/ 2396911 w 4803044"/>
              <a:gd name="connsiteY8" fmla="*/ 4479908 h 4486415"/>
              <a:gd name="connsiteX9" fmla="*/ 0 w 4803044"/>
              <a:gd name="connsiteY9" fmla="*/ 3598348 h 4486415"/>
              <a:gd name="connsiteX0" fmla="*/ 0 w 4803044"/>
              <a:gd name="connsiteY0" fmla="*/ 3598348 h 4486415"/>
              <a:gd name="connsiteX1" fmla="*/ 348821 w 4803044"/>
              <a:gd name="connsiteY1" fmla="*/ 2579190 h 4486415"/>
              <a:gd name="connsiteX2" fmla="*/ 1655990 w 4803044"/>
              <a:gd name="connsiteY2" fmla="*/ 422461 h 4486415"/>
              <a:gd name="connsiteX3" fmla="*/ 2374473 w 4803044"/>
              <a:gd name="connsiteY3" fmla="*/ 186 h 4486415"/>
              <a:gd name="connsiteX4" fmla="*/ 3184096 w 4803044"/>
              <a:gd name="connsiteY4" fmla="*/ 474165 h 4486415"/>
              <a:gd name="connsiteX5" fmla="*/ 4454096 w 4803044"/>
              <a:gd name="connsiteY5" fmla="*/ 2582365 h 4486415"/>
              <a:gd name="connsiteX6" fmla="*/ 4774636 w 4803044"/>
              <a:gd name="connsiteY6" fmla="*/ 3731987 h 4486415"/>
              <a:gd name="connsiteX7" fmla="*/ 3916488 w 4803044"/>
              <a:gd name="connsiteY7" fmla="*/ 4397579 h 4486415"/>
              <a:gd name="connsiteX8" fmla="*/ 2396911 w 4803044"/>
              <a:gd name="connsiteY8" fmla="*/ 4479908 h 4486415"/>
              <a:gd name="connsiteX9" fmla="*/ 0 w 4803044"/>
              <a:gd name="connsiteY9" fmla="*/ 3598348 h 4486415"/>
              <a:gd name="connsiteX0" fmla="*/ 0 w 4803044"/>
              <a:gd name="connsiteY0" fmla="*/ 3598348 h 4486415"/>
              <a:gd name="connsiteX1" fmla="*/ 348821 w 4803044"/>
              <a:gd name="connsiteY1" fmla="*/ 2579190 h 4486415"/>
              <a:gd name="connsiteX2" fmla="*/ 1655990 w 4803044"/>
              <a:gd name="connsiteY2" fmla="*/ 422461 h 4486415"/>
              <a:gd name="connsiteX3" fmla="*/ 2374473 w 4803044"/>
              <a:gd name="connsiteY3" fmla="*/ 186 h 4486415"/>
              <a:gd name="connsiteX4" fmla="*/ 3184096 w 4803044"/>
              <a:gd name="connsiteY4" fmla="*/ 474165 h 4486415"/>
              <a:gd name="connsiteX5" fmla="*/ 4454096 w 4803044"/>
              <a:gd name="connsiteY5" fmla="*/ 2582365 h 4486415"/>
              <a:gd name="connsiteX6" fmla="*/ 4774636 w 4803044"/>
              <a:gd name="connsiteY6" fmla="*/ 3731987 h 4486415"/>
              <a:gd name="connsiteX7" fmla="*/ 3916488 w 4803044"/>
              <a:gd name="connsiteY7" fmla="*/ 4397579 h 4486415"/>
              <a:gd name="connsiteX8" fmla="*/ 2396911 w 4803044"/>
              <a:gd name="connsiteY8" fmla="*/ 4479908 h 4486415"/>
              <a:gd name="connsiteX9" fmla="*/ 0 w 4803044"/>
              <a:gd name="connsiteY9" fmla="*/ 3598348 h 4486415"/>
              <a:gd name="connsiteX0" fmla="*/ 0 w 4803044"/>
              <a:gd name="connsiteY0" fmla="*/ 3598348 h 4486415"/>
              <a:gd name="connsiteX1" fmla="*/ 348821 w 4803044"/>
              <a:gd name="connsiteY1" fmla="*/ 2579190 h 4486415"/>
              <a:gd name="connsiteX2" fmla="*/ 1655990 w 4803044"/>
              <a:gd name="connsiteY2" fmla="*/ 422461 h 4486415"/>
              <a:gd name="connsiteX3" fmla="*/ 2374473 w 4803044"/>
              <a:gd name="connsiteY3" fmla="*/ 186 h 4486415"/>
              <a:gd name="connsiteX4" fmla="*/ 3184096 w 4803044"/>
              <a:gd name="connsiteY4" fmla="*/ 474165 h 4486415"/>
              <a:gd name="connsiteX5" fmla="*/ 4454096 w 4803044"/>
              <a:gd name="connsiteY5" fmla="*/ 2582365 h 4486415"/>
              <a:gd name="connsiteX6" fmla="*/ 4774636 w 4803044"/>
              <a:gd name="connsiteY6" fmla="*/ 3731987 h 4486415"/>
              <a:gd name="connsiteX7" fmla="*/ 3916488 w 4803044"/>
              <a:gd name="connsiteY7" fmla="*/ 4397579 h 4486415"/>
              <a:gd name="connsiteX8" fmla="*/ 2396911 w 4803044"/>
              <a:gd name="connsiteY8" fmla="*/ 4479908 h 4486415"/>
              <a:gd name="connsiteX9" fmla="*/ 0 w 4803044"/>
              <a:gd name="connsiteY9" fmla="*/ 3598348 h 4486415"/>
              <a:gd name="connsiteX0" fmla="*/ 0 w 4803044"/>
              <a:gd name="connsiteY0" fmla="*/ 3598348 h 4486415"/>
              <a:gd name="connsiteX1" fmla="*/ 348821 w 4803044"/>
              <a:gd name="connsiteY1" fmla="*/ 2579190 h 4486415"/>
              <a:gd name="connsiteX2" fmla="*/ 1655990 w 4803044"/>
              <a:gd name="connsiteY2" fmla="*/ 422461 h 4486415"/>
              <a:gd name="connsiteX3" fmla="*/ 2374473 w 4803044"/>
              <a:gd name="connsiteY3" fmla="*/ 186 h 4486415"/>
              <a:gd name="connsiteX4" fmla="*/ 3184096 w 4803044"/>
              <a:gd name="connsiteY4" fmla="*/ 474165 h 4486415"/>
              <a:gd name="connsiteX5" fmla="*/ 4454096 w 4803044"/>
              <a:gd name="connsiteY5" fmla="*/ 2582365 h 4486415"/>
              <a:gd name="connsiteX6" fmla="*/ 4774636 w 4803044"/>
              <a:gd name="connsiteY6" fmla="*/ 3731987 h 4486415"/>
              <a:gd name="connsiteX7" fmla="*/ 3916488 w 4803044"/>
              <a:gd name="connsiteY7" fmla="*/ 4397579 h 4486415"/>
              <a:gd name="connsiteX8" fmla="*/ 2396911 w 4803044"/>
              <a:gd name="connsiteY8" fmla="*/ 4479908 h 4486415"/>
              <a:gd name="connsiteX9" fmla="*/ 0 w 4803044"/>
              <a:gd name="connsiteY9" fmla="*/ 3598348 h 4486415"/>
              <a:gd name="connsiteX0" fmla="*/ 230 w 4803274"/>
              <a:gd name="connsiteY0" fmla="*/ 3598348 h 4486415"/>
              <a:gd name="connsiteX1" fmla="*/ 349051 w 4803274"/>
              <a:gd name="connsiteY1" fmla="*/ 2579190 h 4486415"/>
              <a:gd name="connsiteX2" fmla="*/ 1656220 w 4803274"/>
              <a:gd name="connsiteY2" fmla="*/ 422461 h 4486415"/>
              <a:gd name="connsiteX3" fmla="*/ 2374703 w 4803274"/>
              <a:gd name="connsiteY3" fmla="*/ 186 h 4486415"/>
              <a:gd name="connsiteX4" fmla="*/ 3184326 w 4803274"/>
              <a:gd name="connsiteY4" fmla="*/ 474165 h 4486415"/>
              <a:gd name="connsiteX5" fmla="*/ 4454326 w 4803274"/>
              <a:gd name="connsiteY5" fmla="*/ 2582365 h 4486415"/>
              <a:gd name="connsiteX6" fmla="*/ 4774866 w 4803274"/>
              <a:gd name="connsiteY6" fmla="*/ 3731987 h 4486415"/>
              <a:gd name="connsiteX7" fmla="*/ 3916718 w 4803274"/>
              <a:gd name="connsiteY7" fmla="*/ 4397579 h 4486415"/>
              <a:gd name="connsiteX8" fmla="*/ 2397141 w 4803274"/>
              <a:gd name="connsiteY8" fmla="*/ 4479908 h 4486415"/>
              <a:gd name="connsiteX9" fmla="*/ 230 w 4803274"/>
              <a:gd name="connsiteY9" fmla="*/ 3598348 h 4486415"/>
              <a:gd name="connsiteX0" fmla="*/ 230 w 4803274"/>
              <a:gd name="connsiteY0" fmla="*/ 3598348 h 4479908"/>
              <a:gd name="connsiteX1" fmla="*/ 349051 w 4803274"/>
              <a:gd name="connsiteY1" fmla="*/ 2579190 h 4479908"/>
              <a:gd name="connsiteX2" fmla="*/ 1656220 w 4803274"/>
              <a:gd name="connsiteY2" fmla="*/ 422461 h 4479908"/>
              <a:gd name="connsiteX3" fmla="*/ 2374703 w 4803274"/>
              <a:gd name="connsiteY3" fmla="*/ 186 h 4479908"/>
              <a:gd name="connsiteX4" fmla="*/ 3184326 w 4803274"/>
              <a:gd name="connsiteY4" fmla="*/ 474165 h 4479908"/>
              <a:gd name="connsiteX5" fmla="*/ 4454326 w 4803274"/>
              <a:gd name="connsiteY5" fmla="*/ 2582365 h 4479908"/>
              <a:gd name="connsiteX6" fmla="*/ 4774866 w 4803274"/>
              <a:gd name="connsiteY6" fmla="*/ 3731987 h 4479908"/>
              <a:gd name="connsiteX7" fmla="*/ 3916718 w 4803274"/>
              <a:gd name="connsiteY7" fmla="*/ 4397579 h 4479908"/>
              <a:gd name="connsiteX8" fmla="*/ 2397141 w 4803274"/>
              <a:gd name="connsiteY8" fmla="*/ 4479908 h 4479908"/>
              <a:gd name="connsiteX9" fmla="*/ 230 w 4803274"/>
              <a:gd name="connsiteY9" fmla="*/ 3598348 h 4479908"/>
              <a:gd name="connsiteX0" fmla="*/ 230 w 4803274"/>
              <a:gd name="connsiteY0" fmla="*/ 3598348 h 4479908"/>
              <a:gd name="connsiteX1" fmla="*/ 349051 w 4803274"/>
              <a:gd name="connsiteY1" fmla="*/ 2579190 h 4479908"/>
              <a:gd name="connsiteX2" fmla="*/ 1656220 w 4803274"/>
              <a:gd name="connsiteY2" fmla="*/ 422461 h 4479908"/>
              <a:gd name="connsiteX3" fmla="*/ 2374703 w 4803274"/>
              <a:gd name="connsiteY3" fmla="*/ 186 h 4479908"/>
              <a:gd name="connsiteX4" fmla="*/ 3184326 w 4803274"/>
              <a:gd name="connsiteY4" fmla="*/ 474165 h 4479908"/>
              <a:gd name="connsiteX5" fmla="*/ 4454326 w 4803274"/>
              <a:gd name="connsiteY5" fmla="*/ 2582365 h 4479908"/>
              <a:gd name="connsiteX6" fmla="*/ 4774866 w 4803274"/>
              <a:gd name="connsiteY6" fmla="*/ 3731987 h 4479908"/>
              <a:gd name="connsiteX7" fmla="*/ 3916718 w 4803274"/>
              <a:gd name="connsiteY7" fmla="*/ 4397579 h 4479908"/>
              <a:gd name="connsiteX8" fmla="*/ 2397141 w 4803274"/>
              <a:gd name="connsiteY8" fmla="*/ 4479908 h 4479908"/>
              <a:gd name="connsiteX9" fmla="*/ 793551 w 4803274"/>
              <a:gd name="connsiteY9" fmla="*/ 4287340 h 4479908"/>
              <a:gd name="connsiteX10" fmla="*/ 230 w 4803274"/>
              <a:gd name="connsiteY10" fmla="*/ 3598348 h 4479908"/>
              <a:gd name="connsiteX0" fmla="*/ 230 w 4803274"/>
              <a:gd name="connsiteY0" fmla="*/ 3598348 h 4479908"/>
              <a:gd name="connsiteX1" fmla="*/ 349051 w 4803274"/>
              <a:gd name="connsiteY1" fmla="*/ 2579190 h 4479908"/>
              <a:gd name="connsiteX2" fmla="*/ 1656220 w 4803274"/>
              <a:gd name="connsiteY2" fmla="*/ 422461 h 4479908"/>
              <a:gd name="connsiteX3" fmla="*/ 2374703 w 4803274"/>
              <a:gd name="connsiteY3" fmla="*/ 186 h 4479908"/>
              <a:gd name="connsiteX4" fmla="*/ 3184326 w 4803274"/>
              <a:gd name="connsiteY4" fmla="*/ 474165 h 4479908"/>
              <a:gd name="connsiteX5" fmla="*/ 4454326 w 4803274"/>
              <a:gd name="connsiteY5" fmla="*/ 2582365 h 4479908"/>
              <a:gd name="connsiteX6" fmla="*/ 4774866 w 4803274"/>
              <a:gd name="connsiteY6" fmla="*/ 3731987 h 4479908"/>
              <a:gd name="connsiteX7" fmla="*/ 3916718 w 4803274"/>
              <a:gd name="connsiteY7" fmla="*/ 4397579 h 4479908"/>
              <a:gd name="connsiteX8" fmla="*/ 2397141 w 4803274"/>
              <a:gd name="connsiteY8" fmla="*/ 4479908 h 4479908"/>
              <a:gd name="connsiteX9" fmla="*/ 698301 w 4803274"/>
              <a:gd name="connsiteY9" fmla="*/ 4369890 h 4479908"/>
              <a:gd name="connsiteX10" fmla="*/ 230 w 4803274"/>
              <a:gd name="connsiteY10" fmla="*/ 3598348 h 4479908"/>
              <a:gd name="connsiteX0" fmla="*/ 230 w 4803274"/>
              <a:gd name="connsiteY0" fmla="*/ 3598348 h 4479908"/>
              <a:gd name="connsiteX1" fmla="*/ 349051 w 4803274"/>
              <a:gd name="connsiteY1" fmla="*/ 2579190 h 4479908"/>
              <a:gd name="connsiteX2" fmla="*/ 1656220 w 4803274"/>
              <a:gd name="connsiteY2" fmla="*/ 422461 h 4479908"/>
              <a:gd name="connsiteX3" fmla="*/ 2374703 w 4803274"/>
              <a:gd name="connsiteY3" fmla="*/ 186 h 4479908"/>
              <a:gd name="connsiteX4" fmla="*/ 3184326 w 4803274"/>
              <a:gd name="connsiteY4" fmla="*/ 474165 h 4479908"/>
              <a:gd name="connsiteX5" fmla="*/ 4454326 w 4803274"/>
              <a:gd name="connsiteY5" fmla="*/ 2582365 h 4479908"/>
              <a:gd name="connsiteX6" fmla="*/ 4774866 w 4803274"/>
              <a:gd name="connsiteY6" fmla="*/ 3731987 h 4479908"/>
              <a:gd name="connsiteX7" fmla="*/ 3916718 w 4803274"/>
              <a:gd name="connsiteY7" fmla="*/ 4397579 h 4479908"/>
              <a:gd name="connsiteX8" fmla="*/ 2397141 w 4803274"/>
              <a:gd name="connsiteY8" fmla="*/ 4479908 h 4479908"/>
              <a:gd name="connsiteX9" fmla="*/ 698301 w 4803274"/>
              <a:gd name="connsiteY9" fmla="*/ 4369890 h 4479908"/>
              <a:gd name="connsiteX10" fmla="*/ 230 w 4803274"/>
              <a:gd name="connsiteY10" fmla="*/ 3598348 h 4479908"/>
              <a:gd name="connsiteX0" fmla="*/ 230 w 4803274"/>
              <a:gd name="connsiteY0" fmla="*/ 3598348 h 4479908"/>
              <a:gd name="connsiteX1" fmla="*/ 349051 w 4803274"/>
              <a:gd name="connsiteY1" fmla="*/ 2579190 h 4479908"/>
              <a:gd name="connsiteX2" fmla="*/ 1656220 w 4803274"/>
              <a:gd name="connsiteY2" fmla="*/ 422461 h 4479908"/>
              <a:gd name="connsiteX3" fmla="*/ 2374703 w 4803274"/>
              <a:gd name="connsiteY3" fmla="*/ 186 h 4479908"/>
              <a:gd name="connsiteX4" fmla="*/ 3184326 w 4803274"/>
              <a:gd name="connsiteY4" fmla="*/ 474165 h 4479908"/>
              <a:gd name="connsiteX5" fmla="*/ 4454326 w 4803274"/>
              <a:gd name="connsiteY5" fmla="*/ 2582365 h 4479908"/>
              <a:gd name="connsiteX6" fmla="*/ 4774866 w 4803274"/>
              <a:gd name="connsiteY6" fmla="*/ 3731987 h 4479908"/>
              <a:gd name="connsiteX7" fmla="*/ 3916718 w 4803274"/>
              <a:gd name="connsiteY7" fmla="*/ 4397579 h 4479908"/>
              <a:gd name="connsiteX8" fmla="*/ 2397141 w 4803274"/>
              <a:gd name="connsiteY8" fmla="*/ 4479908 h 4479908"/>
              <a:gd name="connsiteX9" fmla="*/ 698301 w 4803274"/>
              <a:gd name="connsiteY9" fmla="*/ 4369890 h 4479908"/>
              <a:gd name="connsiteX10" fmla="*/ 230 w 4803274"/>
              <a:gd name="connsiteY10" fmla="*/ 3598348 h 4479908"/>
              <a:gd name="connsiteX0" fmla="*/ 230 w 4803274"/>
              <a:gd name="connsiteY0" fmla="*/ 3598348 h 4479908"/>
              <a:gd name="connsiteX1" fmla="*/ 349051 w 4803274"/>
              <a:gd name="connsiteY1" fmla="*/ 2579190 h 4479908"/>
              <a:gd name="connsiteX2" fmla="*/ 1656220 w 4803274"/>
              <a:gd name="connsiteY2" fmla="*/ 422461 h 4479908"/>
              <a:gd name="connsiteX3" fmla="*/ 2374703 w 4803274"/>
              <a:gd name="connsiteY3" fmla="*/ 186 h 4479908"/>
              <a:gd name="connsiteX4" fmla="*/ 3184326 w 4803274"/>
              <a:gd name="connsiteY4" fmla="*/ 474165 h 4479908"/>
              <a:gd name="connsiteX5" fmla="*/ 4454326 w 4803274"/>
              <a:gd name="connsiteY5" fmla="*/ 2582365 h 4479908"/>
              <a:gd name="connsiteX6" fmla="*/ 4774866 w 4803274"/>
              <a:gd name="connsiteY6" fmla="*/ 3731987 h 4479908"/>
              <a:gd name="connsiteX7" fmla="*/ 3916718 w 4803274"/>
              <a:gd name="connsiteY7" fmla="*/ 4397579 h 4479908"/>
              <a:gd name="connsiteX8" fmla="*/ 2397141 w 4803274"/>
              <a:gd name="connsiteY8" fmla="*/ 4479908 h 4479908"/>
              <a:gd name="connsiteX9" fmla="*/ 698301 w 4803274"/>
              <a:gd name="connsiteY9" fmla="*/ 4369890 h 4479908"/>
              <a:gd name="connsiteX10" fmla="*/ 230 w 4803274"/>
              <a:gd name="connsiteY10" fmla="*/ 3598348 h 4479908"/>
              <a:gd name="connsiteX0" fmla="*/ 230 w 4803274"/>
              <a:gd name="connsiteY0" fmla="*/ 3598348 h 4479908"/>
              <a:gd name="connsiteX1" fmla="*/ 349051 w 4803274"/>
              <a:gd name="connsiteY1" fmla="*/ 2579190 h 4479908"/>
              <a:gd name="connsiteX2" fmla="*/ 1656220 w 4803274"/>
              <a:gd name="connsiteY2" fmla="*/ 422461 h 4479908"/>
              <a:gd name="connsiteX3" fmla="*/ 2374703 w 4803274"/>
              <a:gd name="connsiteY3" fmla="*/ 186 h 4479908"/>
              <a:gd name="connsiteX4" fmla="*/ 3184326 w 4803274"/>
              <a:gd name="connsiteY4" fmla="*/ 474165 h 4479908"/>
              <a:gd name="connsiteX5" fmla="*/ 4454326 w 4803274"/>
              <a:gd name="connsiteY5" fmla="*/ 2582365 h 4479908"/>
              <a:gd name="connsiteX6" fmla="*/ 4774866 w 4803274"/>
              <a:gd name="connsiteY6" fmla="*/ 3731987 h 4479908"/>
              <a:gd name="connsiteX7" fmla="*/ 3916718 w 4803274"/>
              <a:gd name="connsiteY7" fmla="*/ 4397579 h 4479908"/>
              <a:gd name="connsiteX8" fmla="*/ 2397141 w 4803274"/>
              <a:gd name="connsiteY8" fmla="*/ 4479908 h 4479908"/>
              <a:gd name="connsiteX9" fmla="*/ 698301 w 4803274"/>
              <a:gd name="connsiteY9" fmla="*/ 4369890 h 4479908"/>
              <a:gd name="connsiteX10" fmla="*/ 230 w 4803274"/>
              <a:gd name="connsiteY10" fmla="*/ 3598348 h 4479908"/>
              <a:gd name="connsiteX0" fmla="*/ 0 w 4803044"/>
              <a:gd name="connsiteY0" fmla="*/ 3598348 h 4479908"/>
              <a:gd name="connsiteX1" fmla="*/ 348821 w 4803044"/>
              <a:gd name="connsiteY1" fmla="*/ 2579190 h 4479908"/>
              <a:gd name="connsiteX2" fmla="*/ 1655990 w 4803044"/>
              <a:gd name="connsiteY2" fmla="*/ 422461 h 4479908"/>
              <a:gd name="connsiteX3" fmla="*/ 2374473 w 4803044"/>
              <a:gd name="connsiteY3" fmla="*/ 186 h 4479908"/>
              <a:gd name="connsiteX4" fmla="*/ 3184096 w 4803044"/>
              <a:gd name="connsiteY4" fmla="*/ 474165 h 4479908"/>
              <a:gd name="connsiteX5" fmla="*/ 4454096 w 4803044"/>
              <a:gd name="connsiteY5" fmla="*/ 2582365 h 4479908"/>
              <a:gd name="connsiteX6" fmla="*/ 4774636 w 4803044"/>
              <a:gd name="connsiteY6" fmla="*/ 3731987 h 4479908"/>
              <a:gd name="connsiteX7" fmla="*/ 3916488 w 4803044"/>
              <a:gd name="connsiteY7" fmla="*/ 4397579 h 4479908"/>
              <a:gd name="connsiteX8" fmla="*/ 2396911 w 4803044"/>
              <a:gd name="connsiteY8" fmla="*/ 4479908 h 4479908"/>
              <a:gd name="connsiteX9" fmla="*/ 698071 w 4803044"/>
              <a:gd name="connsiteY9" fmla="*/ 4369890 h 4479908"/>
              <a:gd name="connsiteX10" fmla="*/ 0 w 4803044"/>
              <a:gd name="connsiteY10" fmla="*/ 3598348 h 4479908"/>
              <a:gd name="connsiteX0" fmla="*/ 0 w 4803044"/>
              <a:gd name="connsiteY0" fmla="*/ 3598348 h 4479908"/>
              <a:gd name="connsiteX1" fmla="*/ 348821 w 4803044"/>
              <a:gd name="connsiteY1" fmla="*/ 2579190 h 4479908"/>
              <a:gd name="connsiteX2" fmla="*/ 1655990 w 4803044"/>
              <a:gd name="connsiteY2" fmla="*/ 422461 h 4479908"/>
              <a:gd name="connsiteX3" fmla="*/ 2374473 w 4803044"/>
              <a:gd name="connsiteY3" fmla="*/ 186 h 4479908"/>
              <a:gd name="connsiteX4" fmla="*/ 3184096 w 4803044"/>
              <a:gd name="connsiteY4" fmla="*/ 474165 h 4479908"/>
              <a:gd name="connsiteX5" fmla="*/ 4454096 w 4803044"/>
              <a:gd name="connsiteY5" fmla="*/ 2582365 h 4479908"/>
              <a:gd name="connsiteX6" fmla="*/ 4774636 w 4803044"/>
              <a:gd name="connsiteY6" fmla="*/ 3731987 h 4479908"/>
              <a:gd name="connsiteX7" fmla="*/ 3916488 w 4803044"/>
              <a:gd name="connsiteY7" fmla="*/ 4397579 h 4479908"/>
              <a:gd name="connsiteX8" fmla="*/ 2396911 w 4803044"/>
              <a:gd name="connsiteY8" fmla="*/ 4479908 h 4479908"/>
              <a:gd name="connsiteX9" fmla="*/ 698071 w 4803044"/>
              <a:gd name="connsiteY9" fmla="*/ 4369890 h 4479908"/>
              <a:gd name="connsiteX10" fmla="*/ 0 w 4803044"/>
              <a:gd name="connsiteY10" fmla="*/ 3598348 h 4479908"/>
              <a:gd name="connsiteX0" fmla="*/ 0 w 4796694"/>
              <a:gd name="connsiteY0" fmla="*/ 3598348 h 4479908"/>
              <a:gd name="connsiteX1" fmla="*/ 342471 w 4796694"/>
              <a:gd name="connsiteY1" fmla="*/ 2579190 h 4479908"/>
              <a:gd name="connsiteX2" fmla="*/ 1649640 w 4796694"/>
              <a:gd name="connsiteY2" fmla="*/ 422461 h 4479908"/>
              <a:gd name="connsiteX3" fmla="*/ 2368123 w 4796694"/>
              <a:gd name="connsiteY3" fmla="*/ 186 h 4479908"/>
              <a:gd name="connsiteX4" fmla="*/ 3177746 w 4796694"/>
              <a:gd name="connsiteY4" fmla="*/ 474165 h 4479908"/>
              <a:gd name="connsiteX5" fmla="*/ 4447746 w 4796694"/>
              <a:gd name="connsiteY5" fmla="*/ 2582365 h 4479908"/>
              <a:gd name="connsiteX6" fmla="*/ 4768286 w 4796694"/>
              <a:gd name="connsiteY6" fmla="*/ 3731987 h 4479908"/>
              <a:gd name="connsiteX7" fmla="*/ 3910138 w 4796694"/>
              <a:gd name="connsiteY7" fmla="*/ 4397579 h 4479908"/>
              <a:gd name="connsiteX8" fmla="*/ 2390561 w 4796694"/>
              <a:gd name="connsiteY8" fmla="*/ 4479908 h 4479908"/>
              <a:gd name="connsiteX9" fmla="*/ 691721 w 4796694"/>
              <a:gd name="connsiteY9" fmla="*/ 4369890 h 4479908"/>
              <a:gd name="connsiteX10" fmla="*/ 0 w 4796694"/>
              <a:gd name="connsiteY10" fmla="*/ 3598348 h 4479908"/>
              <a:gd name="connsiteX0" fmla="*/ 0 w 4796694"/>
              <a:gd name="connsiteY0" fmla="*/ 3598348 h 4479908"/>
              <a:gd name="connsiteX1" fmla="*/ 342471 w 4796694"/>
              <a:gd name="connsiteY1" fmla="*/ 2579190 h 4479908"/>
              <a:gd name="connsiteX2" fmla="*/ 1649640 w 4796694"/>
              <a:gd name="connsiteY2" fmla="*/ 422461 h 4479908"/>
              <a:gd name="connsiteX3" fmla="*/ 2368123 w 4796694"/>
              <a:gd name="connsiteY3" fmla="*/ 186 h 4479908"/>
              <a:gd name="connsiteX4" fmla="*/ 3177746 w 4796694"/>
              <a:gd name="connsiteY4" fmla="*/ 474165 h 4479908"/>
              <a:gd name="connsiteX5" fmla="*/ 4447746 w 4796694"/>
              <a:gd name="connsiteY5" fmla="*/ 2582365 h 4479908"/>
              <a:gd name="connsiteX6" fmla="*/ 4768286 w 4796694"/>
              <a:gd name="connsiteY6" fmla="*/ 3731987 h 4479908"/>
              <a:gd name="connsiteX7" fmla="*/ 3910138 w 4796694"/>
              <a:gd name="connsiteY7" fmla="*/ 4397579 h 4479908"/>
              <a:gd name="connsiteX8" fmla="*/ 2390561 w 4796694"/>
              <a:gd name="connsiteY8" fmla="*/ 4479908 h 4479908"/>
              <a:gd name="connsiteX9" fmla="*/ 691721 w 4796694"/>
              <a:gd name="connsiteY9" fmla="*/ 4369890 h 4479908"/>
              <a:gd name="connsiteX10" fmla="*/ 0 w 4796694"/>
              <a:gd name="connsiteY10" fmla="*/ 3598348 h 4479908"/>
              <a:gd name="connsiteX0" fmla="*/ 0 w 4796694"/>
              <a:gd name="connsiteY0" fmla="*/ 3598348 h 4479908"/>
              <a:gd name="connsiteX1" fmla="*/ 342471 w 4796694"/>
              <a:gd name="connsiteY1" fmla="*/ 2579190 h 4479908"/>
              <a:gd name="connsiteX2" fmla="*/ 1649640 w 4796694"/>
              <a:gd name="connsiteY2" fmla="*/ 422461 h 4479908"/>
              <a:gd name="connsiteX3" fmla="*/ 2368123 w 4796694"/>
              <a:gd name="connsiteY3" fmla="*/ 186 h 4479908"/>
              <a:gd name="connsiteX4" fmla="*/ 3177746 w 4796694"/>
              <a:gd name="connsiteY4" fmla="*/ 474165 h 4479908"/>
              <a:gd name="connsiteX5" fmla="*/ 4447746 w 4796694"/>
              <a:gd name="connsiteY5" fmla="*/ 2582365 h 4479908"/>
              <a:gd name="connsiteX6" fmla="*/ 4768286 w 4796694"/>
              <a:gd name="connsiteY6" fmla="*/ 3731987 h 4479908"/>
              <a:gd name="connsiteX7" fmla="*/ 3910138 w 4796694"/>
              <a:gd name="connsiteY7" fmla="*/ 4397579 h 4479908"/>
              <a:gd name="connsiteX8" fmla="*/ 2390561 w 4796694"/>
              <a:gd name="connsiteY8" fmla="*/ 4479908 h 4479908"/>
              <a:gd name="connsiteX9" fmla="*/ 691721 w 4796694"/>
              <a:gd name="connsiteY9" fmla="*/ 4369890 h 4479908"/>
              <a:gd name="connsiteX10" fmla="*/ 0 w 4796694"/>
              <a:gd name="connsiteY10" fmla="*/ 3598348 h 4479908"/>
              <a:gd name="connsiteX0" fmla="*/ 0 w 4796694"/>
              <a:gd name="connsiteY0" fmla="*/ 3598348 h 4479908"/>
              <a:gd name="connsiteX1" fmla="*/ 342471 w 4796694"/>
              <a:gd name="connsiteY1" fmla="*/ 2579190 h 4479908"/>
              <a:gd name="connsiteX2" fmla="*/ 1649640 w 4796694"/>
              <a:gd name="connsiteY2" fmla="*/ 422461 h 4479908"/>
              <a:gd name="connsiteX3" fmla="*/ 2368123 w 4796694"/>
              <a:gd name="connsiteY3" fmla="*/ 186 h 4479908"/>
              <a:gd name="connsiteX4" fmla="*/ 3177746 w 4796694"/>
              <a:gd name="connsiteY4" fmla="*/ 474165 h 4479908"/>
              <a:gd name="connsiteX5" fmla="*/ 4447746 w 4796694"/>
              <a:gd name="connsiteY5" fmla="*/ 2582365 h 4479908"/>
              <a:gd name="connsiteX6" fmla="*/ 4768286 w 4796694"/>
              <a:gd name="connsiteY6" fmla="*/ 3731987 h 4479908"/>
              <a:gd name="connsiteX7" fmla="*/ 3910138 w 4796694"/>
              <a:gd name="connsiteY7" fmla="*/ 4397579 h 4479908"/>
              <a:gd name="connsiteX8" fmla="*/ 2390561 w 4796694"/>
              <a:gd name="connsiteY8" fmla="*/ 4479908 h 4479908"/>
              <a:gd name="connsiteX9" fmla="*/ 691721 w 4796694"/>
              <a:gd name="connsiteY9" fmla="*/ 4369890 h 4479908"/>
              <a:gd name="connsiteX10" fmla="*/ 0 w 4796694"/>
              <a:gd name="connsiteY10" fmla="*/ 3598348 h 4479908"/>
              <a:gd name="connsiteX0" fmla="*/ 0 w 4796694"/>
              <a:gd name="connsiteY0" fmla="*/ 3598348 h 4479908"/>
              <a:gd name="connsiteX1" fmla="*/ 342471 w 4796694"/>
              <a:gd name="connsiteY1" fmla="*/ 2579190 h 4479908"/>
              <a:gd name="connsiteX2" fmla="*/ 1649640 w 4796694"/>
              <a:gd name="connsiteY2" fmla="*/ 422461 h 4479908"/>
              <a:gd name="connsiteX3" fmla="*/ 2368123 w 4796694"/>
              <a:gd name="connsiteY3" fmla="*/ 186 h 4479908"/>
              <a:gd name="connsiteX4" fmla="*/ 3177746 w 4796694"/>
              <a:gd name="connsiteY4" fmla="*/ 474165 h 4479908"/>
              <a:gd name="connsiteX5" fmla="*/ 4447746 w 4796694"/>
              <a:gd name="connsiteY5" fmla="*/ 2582365 h 4479908"/>
              <a:gd name="connsiteX6" fmla="*/ 4768286 w 4796694"/>
              <a:gd name="connsiteY6" fmla="*/ 3731987 h 4479908"/>
              <a:gd name="connsiteX7" fmla="*/ 3910138 w 4796694"/>
              <a:gd name="connsiteY7" fmla="*/ 4397579 h 4479908"/>
              <a:gd name="connsiteX8" fmla="*/ 2390561 w 4796694"/>
              <a:gd name="connsiteY8" fmla="*/ 4479908 h 4479908"/>
              <a:gd name="connsiteX9" fmla="*/ 691721 w 4796694"/>
              <a:gd name="connsiteY9" fmla="*/ 4369890 h 4479908"/>
              <a:gd name="connsiteX10" fmla="*/ 0 w 4796694"/>
              <a:gd name="connsiteY10" fmla="*/ 3598348 h 4479908"/>
              <a:gd name="connsiteX0" fmla="*/ 0 w 4796694"/>
              <a:gd name="connsiteY0" fmla="*/ 3598348 h 4479908"/>
              <a:gd name="connsiteX1" fmla="*/ 342471 w 4796694"/>
              <a:gd name="connsiteY1" fmla="*/ 2579190 h 4479908"/>
              <a:gd name="connsiteX2" fmla="*/ 1649640 w 4796694"/>
              <a:gd name="connsiteY2" fmla="*/ 422461 h 4479908"/>
              <a:gd name="connsiteX3" fmla="*/ 2368123 w 4796694"/>
              <a:gd name="connsiteY3" fmla="*/ 186 h 4479908"/>
              <a:gd name="connsiteX4" fmla="*/ 3177746 w 4796694"/>
              <a:gd name="connsiteY4" fmla="*/ 474165 h 4479908"/>
              <a:gd name="connsiteX5" fmla="*/ 4447746 w 4796694"/>
              <a:gd name="connsiteY5" fmla="*/ 2582365 h 4479908"/>
              <a:gd name="connsiteX6" fmla="*/ 4768286 w 4796694"/>
              <a:gd name="connsiteY6" fmla="*/ 3731987 h 4479908"/>
              <a:gd name="connsiteX7" fmla="*/ 3910138 w 4796694"/>
              <a:gd name="connsiteY7" fmla="*/ 4397579 h 4479908"/>
              <a:gd name="connsiteX8" fmla="*/ 2390561 w 4796694"/>
              <a:gd name="connsiteY8" fmla="*/ 4479908 h 4479908"/>
              <a:gd name="connsiteX9" fmla="*/ 691721 w 4796694"/>
              <a:gd name="connsiteY9" fmla="*/ 4369890 h 4479908"/>
              <a:gd name="connsiteX10" fmla="*/ 0 w 4796694"/>
              <a:gd name="connsiteY10" fmla="*/ 3598348 h 4479908"/>
              <a:gd name="connsiteX0" fmla="*/ 0 w 4796694"/>
              <a:gd name="connsiteY0" fmla="*/ 3598348 h 4479908"/>
              <a:gd name="connsiteX1" fmla="*/ 342471 w 4796694"/>
              <a:gd name="connsiteY1" fmla="*/ 2579190 h 4479908"/>
              <a:gd name="connsiteX2" fmla="*/ 1649640 w 4796694"/>
              <a:gd name="connsiteY2" fmla="*/ 422461 h 4479908"/>
              <a:gd name="connsiteX3" fmla="*/ 2368123 w 4796694"/>
              <a:gd name="connsiteY3" fmla="*/ 186 h 4479908"/>
              <a:gd name="connsiteX4" fmla="*/ 3177746 w 4796694"/>
              <a:gd name="connsiteY4" fmla="*/ 474165 h 4479908"/>
              <a:gd name="connsiteX5" fmla="*/ 4447746 w 4796694"/>
              <a:gd name="connsiteY5" fmla="*/ 2582365 h 4479908"/>
              <a:gd name="connsiteX6" fmla="*/ 4768286 w 4796694"/>
              <a:gd name="connsiteY6" fmla="*/ 3731987 h 4479908"/>
              <a:gd name="connsiteX7" fmla="*/ 3910138 w 4796694"/>
              <a:gd name="connsiteY7" fmla="*/ 4397579 h 4479908"/>
              <a:gd name="connsiteX8" fmla="*/ 2390561 w 4796694"/>
              <a:gd name="connsiteY8" fmla="*/ 4479908 h 4479908"/>
              <a:gd name="connsiteX9" fmla="*/ 691721 w 4796694"/>
              <a:gd name="connsiteY9" fmla="*/ 4369890 h 4479908"/>
              <a:gd name="connsiteX10" fmla="*/ 0 w 4796694"/>
              <a:gd name="connsiteY10" fmla="*/ 3598348 h 4479908"/>
              <a:gd name="connsiteX0" fmla="*/ 0 w 4796694"/>
              <a:gd name="connsiteY0" fmla="*/ 3598348 h 4479908"/>
              <a:gd name="connsiteX1" fmla="*/ 342471 w 4796694"/>
              <a:gd name="connsiteY1" fmla="*/ 2579190 h 4479908"/>
              <a:gd name="connsiteX2" fmla="*/ 1649640 w 4796694"/>
              <a:gd name="connsiteY2" fmla="*/ 422461 h 4479908"/>
              <a:gd name="connsiteX3" fmla="*/ 2368123 w 4796694"/>
              <a:gd name="connsiteY3" fmla="*/ 186 h 4479908"/>
              <a:gd name="connsiteX4" fmla="*/ 3177746 w 4796694"/>
              <a:gd name="connsiteY4" fmla="*/ 474165 h 4479908"/>
              <a:gd name="connsiteX5" fmla="*/ 4447746 w 4796694"/>
              <a:gd name="connsiteY5" fmla="*/ 2582365 h 4479908"/>
              <a:gd name="connsiteX6" fmla="*/ 4768286 w 4796694"/>
              <a:gd name="connsiteY6" fmla="*/ 3731987 h 4479908"/>
              <a:gd name="connsiteX7" fmla="*/ 3910138 w 4796694"/>
              <a:gd name="connsiteY7" fmla="*/ 4397579 h 4479908"/>
              <a:gd name="connsiteX8" fmla="*/ 2390561 w 4796694"/>
              <a:gd name="connsiteY8" fmla="*/ 4479908 h 4479908"/>
              <a:gd name="connsiteX9" fmla="*/ 691721 w 4796694"/>
              <a:gd name="connsiteY9" fmla="*/ 4369890 h 4479908"/>
              <a:gd name="connsiteX10" fmla="*/ 0 w 4796694"/>
              <a:gd name="connsiteY10" fmla="*/ 3598348 h 4479908"/>
              <a:gd name="connsiteX0" fmla="*/ 2721 w 4799415"/>
              <a:gd name="connsiteY0" fmla="*/ 3598348 h 4479908"/>
              <a:gd name="connsiteX1" fmla="*/ 345192 w 4799415"/>
              <a:gd name="connsiteY1" fmla="*/ 2579190 h 4479908"/>
              <a:gd name="connsiteX2" fmla="*/ 1652361 w 4799415"/>
              <a:gd name="connsiteY2" fmla="*/ 422461 h 4479908"/>
              <a:gd name="connsiteX3" fmla="*/ 2370844 w 4799415"/>
              <a:gd name="connsiteY3" fmla="*/ 186 h 4479908"/>
              <a:gd name="connsiteX4" fmla="*/ 3180467 w 4799415"/>
              <a:gd name="connsiteY4" fmla="*/ 474165 h 4479908"/>
              <a:gd name="connsiteX5" fmla="*/ 4450467 w 4799415"/>
              <a:gd name="connsiteY5" fmla="*/ 2582365 h 4479908"/>
              <a:gd name="connsiteX6" fmla="*/ 4771007 w 4799415"/>
              <a:gd name="connsiteY6" fmla="*/ 3731987 h 4479908"/>
              <a:gd name="connsiteX7" fmla="*/ 3912859 w 4799415"/>
              <a:gd name="connsiteY7" fmla="*/ 4397579 h 4479908"/>
              <a:gd name="connsiteX8" fmla="*/ 2393282 w 4799415"/>
              <a:gd name="connsiteY8" fmla="*/ 4479908 h 4479908"/>
              <a:gd name="connsiteX9" fmla="*/ 694442 w 4799415"/>
              <a:gd name="connsiteY9" fmla="*/ 4369890 h 4479908"/>
              <a:gd name="connsiteX10" fmla="*/ 2721 w 4799415"/>
              <a:gd name="connsiteY10" fmla="*/ 3598348 h 4479908"/>
              <a:gd name="connsiteX0" fmla="*/ 2118 w 4798812"/>
              <a:gd name="connsiteY0" fmla="*/ 3598348 h 4479908"/>
              <a:gd name="connsiteX1" fmla="*/ 344589 w 4798812"/>
              <a:gd name="connsiteY1" fmla="*/ 2579190 h 4479908"/>
              <a:gd name="connsiteX2" fmla="*/ 1651758 w 4798812"/>
              <a:gd name="connsiteY2" fmla="*/ 422461 h 4479908"/>
              <a:gd name="connsiteX3" fmla="*/ 2370241 w 4798812"/>
              <a:gd name="connsiteY3" fmla="*/ 186 h 4479908"/>
              <a:gd name="connsiteX4" fmla="*/ 3179864 w 4798812"/>
              <a:gd name="connsiteY4" fmla="*/ 474165 h 4479908"/>
              <a:gd name="connsiteX5" fmla="*/ 4449864 w 4798812"/>
              <a:gd name="connsiteY5" fmla="*/ 2582365 h 4479908"/>
              <a:gd name="connsiteX6" fmla="*/ 4770404 w 4798812"/>
              <a:gd name="connsiteY6" fmla="*/ 3731987 h 4479908"/>
              <a:gd name="connsiteX7" fmla="*/ 3912256 w 4798812"/>
              <a:gd name="connsiteY7" fmla="*/ 4397579 h 4479908"/>
              <a:gd name="connsiteX8" fmla="*/ 2392679 w 4798812"/>
              <a:gd name="connsiteY8" fmla="*/ 4479908 h 4479908"/>
              <a:gd name="connsiteX9" fmla="*/ 693839 w 4798812"/>
              <a:gd name="connsiteY9" fmla="*/ 4369890 h 4479908"/>
              <a:gd name="connsiteX10" fmla="*/ 2118 w 4798812"/>
              <a:gd name="connsiteY10" fmla="*/ 3598348 h 4479908"/>
              <a:gd name="connsiteX0" fmla="*/ 2118 w 4798812"/>
              <a:gd name="connsiteY0" fmla="*/ 3598348 h 4479908"/>
              <a:gd name="connsiteX1" fmla="*/ 344589 w 4798812"/>
              <a:gd name="connsiteY1" fmla="*/ 2579190 h 4479908"/>
              <a:gd name="connsiteX2" fmla="*/ 1651758 w 4798812"/>
              <a:gd name="connsiteY2" fmla="*/ 422461 h 4479908"/>
              <a:gd name="connsiteX3" fmla="*/ 2370241 w 4798812"/>
              <a:gd name="connsiteY3" fmla="*/ 186 h 4479908"/>
              <a:gd name="connsiteX4" fmla="*/ 3179864 w 4798812"/>
              <a:gd name="connsiteY4" fmla="*/ 474165 h 4479908"/>
              <a:gd name="connsiteX5" fmla="*/ 4449864 w 4798812"/>
              <a:gd name="connsiteY5" fmla="*/ 2582365 h 4479908"/>
              <a:gd name="connsiteX6" fmla="*/ 4770404 w 4798812"/>
              <a:gd name="connsiteY6" fmla="*/ 3731987 h 4479908"/>
              <a:gd name="connsiteX7" fmla="*/ 3912256 w 4798812"/>
              <a:gd name="connsiteY7" fmla="*/ 4397579 h 4479908"/>
              <a:gd name="connsiteX8" fmla="*/ 2392679 w 4798812"/>
              <a:gd name="connsiteY8" fmla="*/ 4479908 h 4479908"/>
              <a:gd name="connsiteX9" fmla="*/ 693839 w 4798812"/>
              <a:gd name="connsiteY9" fmla="*/ 4369890 h 4479908"/>
              <a:gd name="connsiteX10" fmla="*/ 2118 w 4798812"/>
              <a:gd name="connsiteY10" fmla="*/ 3598348 h 4479908"/>
              <a:gd name="connsiteX0" fmla="*/ 2118 w 4798812"/>
              <a:gd name="connsiteY0" fmla="*/ 3598348 h 4479908"/>
              <a:gd name="connsiteX1" fmla="*/ 344589 w 4798812"/>
              <a:gd name="connsiteY1" fmla="*/ 2579190 h 4479908"/>
              <a:gd name="connsiteX2" fmla="*/ 1651758 w 4798812"/>
              <a:gd name="connsiteY2" fmla="*/ 422461 h 4479908"/>
              <a:gd name="connsiteX3" fmla="*/ 2370241 w 4798812"/>
              <a:gd name="connsiteY3" fmla="*/ 186 h 4479908"/>
              <a:gd name="connsiteX4" fmla="*/ 3179864 w 4798812"/>
              <a:gd name="connsiteY4" fmla="*/ 474165 h 4479908"/>
              <a:gd name="connsiteX5" fmla="*/ 4449864 w 4798812"/>
              <a:gd name="connsiteY5" fmla="*/ 2582365 h 4479908"/>
              <a:gd name="connsiteX6" fmla="*/ 4770404 w 4798812"/>
              <a:gd name="connsiteY6" fmla="*/ 3731987 h 4479908"/>
              <a:gd name="connsiteX7" fmla="*/ 3912256 w 4798812"/>
              <a:gd name="connsiteY7" fmla="*/ 4397579 h 4479908"/>
              <a:gd name="connsiteX8" fmla="*/ 2392679 w 4798812"/>
              <a:gd name="connsiteY8" fmla="*/ 4479908 h 4479908"/>
              <a:gd name="connsiteX9" fmla="*/ 693839 w 4798812"/>
              <a:gd name="connsiteY9" fmla="*/ 4369890 h 4479908"/>
              <a:gd name="connsiteX10" fmla="*/ 2118 w 4798812"/>
              <a:gd name="connsiteY10" fmla="*/ 3598348 h 4479908"/>
              <a:gd name="connsiteX0" fmla="*/ 2118 w 4798812"/>
              <a:gd name="connsiteY0" fmla="*/ 3598348 h 4479908"/>
              <a:gd name="connsiteX1" fmla="*/ 344589 w 4798812"/>
              <a:gd name="connsiteY1" fmla="*/ 2579190 h 4479908"/>
              <a:gd name="connsiteX2" fmla="*/ 1651758 w 4798812"/>
              <a:gd name="connsiteY2" fmla="*/ 422461 h 4479908"/>
              <a:gd name="connsiteX3" fmla="*/ 2370241 w 4798812"/>
              <a:gd name="connsiteY3" fmla="*/ 186 h 4479908"/>
              <a:gd name="connsiteX4" fmla="*/ 3179864 w 4798812"/>
              <a:gd name="connsiteY4" fmla="*/ 474165 h 4479908"/>
              <a:gd name="connsiteX5" fmla="*/ 4449864 w 4798812"/>
              <a:gd name="connsiteY5" fmla="*/ 2582365 h 4479908"/>
              <a:gd name="connsiteX6" fmla="*/ 4770404 w 4798812"/>
              <a:gd name="connsiteY6" fmla="*/ 3731987 h 4479908"/>
              <a:gd name="connsiteX7" fmla="*/ 3912256 w 4798812"/>
              <a:gd name="connsiteY7" fmla="*/ 4397579 h 4479908"/>
              <a:gd name="connsiteX8" fmla="*/ 2392679 w 4798812"/>
              <a:gd name="connsiteY8" fmla="*/ 4479908 h 4479908"/>
              <a:gd name="connsiteX9" fmla="*/ 693839 w 4798812"/>
              <a:gd name="connsiteY9" fmla="*/ 4369890 h 4479908"/>
              <a:gd name="connsiteX10" fmla="*/ 2118 w 4798812"/>
              <a:gd name="connsiteY10" fmla="*/ 3598348 h 4479908"/>
              <a:gd name="connsiteX0" fmla="*/ 2118 w 4798812"/>
              <a:gd name="connsiteY0" fmla="*/ 3598348 h 4479908"/>
              <a:gd name="connsiteX1" fmla="*/ 344589 w 4798812"/>
              <a:gd name="connsiteY1" fmla="*/ 2579190 h 4479908"/>
              <a:gd name="connsiteX2" fmla="*/ 1651758 w 4798812"/>
              <a:gd name="connsiteY2" fmla="*/ 422461 h 4479908"/>
              <a:gd name="connsiteX3" fmla="*/ 2370241 w 4798812"/>
              <a:gd name="connsiteY3" fmla="*/ 186 h 4479908"/>
              <a:gd name="connsiteX4" fmla="*/ 3179864 w 4798812"/>
              <a:gd name="connsiteY4" fmla="*/ 474165 h 4479908"/>
              <a:gd name="connsiteX5" fmla="*/ 4449864 w 4798812"/>
              <a:gd name="connsiteY5" fmla="*/ 2582365 h 4479908"/>
              <a:gd name="connsiteX6" fmla="*/ 4770404 w 4798812"/>
              <a:gd name="connsiteY6" fmla="*/ 3731987 h 4479908"/>
              <a:gd name="connsiteX7" fmla="*/ 3912256 w 4798812"/>
              <a:gd name="connsiteY7" fmla="*/ 4397579 h 4479908"/>
              <a:gd name="connsiteX8" fmla="*/ 2392679 w 4798812"/>
              <a:gd name="connsiteY8" fmla="*/ 4479908 h 4479908"/>
              <a:gd name="connsiteX9" fmla="*/ 693839 w 4798812"/>
              <a:gd name="connsiteY9" fmla="*/ 4369890 h 4479908"/>
              <a:gd name="connsiteX10" fmla="*/ 2118 w 4798812"/>
              <a:gd name="connsiteY10" fmla="*/ 3598348 h 4479908"/>
              <a:gd name="connsiteX0" fmla="*/ 2118 w 4798812"/>
              <a:gd name="connsiteY0" fmla="*/ 3598348 h 4479908"/>
              <a:gd name="connsiteX1" fmla="*/ 344589 w 4798812"/>
              <a:gd name="connsiteY1" fmla="*/ 2579190 h 4479908"/>
              <a:gd name="connsiteX2" fmla="*/ 1651758 w 4798812"/>
              <a:gd name="connsiteY2" fmla="*/ 422461 h 4479908"/>
              <a:gd name="connsiteX3" fmla="*/ 2370241 w 4798812"/>
              <a:gd name="connsiteY3" fmla="*/ 186 h 4479908"/>
              <a:gd name="connsiteX4" fmla="*/ 3179864 w 4798812"/>
              <a:gd name="connsiteY4" fmla="*/ 474165 h 4479908"/>
              <a:gd name="connsiteX5" fmla="*/ 4449864 w 4798812"/>
              <a:gd name="connsiteY5" fmla="*/ 2582365 h 4479908"/>
              <a:gd name="connsiteX6" fmla="*/ 4770404 w 4798812"/>
              <a:gd name="connsiteY6" fmla="*/ 3731987 h 4479908"/>
              <a:gd name="connsiteX7" fmla="*/ 3912256 w 4798812"/>
              <a:gd name="connsiteY7" fmla="*/ 4397579 h 4479908"/>
              <a:gd name="connsiteX8" fmla="*/ 2392679 w 4798812"/>
              <a:gd name="connsiteY8" fmla="*/ 4479908 h 4479908"/>
              <a:gd name="connsiteX9" fmla="*/ 693839 w 4798812"/>
              <a:gd name="connsiteY9" fmla="*/ 4369890 h 4479908"/>
              <a:gd name="connsiteX10" fmla="*/ 2118 w 4798812"/>
              <a:gd name="connsiteY10" fmla="*/ 3598348 h 4479908"/>
              <a:gd name="connsiteX0" fmla="*/ 2118 w 4798812"/>
              <a:gd name="connsiteY0" fmla="*/ 3598348 h 4479908"/>
              <a:gd name="connsiteX1" fmla="*/ 344589 w 4798812"/>
              <a:gd name="connsiteY1" fmla="*/ 2579190 h 4479908"/>
              <a:gd name="connsiteX2" fmla="*/ 1651758 w 4798812"/>
              <a:gd name="connsiteY2" fmla="*/ 422461 h 4479908"/>
              <a:gd name="connsiteX3" fmla="*/ 2370241 w 4798812"/>
              <a:gd name="connsiteY3" fmla="*/ 186 h 4479908"/>
              <a:gd name="connsiteX4" fmla="*/ 3179864 w 4798812"/>
              <a:gd name="connsiteY4" fmla="*/ 474165 h 4479908"/>
              <a:gd name="connsiteX5" fmla="*/ 4449864 w 4798812"/>
              <a:gd name="connsiteY5" fmla="*/ 2582365 h 4479908"/>
              <a:gd name="connsiteX6" fmla="*/ 4770404 w 4798812"/>
              <a:gd name="connsiteY6" fmla="*/ 3731987 h 4479908"/>
              <a:gd name="connsiteX7" fmla="*/ 3912256 w 4798812"/>
              <a:gd name="connsiteY7" fmla="*/ 4397579 h 4479908"/>
              <a:gd name="connsiteX8" fmla="*/ 2392679 w 4798812"/>
              <a:gd name="connsiteY8" fmla="*/ 4479908 h 4479908"/>
              <a:gd name="connsiteX9" fmla="*/ 693839 w 4798812"/>
              <a:gd name="connsiteY9" fmla="*/ 4369890 h 4479908"/>
              <a:gd name="connsiteX10" fmla="*/ 2118 w 4798812"/>
              <a:gd name="connsiteY10" fmla="*/ 3598348 h 4479908"/>
              <a:gd name="connsiteX0" fmla="*/ 2118 w 4797181"/>
              <a:gd name="connsiteY0" fmla="*/ 3598348 h 4479908"/>
              <a:gd name="connsiteX1" fmla="*/ 344589 w 4797181"/>
              <a:gd name="connsiteY1" fmla="*/ 2579190 h 4479908"/>
              <a:gd name="connsiteX2" fmla="*/ 1651758 w 4797181"/>
              <a:gd name="connsiteY2" fmla="*/ 422461 h 4479908"/>
              <a:gd name="connsiteX3" fmla="*/ 2370241 w 4797181"/>
              <a:gd name="connsiteY3" fmla="*/ 186 h 4479908"/>
              <a:gd name="connsiteX4" fmla="*/ 3179864 w 4797181"/>
              <a:gd name="connsiteY4" fmla="*/ 474165 h 4479908"/>
              <a:gd name="connsiteX5" fmla="*/ 4449864 w 4797181"/>
              <a:gd name="connsiteY5" fmla="*/ 2582365 h 4479908"/>
              <a:gd name="connsiteX6" fmla="*/ 4770404 w 4797181"/>
              <a:gd name="connsiteY6" fmla="*/ 3731987 h 4479908"/>
              <a:gd name="connsiteX7" fmla="*/ 3912256 w 4797181"/>
              <a:gd name="connsiteY7" fmla="*/ 4397579 h 4479908"/>
              <a:gd name="connsiteX8" fmla="*/ 2392679 w 4797181"/>
              <a:gd name="connsiteY8" fmla="*/ 4479908 h 4479908"/>
              <a:gd name="connsiteX9" fmla="*/ 693839 w 4797181"/>
              <a:gd name="connsiteY9" fmla="*/ 4369890 h 4479908"/>
              <a:gd name="connsiteX10" fmla="*/ 2118 w 4797181"/>
              <a:gd name="connsiteY10" fmla="*/ 3598348 h 4479908"/>
              <a:gd name="connsiteX0" fmla="*/ 2118 w 4792335"/>
              <a:gd name="connsiteY0" fmla="*/ 3598348 h 4479908"/>
              <a:gd name="connsiteX1" fmla="*/ 344589 w 4792335"/>
              <a:gd name="connsiteY1" fmla="*/ 2579190 h 4479908"/>
              <a:gd name="connsiteX2" fmla="*/ 1651758 w 4792335"/>
              <a:gd name="connsiteY2" fmla="*/ 422461 h 4479908"/>
              <a:gd name="connsiteX3" fmla="*/ 2370241 w 4792335"/>
              <a:gd name="connsiteY3" fmla="*/ 186 h 4479908"/>
              <a:gd name="connsiteX4" fmla="*/ 3179864 w 4792335"/>
              <a:gd name="connsiteY4" fmla="*/ 474165 h 4479908"/>
              <a:gd name="connsiteX5" fmla="*/ 4449864 w 4792335"/>
              <a:gd name="connsiteY5" fmla="*/ 2582365 h 4479908"/>
              <a:gd name="connsiteX6" fmla="*/ 4770404 w 4792335"/>
              <a:gd name="connsiteY6" fmla="*/ 3731987 h 4479908"/>
              <a:gd name="connsiteX7" fmla="*/ 3912256 w 4792335"/>
              <a:gd name="connsiteY7" fmla="*/ 4397579 h 4479908"/>
              <a:gd name="connsiteX8" fmla="*/ 2392679 w 4792335"/>
              <a:gd name="connsiteY8" fmla="*/ 4479908 h 4479908"/>
              <a:gd name="connsiteX9" fmla="*/ 693839 w 4792335"/>
              <a:gd name="connsiteY9" fmla="*/ 4369890 h 4479908"/>
              <a:gd name="connsiteX10" fmla="*/ 2118 w 4792335"/>
              <a:gd name="connsiteY10" fmla="*/ 3598348 h 4479908"/>
              <a:gd name="connsiteX0" fmla="*/ 2118 w 4797181"/>
              <a:gd name="connsiteY0" fmla="*/ 3598348 h 4479908"/>
              <a:gd name="connsiteX1" fmla="*/ 344589 w 4797181"/>
              <a:gd name="connsiteY1" fmla="*/ 2579190 h 4479908"/>
              <a:gd name="connsiteX2" fmla="*/ 1651758 w 4797181"/>
              <a:gd name="connsiteY2" fmla="*/ 422461 h 4479908"/>
              <a:gd name="connsiteX3" fmla="*/ 2370241 w 4797181"/>
              <a:gd name="connsiteY3" fmla="*/ 186 h 4479908"/>
              <a:gd name="connsiteX4" fmla="*/ 3179864 w 4797181"/>
              <a:gd name="connsiteY4" fmla="*/ 474165 h 4479908"/>
              <a:gd name="connsiteX5" fmla="*/ 4449864 w 4797181"/>
              <a:gd name="connsiteY5" fmla="*/ 2582365 h 4479908"/>
              <a:gd name="connsiteX6" fmla="*/ 4770404 w 4797181"/>
              <a:gd name="connsiteY6" fmla="*/ 3731987 h 4479908"/>
              <a:gd name="connsiteX7" fmla="*/ 3912256 w 4797181"/>
              <a:gd name="connsiteY7" fmla="*/ 4397579 h 4479908"/>
              <a:gd name="connsiteX8" fmla="*/ 2392679 w 4797181"/>
              <a:gd name="connsiteY8" fmla="*/ 4479908 h 4479908"/>
              <a:gd name="connsiteX9" fmla="*/ 693839 w 4797181"/>
              <a:gd name="connsiteY9" fmla="*/ 4369890 h 4479908"/>
              <a:gd name="connsiteX10" fmla="*/ 2118 w 4797181"/>
              <a:gd name="connsiteY10" fmla="*/ 3598348 h 44799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97181" h="4479908">
                <a:moveTo>
                  <a:pt x="2118" y="3598348"/>
                </a:moveTo>
                <a:cubicBezTo>
                  <a:pt x="-18133" y="3306254"/>
                  <a:pt x="107665" y="3090359"/>
                  <a:pt x="344589" y="2579190"/>
                </a:cubicBezTo>
                <a:cubicBezTo>
                  <a:pt x="888262" y="1479280"/>
                  <a:pt x="1282710" y="963571"/>
                  <a:pt x="1651758" y="422461"/>
                </a:cubicBezTo>
                <a:cubicBezTo>
                  <a:pt x="1825253" y="152967"/>
                  <a:pt x="2116615" y="5327"/>
                  <a:pt x="2370241" y="186"/>
                </a:cubicBezTo>
                <a:cubicBezTo>
                  <a:pt x="2623867" y="-4955"/>
                  <a:pt x="2930627" y="94602"/>
                  <a:pt x="3179864" y="474165"/>
                </a:cubicBezTo>
                <a:cubicBezTo>
                  <a:pt x="3518001" y="907703"/>
                  <a:pt x="4053221" y="1759713"/>
                  <a:pt x="4449864" y="2582365"/>
                </a:cubicBezTo>
                <a:cubicBezTo>
                  <a:pt x="4717599" y="3137657"/>
                  <a:pt x="4860005" y="3413576"/>
                  <a:pt x="4770404" y="3731987"/>
                </a:cubicBezTo>
                <a:cubicBezTo>
                  <a:pt x="4582267" y="4318393"/>
                  <a:pt x="4159687" y="4362712"/>
                  <a:pt x="3912256" y="4397579"/>
                </a:cubicBezTo>
                <a:cubicBezTo>
                  <a:pt x="3381290" y="4446623"/>
                  <a:pt x="3169474" y="4473708"/>
                  <a:pt x="2392679" y="4479908"/>
                </a:cubicBezTo>
                <a:cubicBezTo>
                  <a:pt x="1856276" y="4477410"/>
                  <a:pt x="1000191" y="4427917"/>
                  <a:pt x="693839" y="4369890"/>
                </a:cubicBezTo>
                <a:cubicBezTo>
                  <a:pt x="387487" y="4311863"/>
                  <a:pt x="63501" y="4073540"/>
                  <a:pt x="2118" y="3598348"/>
                </a:cubicBezTo>
                <a:close/>
              </a:path>
            </a:pathLst>
          </a:custGeom>
          <a:blipFill dpi="0" rotWithShape="1">
            <a:blip r:embed="rId3"/>
            <a:srcRect/>
            <a:stretch>
              <a:fillRect l="-22000" r="-28000"/>
            </a:stretch>
          </a:blipFill>
          <a:ln w="12700">
            <a:noFill/>
          </a:ln>
        </p:spPr>
        <p:txBody>
          <a:bodyPr anchor="ctr"/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Picture Placeholder 11"/>
          <p:cNvSpPr>
            <a:spLocks noGrp="1"/>
          </p:cNvSpPr>
          <p:nvPr userDrawn="1">
            <p:ph type="pic" sz="quarter" idx="11"/>
          </p:nvPr>
        </p:nvSpPr>
        <p:spPr>
          <a:xfrm>
            <a:off x="5838825" y="1"/>
            <a:ext cx="3028950" cy="2047952"/>
          </a:xfrm>
          <a:custGeom>
            <a:avLst/>
            <a:gdLst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3028950 w 3028950"/>
              <a:gd name="connsiteY2" fmla="*/ 2044700 h 2044700"/>
              <a:gd name="connsiteX3" fmla="*/ 0 w 3028950"/>
              <a:gd name="connsiteY3" fmla="*/ 2044700 h 2044700"/>
              <a:gd name="connsiteX4" fmla="*/ 0 w 3028950"/>
              <a:gd name="connsiteY4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3028950 w 3028950"/>
              <a:gd name="connsiteY2" fmla="*/ 2044700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97225"/>
              <a:gd name="connsiteY0" fmla="*/ 0 h 2044700"/>
              <a:gd name="connsiteX1" fmla="*/ 3028950 w 3097225"/>
              <a:gd name="connsiteY1" fmla="*/ 0 h 2044700"/>
              <a:gd name="connsiteX2" fmla="*/ 2076450 w 3097225"/>
              <a:gd name="connsiteY2" fmla="*/ 1673225 h 2044700"/>
              <a:gd name="connsiteX3" fmla="*/ 1492250 w 3097225"/>
              <a:gd name="connsiteY3" fmla="*/ 2044700 h 2044700"/>
              <a:gd name="connsiteX4" fmla="*/ 0 w 3097225"/>
              <a:gd name="connsiteY4" fmla="*/ 2044700 h 2044700"/>
              <a:gd name="connsiteX5" fmla="*/ 0 w 3097225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97763"/>
              <a:gd name="connsiteY0" fmla="*/ 0 h 2044700"/>
              <a:gd name="connsiteX1" fmla="*/ 3028950 w 3097763"/>
              <a:gd name="connsiteY1" fmla="*/ 0 h 2044700"/>
              <a:gd name="connsiteX2" fmla="*/ 2076450 w 3097763"/>
              <a:gd name="connsiteY2" fmla="*/ 1673225 h 2044700"/>
              <a:gd name="connsiteX3" fmla="*/ 1492250 w 3097763"/>
              <a:gd name="connsiteY3" fmla="*/ 2044700 h 2044700"/>
              <a:gd name="connsiteX4" fmla="*/ 0 w 3097763"/>
              <a:gd name="connsiteY4" fmla="*/ 2044700 h 2044700"/>
              <a:gd name="connsiteX5" fmla="*/ 0 w 3097763"/>
              <a:gd name="connsiteY5" fmla="*/ 0 h 2044700"/>
              <a:gd name="connsiteX0" fmla="*/ 0 w 3096834"/>
              <a:gd name="connsiteY0" fmla="*/ 0 h 2044700"/>
              <a:gd name="connsiteX1" fmla="*/ 3028950 w 3096834"/>
              <a:gd name="connsiteY1" fmla="*/ 0 h 2044700"/>
              <a:gd name="connsiteX2" fmla="*/ 2076450 w 3096834"/>
              <a:gd name="connsiteY2" fmla="*/ 1673225 h 2044700"/>
              <a:gd name="connsiteX3" fmla="*/ 1492250 w 3096834"/>
              <a:gd name="connsiteY3" fmla="*/ 2044700 h 2044700"/>
              <a:gd name="connsiteX4" fmla="*/ 0 w 3096834"/>
              <a:gd name="connsiteY4" fmla="*/ 2044700 h 2044700"/>
              <a:gd name="connsiteX5" fmla="*/ 0 w 3096834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0 w 3028950"/>
              <a:gd name="connsiteY4" fmla="*/ 2044700 h 2044700"/>
              <a:gd name="connsiteX5" fmla="*/ 0 w 3028950"/>
              <a:gd name="connsiteY5" fmla="*/ 0 h 2044700"/>
              <a:gd name="connsiteX0" fmla="*/ 0 w 3028950"/>
              <a:gd name="connsiteY0" fmla="*/ 0 h 2046111"/>
              <a:gd name="connsiteX1" fmla="*/ 3028950 w 3028950"/>
              <a:gd name="connsiteY1" fmla="*/ 0 h 2046111"/>
              <a:gd name="connsiteX2" fmla="*/ 2076450 w 3028950"/>
              <a:gd name="connsiteY2" fmla="*/ 1673225 h 2046111"/>
              <a:gd name="connsiteX3" fmla="*/ 1492250 w 3028950"/>
              <a:gd name="connsiteY3" fmla="*/ 2044700 h 2046111"/>
              <a:gd name="connsiteX4" fmla="*/ 0 w 3028950"/>
              <a:gd name="connsiteY4" fmla="*/ 2044700 h 2046111"/>
              <a:gd name="connsiteX5" fmla="*/ 0 w 3028950"/>
              <a:gd name="connsiteY5" fmla="*/ 0 h 2046111"/>
              <a:gd name="connsiteX0" fmla="*/ 0 w 3028950"/>
              <a:gd name="connsiteY0" fmla="*/ 0 h 2044721"/>
              <a:gd name="connsiteX1" fmla="*/ 3028950 w 3028950"/>
              <a:gd name="connsiteY1" fmla="*/ 0 h 2044721"/>
              <a:gd name="connsiteX2" fmla="*/ 2076450 w 3028950"/>
              <a:gd name="connsiteY2" fmla="*/ 1673225 h 2044721"/>
              <a:gd name="connsiteX3" fmla="*/ 1492250 w 3028950"/>
              <a:gd name="connsiteY3" fmla="*/ 2044700 h 2044721"/>
              <a:gd name="connsiteX4" fmla="*/ 965200 w 3028950"/>
              <a:gd name="connsiteY4" fmla="*/ 1692275 h 2044721"/>
              <a:gd name="connsiteX5" fmla="*/ 0 w 3028950"/>
              <a:gd name="connsiteY5" fmla="*/ 0 h 2044721"/>
              <a:gd name="connsiteX0" fmla="*/ 0 w 3028950"/>
              <a:gd name="connsiteY0" fmla="*/ 0 h 2084939"/>
              <a:gd name="connsiteX1" fmla="*/ 3028950 w 3028950"/>
              <a:gd name="connsiteY1" fmla="*/ 0 h 2084939"/>
              <a:gd name="connsiteX2" fmla="*/ 2076450 w 3028950"/>
              <a:gd name="connsiteY2" fmla="*/ 1673225 h 2084939"/>
              <a:gd name="connsiteX3" fmla="*/ 1492250 w 3028950"/>
              <a:gd name="connsiteY3" fmla="*/ 2044700 h 2084939"/>
              <a:gd name="connsiteX4" fmla="*/ 965200 w 3028950"/>
              <a:gd name="connsiteY4" fmla="*/ 1692275 h 2084939"/>
              <a:gd name="connsiteX5" fmla="*/ 0 w 3028950"/>
              <a:gd name="connsiteY5" fmla="*/ 0 h 2084939"/>
              <a:gd name="connsiteX0" fmla="*/ 0 w 3028950"/>
              <a:gd name="connsiteY0" fmla="*/ 0 h 2044749"/>
              <a:gd name="connsiteX1" fmla="*/ 3028950 w 3028950"/>
              <a:gd name="connsiteY1" fmla="*/ 0 h 2044749"/>
              <a:gd name="connsiteX2" fmla="*/ 2076450 w 3028950"/>
              <a:gd name="connsiteY2" fmla="*/ 1673225 h 2044749"/>
              <a:gd name="connsiteX3" fmla="*/ 1492250 w 3028950"/>
              <a:gd name="connsiteY3" fmla="*/ 2044700 h 2044749"/>
              <a:gd name="connsiteX4" fmla="*/ 965200 w 3028950"/>
              <a:gd name="connsiteY4" fmla="*/ 1692275 h 2044749"/>
              <a:gd name="connsiteX5" fmla="*/ 0 w 3028950"/>
              <a:gd name="connsiteY5" fmla="*/ 0 h 2044749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965200 w 3028950"/>
              <a:gd name="connsiteY4" fmla="*/ 1692275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949325 w 3028950"/>
              <a:gd name="connsiteY4" fmla="*/ 1673225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949325 w 3028950"/>
              <a:gd name="connsiteY4" fmla="*/ 1673225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949325 w 3028950"/>
              <a:gd name="connsiteY4" fmla="*/ 1673225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949325 w 3028950"/>
              <a:gd name="connsiteY4" fmla="*/ 1673225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949325 w 3028950"/>
              <a:gd name="connsiteY4" fmla="*/ 1673225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949325 w 3028950"/>
              <a:gd name="connsiteY4" fmla="*/ 1673225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949325 w 3028950"/>
              <a:gd name="connsiteY4" fmla="*/ 1673225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949325 w 3028950"/>
              <a:gd name="connsiteY4" fmla="*/ 1673225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949325 w 3028950"/>
              <a:gd name="connsiteY4" fmla="*/ 1673225 h 2044700"/>
              <a:gd name="connsiteX5" fmla="*/ 0 w 3028950"/>
              <a:gd name="connsiteY5" fmla="*/ 0 h 2044700"/>
              <a:gd name="connsiteX0" fmla="*/ 0 w 3028950"/>
              <a:gd name="connsiteY0" fmla="*/ 0 h 2044700"/>
              <a:gd name="connsiteX1" fmla="*/ 3028950 w 3028950"/>
              <a:gd name="connsiteY1" fmla="*/ 0 h 2044700"/>
              <a:gd name="connsiteX2" fmla="*/ 2076450 w 3028950"/>
              <a:gd name="connsiteY2" fmla="*/ 1673225 h 2044700"/>
              <a:gd name="connsiteX3" fmla="*/ 1492250 w 3028950"/>
              <a:gd name="connsiteY3" fmla="*/ 2044700 h 2044700"/>
              <a:gd name="connsiteX4" fmla="*/ 949325 w 3028950"/>
              <a:gd name="connsiteY4" fmla="*/ 1673225 h 2044700"/>
              <a:gd name="connsiteX5" fmla="*/ 0 w 3028950"/>
              <a:gd name="connsiteY5" fmla="*/ 0 h 2044700"/>
              <a:gd name="connsiteX0" fmla="*/ 0 w 3028950"/>
              <a:gd name="connsiteY0" fmla="*/ 0 h 2047875"/>
              <a:gd name="connsiteX1" fmla="*/ 3028950 w 3028950"/>
              <a:gd name="connsiteY1" fmla="*/ 0 h 2047875"/>
              <a:gd name="connsiteX2" fmla="*/ 2076450 w 3028950"/>
              <a:gd name="connsiteY2" fmla="*/ 1673225 h 2047875"/>
              <a:gd name="connsiteX3" fmla="*/ 1511300 w 3028950"/>
              <a:gd name="connsiteY3" fmla="*/ 2047875 h 2047875"/>
              <a:gd name="connsiteX4" fmla="*/ 949325 w 3028950"/>
              <a:gd name="connsiteY4" fmla="*/ 1673225 h 2047875"/>
              <a:gd name="connsiteX5" fmla="*/ 0 w 3028950"/>
              <a:gd name="connsiteY5" fmla="*/ 0 h 2047875"/>
              <a:gd name="connsiteX0" fmla="*/ 0 w 3028950"/>
              <a:gd name="connsiteY0" fmla="*/ 0 h 2047875"/>
              <a:gd name="connsiteX1" fmla="*/ 3028950 w 3028950"/>
              <a:gd name="connsiteY1" fmla="*/ 0 h 2047875"/>
              <a:gd name="connsiteX2" fmla="*/ 2076450 w 3028950"/>
              <a:gd name="connsiteY2" fmla="*/ 1673225 h 2047875"/>
              <a:gd name="connsiteX3" fmla="*/ 1511300 w 3028950"/>
              <a:gd name="connsiteY3" fmla="*/ 2047875 h 2047875"/>
              <a:gd name="connsiteX4" fmla="*/ 949325 w 3028950"/>
              <a:gd name="connsiteY4" fmla="*/ 1673225 h 2047875"/>
              <a:gd name="connsiteX5" fmla="*/ 0 w 3028950"/>
              <a:gd name="connsiteY5" fmla="*/ 0 h 2047875"/>
              <a:gd name="connsiteX0" fmla="*/ 0 w 3028950"/>
              <a:gd name="connsiteY0" fmla="*/ 0 h 2047875"/>
              <a:gd name="connsiteX1" fmla="*/ 3028950 w 3028950"/>
              <a:gd name="connsiteY1" fmla="*/ 0 h 2047875"/>
              <a:gd name="connsiteX2" fmla="*/ 2076450 w 3028950"/>
              <a:gd name="connsiteY2" fmla="*/ 1673225 h 2047875"/>
              <a:gd name="connsiteX3" fmla="*/ 1511300 w 3028950"/>
              <a:gd name="connsiteY3" fmla="*/ 2047875 h 2047875"/>
              <a:gd name="connsiteX4" fmla="*/ 949325 w 3028950"/>
              <a:gd name="connsiteY4" fmla="*/ 1673225 h 2047875"/>
              <a:gd name="connsiteX5" fmla="*/ 0 w 3028950"/>
              <a:gd name="connsiteY5" fmla="*/ 0 h 2047875"/>
              <a:gd name="connsiteX0" fmla="*/ 0 w 3028950"/>
              <a:gd name="connsiteY0" fmla="*/ 0 h 2047875"/>
              <a:gd name="connsiteX1" fmla="*/ 3028950 w 3028950"/>
              <a:gd name="connsiteY1" fmla="*/ 0 h 2047875"/>
              <a:gd name="connsiteX2" fmla="*/ 2076450 w 3028950"/>
              <a:gd name="connsiteY2" fmla="*/ 1673225 h 2047875"/>
              <a:gd name="connsiteX3" fmla="*/ 1511300 w 3028950"/>
              <a:gd name="connsiteY3" fmla="*/ 2047875 h 2047875"/>
              <a:gd name="connsiteX4" fmla="*/ 949325 w 3028950"/>
              <a:gd name="connsiteY4" fmla="*/ 1673225 h 2047875"/>
              <a:gd name="connsiteX5" fmla="*/ 0 w 3028950"/>
              <a:gd name="connsiteY5" fmla="*/ 0 h 2047875"/>
              <a:gd name="connsiteX0" fmla="*/ 0 w 3028950"/>
              <a:gd name="connsiteY0" fmla="*/ 0 h 2047875"/>
              <a:gd name="connsiteX1" fmla="*/ 3028950 w 3028950"/>
              <a:gd name="connsiteY1" fmla="*/ 0 h 2047875"/>
              <a:gd name="connsiteX2" fmla="*/ 2076450 w 3028950"/>
              <a:gd name="connsiteY2" fmla="*/ 1673225 h 2047875"/>
              <a:gd name="connsiteX3" fmla="*/ 1511300 w 3028950"/>
              <a:gd name="connsiteY3" fmla="*/ 2047875 h 2047875"/>
              <a:gd name="connsiteX4" fmla="*/ 949325 w 3028950"/>
              <a:gd name="connsiteY4" fmla="*/ 1673225 h 2047875"/>
              <a:gd name="connsiteX5" fmla="*/ 0 w 3028950"/>
              <a:gd name="connsiteY5" fmla="*/ 0 h 2047875"/>
              <a:gd name="connsiteX0" fmla="*/ 0 w 3028950"/>
              <a:gd name="connsiteY0" fmla="*/ 0 h 2047875"/>
              <a:gd name="connsiteX1" fmla="*/ 3028950 w 3028950"/>
              <a:gd name="connsiteY1" fmla="*/ 0 h 2047875"/>
              <a:gd name="connsiteX2" fmla="*/ 2076450 w 3028950"/>
              <a:gd name="connsiteY2" fmla="*/ 1673225 h 2047875"/>
              <a:gd name="connsiteX3" fmla="*/ 1511300 w 3028950"/>
              <a:gd name="connsiteY3" fmla="*/ 2047875 h 2047875"/>
              <a:gd name="connsiteX4" fmla="*/ 949325 w 3028950"/>
              <a:gd name="connsiteY4" fmla="*/ 1673225 h 2047875"/>
              <a:gd name="connsiteX5" fmla="*/ 0 w 3028950"/>
              <a:gd name="connsiteY5" fmla="*/ 0 h 2047875"/>
              <a:gd name="connsiteX0" fmla="*/ 0 w 3028950"/>
              <a:gd name="connsiteY0" fmla="*/ 0 h 2054038"/>
              <a:gd name="connsiteX1" fmla="*/ 3028950 w 3028950"/>
              <a:gd name="connsiteY1" fmla="*/ 0 h 2054038"/>
              <a:gd name="connsiteX2" fmla="*/ 2076450 w 3028950"/>
              <a:gd name="connsiteY2" fmla="*/ 1673225 h 2054038"/>
              <a:gd name="connsiteX3" fmla="*/ 1511300 w 3028950"/>
              <a:gd name="connsiteY3" fmla="*/ 2047875 h 2054038"/>
              <a:gd name="connsiteX4" fmla="*/ 949325 w 3028950"/>
              <a:gd name="connsiteY4" fmla="*/ 1673225 h 2054038"/>
              <a:gd name="connsiteX5" fmla="*/ 0 w 3028950"/>
              <a:gd name="connsiteY5" fmla="*/ 0 h 2054038"/>
              <a:gd name="connsiteX0" fmla="*/ 0 w 3028950"/>
              <a:gd name="connsiteY0" fmla="*/ 0 h 2047952"/>
              <a:gd name="connsiteX1" fmla="*/ 3028950 w 3028950"/>
              <a:gd name="connsiteY1" fmla="*/ 0 h 2047952"/>
              <a:gd name="connsiteX2" fmla="*/ 2076450 w 3028950"/>
              <a:gd name="connsiteY2" fmla="*/ 1673225 h 2047952"/>
              <a:gd name="connsiteX3" fmla="*/ 1511300 w 3028950"/>
              <a:gd name="connsiteY3" fmla="*/ 2047875 h 2047952"/>
              <a:gd name="connsiteX4" fmla="*/ 949325 w 3028950"/>
              <a:gd name="connsiteY4" fmla="*/ 1673225 h 2047952"/>
              <a:gd name="connsiteX5" fmla="*/ 0 w 3028950"/>
              <a:gd name="connsiteY5" fmla="*/ 0 h 2047952"/>
              <a:gd name="connsiteX0" fmla="*/ 0 w 3028950"/>
              <a:gd name="connsiteY0" fmla="*/ 0 h 2047875"/>
              <a:gd name="connsiteX1" fmla="*/ 3028950 w 3028950"/>
              <a:gd name="connsiteY1" fmla="*/ 0 h 2047875"/>
              <a:gd name="connsiteX2" fmla="*/ 2076450 w 3028950"/>
              <a:gd name="connsiteY2" fmla="*/ 1673225 h 2047875"/>
              <a:gd name="connsiteX3" fmla="*/ 1511300 w 3028950"/>
              <a:gd name="connsiteY3" fmla="*/ 2047875 h 2047875"/>
              <a:gd name="connsiteX4" fmla="*/ 949325 w 3028950"/>
              <a:gd name="connsiteY4" fmla="*/ 1673225 h 2047875"/>
              <a:gd name="connsiteX5" fmla="*/ 0 w 3028950"/>
              <a:gd name="connsiteY5" fmla="*/ 0 h 2047875"/>
              <a:gd name="connsiteX0" fmla="*/ 0 w 3028950"/>
              <a:gd name="connsiteY0" fmla="*/ 0 h 2047952"/>
              <a:gd name="connsiteX1" fmla="*/ 3028950 w 3028950"/>
              <a:gd name="connsiteY1" fmla="*/ 0 h 2047952"/>
              <a:gd name="connsiteX2" fmla="*/ 2076450 w 3028950"/>
              <a:gd name="connsiteY2" fmla="*/ 1673225 h 2047952"/>
              <a:gd name="connsiteX3" fmla="*/ 1511300 w 3028950"/>
              <a:gd name="connsiteY3" fmla="*/ 2047875 h 2047952"/>
              <a:gd name="connsiteX4" fmla="*/ 949325 w 3028950"/>
              <a:gd name="connsiteY4" fmla="*/ 1673225 h 2047952"/>
              <a:gd name="connsiteX5" fmla="*/ 0 w 3028950"/>
              <a:gd name="connsiteY5" fmla="*/ 0 h 2047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28950" h="2047952">
                <a:moveTo>
                  <a:pt x="0" y="0"/>
                </a:moveTo>
                <a:lnTo>
                  <a:pt x="3028950" y="0"/>
                </a:lnTo>
                <a:cubicBezTo>
                  <a:pt x="2638425" y="856721"/>
                  <a:pt x="2329392" y="1331913"/>
                  <a:pt x="2076450" y="1673225"/>
                </a:cubicBezTo>
                <a:cubicBezTo>
                  <a:pt x="1823508" y="2014537"/>
                  <a:pt x="1694392" y="2044700"/>
                  <a:pt x="1511300" y="2047875"/>
                </a:cubicBezTo>
                <a:cubicBezTo>
                  <a:pt x="1328208" y="2051050"/>
                  <a:pt x="1140883" y="1957388"/>
                  <a:pt x="949325" y="1673225"/>
                </a:cubicBezTo>
                <a:cubicBezTo>
                  <a:pt x="757767" y="1389062"/>
                  <a:pt x="318558" y="748242"/>
                  <a:pt x="0" y="0"/>
                </a:cubicBezTo>
                <a:close/>
              </a:path>
            </a:pathLst>
          </a:custGeom>
          <a:blipFill dpi="0"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28000" t="-19000" r="1000"/>
            </a:stretch>
          </a:blipFill>
          <a:ln w="12700">
            <a:noFill/>
          </a:ln>
        </p:spPr>
        <p:txBody>
          <a:bodyPr anchor="ctr"/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C76825C-3504-A641-97DA-5A09BA346A2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5800" y="903202"/>
            <a:ext cx="2013315" cy="1144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85467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_SIGMA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B33B9191-53B8-4819-81D2-79C6E924A734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5557680" y="1165497"/>
            <a:ext cx="6217760" cy="539801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FFCB06"/>
              </a:buClr>
              <a:defRPr sz="2133"/>
            </a:lvl1pPr>
            <a:lvl2pPr>
              <a:buClr>
                <a:srgbClr val="FFCB06"/>
              </a:buClr>
              <a:defRPr sz="2133"/>
            </a:lvl2pPr>
            <a:lvl3pPr>
              <a:buClr>
                <a:srgbClr val="FFCB06"/>
              </a:buClr>
              <a:defRPr sz="2133"/>
            </a:lvl3pPr>
            <a:lvl4pPr>
              <a:buClr>
                <a:srgbClr val="FFCB06"/>
              </a:buClr>
              <a:defRPr sz="2133"/>
            </a:lvl4pPr>
            <a:lvl5pPr>
              <a:buClr>
                <a:srgbClr val="FFCB06"/>
              </a:buClr>
              <a:defRPr sz="2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_tradnl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0" y="1"/>
            <a:ext cx="5384800" cy="65635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37FF97A-7FE6-48FF-8101-7968F743C3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7680" y="134400"/>
            <a:ext cx="6217760" cy="85440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2933"/>
            </a:lvl1pPr>
          </a:lstStyle>
          <a:p>
            <a:r>
              <a:rPr lang="en-US"/>
              <a:t>Click to edit Master title style</a:t>
            </a:r>
            <a:endParaRPr lang="es-ES_tradnl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32908A2-9720-4AC1-B1CC-542F05E66800}"/>
              </a:ext>
            </a:extLst>
          </p:cNvPr>
          <p:cNvSpPr/>
          <p:nvPr/>
        </p:nvSpPr>
        <p:spPr>
          <a:xfrm>
            <a:off x="5679657" y="984862"/>
            <a:ext cx="1199984" cy="93953"/>
          </a:xfrm>
          <a:prstGeom prst="rect">
            <a:avLst/>
          </a:prstGeom>
          <a:solidFill>
            <a:srgbClr val="D50032"/>
          </a:solidFill>
          <a:ln w="2857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20" name="Slide Number Placeholder 4">
            <a:extLst>
              <a:ext uri="{FF2B5EF4-FFF2-40B4-BE49-F238E27FC236}">
                <a16:creationId xmlns:a16="http://schemas.microsoft.com/office/drawing/2014/main" id="{3D378D0D-A172-42A9-AB9A-3B99C91FDA2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670509" y="1"/>
            <a:ext cx="520579" cy="366183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tx1"/>
                </a:solidFill>
              </a:defRPr>
            </a:lvl1pPr>
          </a:lstStyle>
          <a:p>
            <a:fld id="{95E63616-A2E2-49CD-8B48-1F006743AC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C14B99C-F070-40E2-A3F9-6FB67C8958AB}"/>
              </a:ext>
            </a:extLst>
          </p:cNvPr>
          <p:cNvSpPr/>
          <p:nvPr/>
        </p:nvSpPr>
        <p:spPr>
          <a:xfrm>
            <a:off x="0" y="6762804"/>
            <a:ext cx="12192000" cy="106704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240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0DD04B1-7B01-4AF9-9C2E-FF5D8DA6B8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79657" y="6377611"/>
            <a:ext cx="585267" cy="341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044478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SIGMA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5600" y="134400"/>
            <a:ext cx="6217760" cy="85440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2933"/>
            </a:lvl1pPr>
          </a:lstStyle>
          <a:p>
            <a:r>
              <a:rPr lang="en-US"/>
              <a:t>Click to edit Master title style</a:t>
            </a:r>
            <a:endParaRPr lang="es-ES_tradnl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807200" y="1"/>
            <a:ext cx="5384800" cy="67628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75930924-C575-403B-AFA4-400B78B341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5600" y="1165495"/>
            <a:ext cx="6217760" cy="535710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FFCB06"/>
              </a:buClr>
              <a:defRPr sz="2133"/>
            </a:lvl1pPr>
            <a:lvl2pPr>
              <a:buClr>
                <a:srgbClr val="FFCB06"/>
              </a:buClr>
              <a:defRPr sz="2133"/>
            </a:lvl2pPr>
            <a:lvl3pPr>
              <a:buClr>
                <a:srgbClr val="FFCB06"/>
              </a:buClr>
              <a:defRPr sz="2133"/>
            </a:lvl3pPr>
            <a:lvl4pPr>
              <a:buClr>
                <a:srgbClr val="FFCB06"/>
              </a:buClr>
              <a:defRPr sz="2133"/>
            </a:lvl4pPr>
            <a:lvl5pPr>
              <a:buClr>
                <a:srgbClr val="FFCB06"/>
              </a:buClr>
              <a:defRPr sz="2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_tradnl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E1A05B2-67A4-41C5-BCAF-5D585232B01D}"/>
              </a:ext>
            </a:extLst>
          </p:cNvPr>
          <p:cNvSpPr/>
          <p:nvPr/>
        </p:nvSpPr>
        <p:spPr>
          <a:xfrm>
            <a:off x="0" y="6762804"/>
            <a:ext cx="12192000" cy="106704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2400"/>
          </a:p>
        </p:txBody>
      </p:sp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D8921898-DF4A-4A44-927F-65402700D2A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669003" y="1"/>
            <a:ext cx="520579" cy="366183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</a:defRPr>
            </a:lvl1pPr>
          </a:lstStyle>
          <a:p>
            <a:fld id="{95E63616-A2E2-49CD-8B48-1F006743AC2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CA57C07-1912-40AC-B31B-8185F468FC93}"/>
              </a:ext>
            </a:extLst>
          </p:cNvPr>
          <p:cNvSpPr/>
          <p:nvPr/>
        </p:nvSpPr>
        <p:spPr>
          <a:xfrm>
            <a:off x="467577" y="990641"/>
            <a:ext cx="1199984" cy="93953"/>
          </a:xfrm>
          <a:prstGeom prst="rect">
            <a:avLst/>
          </a:prstGeom>
          <a:solidFill>
            <a:srgbClr val="D50032"/>
          </a:solidFill>
          <a:ln w="2857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439DAE3-671A-4A17-9076-D27285CAD7D7}"/>
              </a:ext>
            </a:extLst>
          </p:cNvPr>
          <p:cNvGrpSpPr>
            <a:grpSpLocks noChangeAspect="1"/>
          </p:cNvGrpSpPr>
          <p:nvPr/>
        </p:nvGrpSpPr>
        <p:grpSpPr>
          <a:xfrm>
            <a:off x="11470709" y="6377611"/>
            <a:ext cx="589936" cy="336000"/>
            <a:chOff x="1188944" y="2513316"/>
            <a:chExt cx="1814513" cy="1033463"/>
          </a:xfrm>
          <a:solidFill>
            <a:schemeClr val="bg1"/>
          </a:solidFill>
        </p:grpSpPr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63CDB941-AFA6-4656-96D0-668E1EFB3E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54942" y="2833656"/>
              <a:ext cx="1448515" cy="713123"/>
            </a:xfrm>
            <a:custGeom>
              <a:avLst/>
              <a:gdLst>
                <a:gd name="T0" fmla="*/ 2937 w 3463"/>
                <a:gd name="T1" fmla="*/ 123 h 1703"/>
                <a:gd name="T2" fmla="*/ 2655 w 3463"/>
                <a:gd name="T3" fmla="*/ 476 h 1703"/>
                <a:gd name="T4" fmla="*/ 2529 w 3463"/>
                <a:gd name="T5" fmla="*/ 752 h 1703"/>
                <a:gd name="T6" fmla="*/ 2571 w 3463"/>
                <a:gd name="T7" fmla="*/ 266 h 1703"/>
                <a:gd name="T8" fmla="*/ 2529 w 3463"/>
                <a:gd name="T9" fmla="*/ 44 h 1703"/>
                <a:gd name="T10" fmla="*/ 2296 w 3463"/>
                <a:gd name="T11" fmla="*/ 64 h 1703"/>
                <a:gd name="T12" fmla="*/ 2102 w 3463"/>
                <a:gd name="T13" fmla="*/ 101 h 1703"/>
                <a:gd name="T14" fmla="*/ 1962 w 3463"/>
                <a:gd name="T15" fmla="*/ 15 h 1703"/>
                <a:gd name="T16" fmla="*/ 1673 w 3463"/>
                <a:gd name="T17" fmla="*/ 210 h 1703"/>
                <a:gd name="T18" fmla="*/ 1605 w 3463"/>
                <a:gd name="T19" fmla="*/ 37 h 1703"/>
                <a:gd name="T20" fmla="*/ 1447 w 3463"/>
                <a:gd name="T21" fmla="*/ 60 h 1703"/>
                <a:gd name="T22" fmla="*/ 1235 w 3463"/>
                <a:gd name="T23" fmla="*/ 79 h 1703"/>
                <a:gd name="T24" fmla="*/ 1019 w 3463"/>
                <a:gd name="T25" fmla="*/ 31 h 1703"/>
                <a:gd name="T26" fmla="*/ 703 w 3463"/>
                <a:gd name="T27" fmla="*/ 139 h 1703"/>
                <a:gd name="T28" fmla="*/ 437 w 3463"/>
                <a:gd name="T29" fmla="*/ 471 h 1703"/>
                <a:gd name="T30" fmla="*/ 271 w 3463"/>
                <a:gd name="T31" fmla="*/ 734 h 1703"/>
                <a:gd name="T32" fmla="*/ 307 w 3463"/>
                <a:gd name="T33" fmla="*/ 221 h 1703"/>
                <a:gd name="T34" fmla="*/ 261 w 3463"/>
                <a:gd name="T35" fmla="*/ 17 h 1703"/>
                <a:gd name="T36" fmla="*/ 105 w 3463"/>
                <a:gd name="T37" fmla="*/ 30 h 1703"/>
                <a:gd name="T38" fmla="*/ 21 w 3463"/>
                <a:gd name="T39" fmla="*/ 927 h 1703"/>
                <a:gd name="T40" fmla="*/ 185 w 3463"/>
                <a:gd name="T41" fmla="*/ 961 h 1703"/>
                <a:gd name="T42" fmla="*/ 393 w 3463"/>
                <a:gd name="T43" fmla="*/ 839 h 1703"/>
                <a:gd name="T44" fmla="*/ 223 w 3463"/>
                <a:gd name="T45" fmla="*/ 1153 h 1703"/>
                <a:gd name="T46" fmla="*/ 140 w 3463"/>
                <a:gd name="T47" fmla="*/ 1447 h 1703"/>
                <a:gd name="T48" fmla="*/ 283 w 3463"/>
                <a:gd name="T49" fmla="*/ 1659 h 1703"/>
                <a:gd name="T50" fmla="*/ 629 w 3463"/>
                <a:gd name="T51" fmla="*/ 1676 h 1703"/>
                <a:gd name="T52" fmla="*/ 963 w 3463"/>
                <a:gd name="T53" fmla="*/ 1455 h 1703"/>
                <a:gd name="T54" fmla="*/ 1128 w 3463"/>
                <a:gd name="T55" fmla="*/ 1112 h 1703"/>
                <a:gd name="T56" fmla="*/ 1403 w 3463"/>
                <a:gd name="T57" fmla="*/ 251 h 1703"/>
                <a:gd name="T58" fmla="*/ 1401 w 3463"/>
                <a:gd name="T59" fmla="*/ 955 h 1703"/>
                <a:gd name="T60" fmla="*/ 1556 w 3463"/>
                <a:gd name="T61" fmla="*/ 963 h 1703"/>
                <a:gd name="T62" fmla="*/ 1633 w 3463"/>
                <a:gd name="T63" fmla="*/ 552 h 1703"/>
                <a:gd name="T64" fmla="*/ 1846 w 3463"/>
                <a:gd name="T65" fmla="*/ 233 h 1703"/>
                <a:gd name="T66" fmla="*/ 1874 w 3463"/>
                <a:gd name="T67" fmla="*/ 338 h 1703"/>
                <a:gd name="T68" fmla="*/ 1867 w 3463"/>
                <a:gd name="T69" fmla="*/ 962 h 1703"/>
                <a:gd name="T70" fmla="*/ 2040 w 3463"/>
                <a:gd name="T71" fmla="*/ 947 h 1703"/>
                <a:gd name="T72" fmla="*/ 2125 w 3463"/>
                <a:gd name="T73" fmla="*/ 476 h 1703"/>
                <a:gd name="T74" fmla="*/ 2330 w 3463"/>
                <a:gd name="T75" fmla="*/ 229 h 1703"/>
                <a:gd name="T76" fmla="*/ 2278 w 3463"/>
                <a:gd name="T77" fmla="*/ 756 h 1703"/>
                <a:gd name="T78" fmla="*/ 2335 w 3463"/>
                <a:gd name="T79" fmla="*/ 975 h 1703"/>
                <a:gd name="T80" fmla="*/ 2562 w 3463"/>
                <a:gd name="T81" fmla="*/ 909 h 1703"/>
                <a:gd name="T82" fmla="*/ 2691 w 3463"/>
                <a:gd name="T83" fmla="*/ 966 h 1703"/>
                <a:gd name="T84" fmla="*/ 2940 w 3463"/>
                <a:gd name="T85" fmla="*/ 936 h 1703"/>
                <a:gd name="T86" fmla="*/ 3135 w 3463"/>
                <a:gd name="T87" fmla="*/ 907 h 1703"/>
                <a:gd name="T88" fmla="*/ 3243 w 3463"/>
                <a:gd name="T89" fmla="*/ 991 h 1703"/>
                <a:gd name="T90" fmla="*/ 3351 w 3463"/>
                <a:gd name="T91" fmla="*/ 889 h 1703"/>
                <a:gd name="T92" fmla="*/ 3452 w 3463"/>
                <a:gd name="T93" fmla="*/ 82 h 1703"/>
                <a:gd name="T94" fmla="*/ 917 w 3463"/>
                <a:gd name="T95" fmla="*/ 950 h 1703"/>
                <a:gd name="T96" fmla="*/ 791 w 3463"/>
                <a:gd name="T97" fmla="*/ 1460 h 1703"/>
                <a:gd name="T98" fmla="*/ 565 w 3463"/>
                <a:gd name="T99" fmla="*/ 1554 h 1703"/>
                <a:gd name="T100" fmla="*/ 373 w 3463"/>
                <a:gd name="T101" fmla="*/ 1411 h 1703"/>
                <a:gd name="T102" fmla="*/ 461 w 3463"/>
                <a:gd name="T103" fmla="*/ 1066 h 1703"/>
                <a:gd name="T104" fmla="*/ 738 w 3463"/>
                <a:gd name="T105" fmla="*/ 916 h 1703"/>
                <a:gd name="T106" fmla="*/ 950 w 3463"/>
                <a:gd name="T107" fmla="*/ 445 h 1703"/>
                <a:gd name="T108" fmla="*/ 703 w 3463"/>
                <a:gd name="T109" fmla="*/ 743 h 1703"/>
                <a:gd name="T110" fmla="*/ 630 w 3463"/>
                <a:gd name="T111" fmla="*/ 641 h 1703"/>
                <a:gd name="T112" fmla="*/ 748 w 3463"/>
                <a:gd name="T113" fmla="*/ 291 h 1703"/>
                <a:gd name="T114" fmla="*/ 998 w 3463"/>
                <a:gd name="T115" fmla="*/ 229 h 1703"/>
                <a:gd name="T116" fmla="*/ 3056 w 3463"/>
                <a:gd name="T117" fmla="*/ 628 h 1703"/>
                <a:gd name="T118" fmla="*/ 2862 w 3463"/>
                <a:gd name="T119" fmla="*/ 759 h 1703"/>
                <a:gd name="T120" fmla="*/ 2896 w 3463"/>
                <a:gd name="T121" fmla="*/ 416 h 1703"/>
                <a:gd name="T122" fmla="*/ 3071 w 3463"/>
                <a:gd name="T123" fmla="*/ 214 h 1703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463"/>
                <a:gd name="T187" fmla="*/ 0 h 1703"/>
                <a:gd name="T188" fmla="*/ 3463 w 3463"/>
                <a:gd name="T189" fmla="*/ 1703 h 1703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463" h="1703">
                  <a:moveTo>
                    <a:pt x="3244" y="27"/>
                  </a:moveTo>
                  <a:lnTo>
                    <a:pt x="3228" y="28"/>
                  </a:lnTo>
                  <a:lnTo>
                    <a:pt x="3212" y="29"/>
                  </a:lnTo>
                  <a:lnTo>
                    <a:pt x="3197" y="30"/>
                  </a:lnTo>
                  <a:lnTo>
                    <a:pt x="3181" y="32"/>
                  </a:lnTo>
                  <a:lnTo>
                    <a:pt x="3166" y="34"/>
                  </a:lnTo>
                  <a:lnTo>
                    <a:pt x="3151" y="37"/>
                  </a:lnTo>
                  <a:lnTo>
                    <a:pt x="3135" y="40"/>
                  </a:lnTo>
                  <a:lnTo>
                    <a:pt x="3120" y="43"/>
                  </a:lnTo>
                  <a:lnTo>
                    <a:pt x="3106" y="47"/>
                  </a:lnTo>
                  <a:lnTo>
                    <a:pt x="3091" y="51"/>
                  </a:lnTo>
                  <a:lnTo>
                    <a:pt x="3076" y="55"/>
                  </a:lnTo>
                  <a:lnTo>
                    <a:pt x="3062" y="60"/>
                  </a:lnTo>
                  <a:lnTo>
                    <a:pt x="3033" y="71"/>
                  </a:lnTo>
                  <a:lnTo>
                    <a:pt x="3019" y="78"/>
                  </a:lnTo>
                  <a:lnTo>
                    <a:pt x="3005" y="84"/>
                  </a:lnTo>
                  <a:lnTo>
                    <a:pt x="2991" y="91"/>
                  </a:lnTo>
                  <a:lnTo>
                    <a:pt x="2977" y="98"/>
                  </a:lnTo>
                  <a:lnTo>
                    <a:pt x="2950" y="114"/>
                  </a:lnTo>
                  <a:lnTo>
                    <a:pt x="2937" y="123"/>
                  </a:lnTo>
                  <a:lnTo>
                    <a:pt x="2924" y="132"/>
                  </a:lnTo>
                  <a:lnTo>
                    <a:pt x="2911" y="141"/>
                  </a:lnTo>
                  <a:lnTo>
                    <a:pt x="2898" y="150"/>
                  </a:lnTo>
                  <a:lnTo>
                    <a:pt x="2885" y="160"/>
                  </a:lnTo>
                  <a:lnTo>
                    <a:pt x="2873" y="171"/>
                  </a:lnTo>
                  <a:lnTo>
                    <a:pt x="2848" y="193"/>
                  </a:lnTo>
                  <a:lnTo>
                    <a:pt x="2836" y="205"/>
                  </a:lnTo>
                  <a:lnTo>
                    <a:pt x="2824" y="217"/>
                  </a:lnTo>
                  <a:lnTo>
                    <a:pt x="2800" y="242"/>
                  </a:lnTo>
                  <a:lnTo>
                    <a:pt x="2783" y="261"/>
                  </a:lnTo>
                  <a:lnTo>
                    <a:pt x="2767" y="281"/>
                  </a:lnTo>
                  <a:lnTo>
                    <a:pt x="2751" y="302"/>
                  </a:lnTo>
                  <a:lnTo>
                    <a:pt x="2737" y="322"/>
                  </a:lnTo>
                  <a:lnTo>
                    <a:pt x="2722" y="343"/>
                  </a:lnTo>
                  <a:lnTo>
                    <a:pt x="2709" y="364"/>
                  </a:lnTo>
                  <a:lnTo>
                    <a:pt x="2696" y="386"/>
                  </a:lnTo>
                  <a:lnTo>
                    <a:pt x="2685" y="408"/>
                  </a:lnTo>
                  <a:lnTo>
                    <a:pt x="2674" y="430"/>
                  </a:lnTo>
                  <a:lnTo>
                    <a:pt x="2664" y="453"/>
                  </a:lnTo>
                  <a:lnTo>
                    <a:pt x="2655" y="476"/>
                  </a:lnTo>
                  <a:lnTo>
                    <a:pt x="2647" y="499"/>
                  </a:lnTo>
                  <a:lnTo>
                    <a:pt x="2643" y="511"/>
                  </a:lnTo>
                  <a:lnTo>
                    <a:pt x="2639" y="523"/>
                  </a:lnTo>
                  <a:lnTo>
                    <a:pt x="2632" y="547"/>
                  </a:lnTo>
                  <a:lnTo>
                    <a:pt x="2627" y="571"/>
                  </a:lnTo>
                  <a:lnTo>
                    <a:pt x="2621" y="596"/>
                  </a:lnTo>
                  <a:lnTo>
                    <a:pt x="2618" y="608"/>
                  </a:lnTo>
                  <a:lnTo>
                    <a:pt x="2612" y="625"/>
                  </a:lnTo>
                  <a:lnTo>
                    <a:pt x="2604" y="645"/>
                  </a:lnTo>
                  <a:lnTo>
                    <a:pt x="2600" y="656"/>
                  </a:lnTo>
                  <a:lnTo>
                    <a:pt x="2594" y="667"/>
                  </a:lnTo>
                  <a:lnTo>
                    <a:pt x="2588" y="678"/>
                  </a:lnTo>
                  <a:lnTo>
                    <a:pt x="2582" y="690"/>
                  </a:lnTo>
                  <a:lnTo>
                    <a:pt x="2575" y="701"/>
                  </a:lnTo>
                  <a:lnTo>
                    <a:pt x="2567" y="712"/>
                  </a:lnTo>
                  <a:lnTo>
                    <a:pt x="2558" y="723"/>
                  </a:lnTo>
                  <a:lnTo>
                    <a:pt x="2549" y="734"/>
                  </a:lnTo>
                  <a:lnTo>
                    <a:pt x="2544" y="739"/>
                  </a:lnTo>
                  <a:lnTo>
                    <a:pt x="2539" y="743"/>
                  </a:lnTo>
                  <a:lnTo>
                    <a:pt x="2529" y="752"/>
                  </a:lnTo>
                  <a:lnTo>
                    <a:pt x="2525" y="755"/>
                  </a:lnTo>
                  <a:lnTo>
                    <a:pt x="2522" y="757"/>
                  </a:lnTo>
                  <a:lnTo>
                    <a:pt x="2520" y="758"/>
                  </a:lnTo>
                  <a:lnTo>
                    <a:pt x="2517" y="759"/>
                  </a:lnTo>
                  <a:lnTo>
                    <a:pt x="2515" y="759"/>
                  </a:lnTo>
                  <a:lnTo>
                    <a:pt x="2513" y="759"/>
                  </a:lnTo>
                  <a:lnTo>
                    <a:pt x="2512" y="759"/>
                  </a:lnTo>
                  <a:lnTo>
                    <a:pt x="2510" y="758"/>
                  </a:lnTo>
                  <a:lnTo>
                    <a:pt x="2508" y="756"/>
                  </a:lnTo>
                  <a:lnTo>
                    <a:pt x="2507" y="754"/>
                  </a:lnTo>
                  <a:lnTo>
                    <a:pt x="2506" y="751"/>
                  </a:lnTo>
                  <a:lnTo>
                    <a:pt x="2506" y="748"/>
                  </a:lnTo>
                  <a:lnTo>
                    <a:pt x="2505" y="738"/>
                  </a:lnTo>
                  <a:lnTo>
                    <a:pt x="2506" y="729"/>
                  </a:lnTo>
                  <a:lnTo>
                    <a:pt x="2509" y="711"/>
                  </a:lnTo>
                  <a:lnTo>
                    <a:pt x="2516" y="658"/>
                  </a:lnTo>
                  <a:lnTo>
                    <a:pt x="2537" y="508"/>
                  </a:lnTo>
                  <a:lnTo>
                    <a:pt x="2566" y="300"/>
                  </a:lnTo>
                  <a:lnTo>
                    <a:pt x="2569" y="283"/>
                  </a:lnTo>
                  <a:lnTo>
                    <a:pt x="2571" y="266"/>
                  </a:lnTo>
                  <a:lnTo>
                    <a:pt x="2574" y="234"/>
                  </a:lnTo>
                  <a:lnTo>
                    <a:pt x="2576" y="218"/>
                  </a:lnTo>
                  <a:lnTo>
                    <a:pt x="2576" y="204"/>
                  </a:lnTo>
                  <a:lnTo>
                    <a:pt x="2577" y="176"/>
                  </a:lnTo>
                  <a:lnTo>
                    <a:pt x="2577" y="163"/>
                  </a:lnTo>
                  <a:lnTo>
                    <a:pt x="2576" y="150"/>
                  </a:lnTo>
                  <a:lnTo>
                    <a:pt x="2575" y="138"/>
                  </a:lnTo>
                  <a:lnTo>
                    <a:pt x="2573" y="127"/>
                  </a:lnTo>
                  <a:lnTo>
                    <a:pt x="2571" y="117"/>
                  </a:lnTo>
                  <a:lnTo>
                    <a:pt x="2568" y="107"/>
                  </a:lnTo>
                  <a:lnTo>
                    <a:pt x="2565" y="98"/>
                  </a:lnTo>
                  <a:lnTo>
                    <a:pt x="2562" y="89"/>
                  </a:lnTo>
                  <a:lnTo>
                    <a:pt x="2558" y="81"/>
                  </a:lnTo>
                  <a:lnTo>
                    <a:pt x="2554" y="74"/>
                  </a:lnTo>
                  <a:lnTo>
                    <a:pt x="2551" y="70"/>
                  </a:lnTo>
                  <a:lnTo>
                    <a:pt x="2549" y="67"/>
                  </a:lnTo>
                  <a:lnTo>
                    <a:pt x="2545" y="60"/>
                  </a:lnTo>
                  <a:lnTo>
                    <a:pt x="2540" y="55"/>
                  </a:lnTo>
                  <a:lnTo>
                    <a:pt x="2535" y="49"/>
                  </a:lnTo>
                  <a:lnTo>
                    <a:pt x="2529" y="44"/>
                  </a:lnTo>
                  <a:lnTo>
                    <a:pt x="2524" y="40"/>
                  </a:lnTo>
                  <a:lnTo>
                    <a:pt x="2513" y="33"/>
                  </a:lnTo>
                  <a:lnTo>
                    <a:pt x="2507" y="29"/>
                  </a:lnTo>
                  <a:lnTo>
                    <a:pt x="2502" y="27"/>
                  </a:lnTo>
                  <a:lnTo>
                    <a:pt x="2490" y="22"/>
                  </a:lnTo>
                  <a:lnTo>
                    <a:pt x="2479" y="19"/>
                  </a:lnTo>
                  <a:lnTo>
                    <a:pt x="2468" y="16"/>
                  </a:lnTo>
                  <a:lnTo>
                    <a:pt x="2458" y="15"/>
                  </a:lnTo>
                  <a:lnTo>
                    <a:pt x="2448" y="14"/>
                  </a:lnTo>
                  <a:lnTo>
                    <a:pt x="2440" y="14"/>
                  </a:lnTo>
                  <a:lnTo>
                    <a:pt x="2426" y="14"/>
                  </a:lnTo>
                  <a:lnTo>
                    <a:pt x="2412" y="16"/>
                  </a:lnTo>
                  <a:lnTo>
                    <a:pt x="2398" y="18"/>
                  </a:lnTo>
                  <a:lnTo>
                    <a:pt x="2384" y="22"/>
                  </a:lnTo>
                  <a:lnTo>
                    <a:pt x="2370" y="26"/>
                  </a:lnTo>
                  <a:lnTo>
                    <a:pt x="2355" y="32"/>
                  </a:lnTo>
                  <a:lnTo>
                    <a:pt x="2340" y="38"/>
                  </a:lnTo>
                  <a:lnTo>
                    <a:pt x="2326" y="46"/>
                  </a:lnTo>
                  <a:lnTo>
                    <a:pt x="2311" y="54"/>
                  </a:lnTo>
                  <a:lnTo>
                    <a:pt x="2296" y="64"/>
                  </a:lnTo>
                  <a:lnTo>
                    <a:pt x="2280" y="74"/>
                  </a:lnTo>
                  <a:lnTo>
                    <a:pt x="2265" y="86"/>
                  </a:lnTo>
                  <a:lnTo>
                    <a:pt x="2249" y="98"/>
                  </a:lnTo>
                  <a:lnTo>
                    <a:pt x="2234" y="112"/>
                  </a:lnTo>
                  <a:lnTo>
                    <a:pt x="2218" y="126"/>
                  </a:lnTo>
                  <a:lnTo>
                    <a:pt x="2202" y="142"/>
                  </a:lnTo>
                  <a:lnTo>
                    <a:pt x="2189" y="155"/>
                  </a:lnTo>
                  <a:lnTo>
                    <a:pt x="2177" y="168"/>
                  </a:lnTo>
                  <a:lnTo>
                    <a:pt x="2165" y="181"/>
                  </a:lnTo>
                  <a:lnTo>
                    <a:pt x="2153" y="195"/>
                  </a:lnTo>
                  <a:lnTo>
                    <a:pt x="2130" y="224"/>
                  </a:lnTo>
                  <a:lnTo>
                    <a:pt x="2108" y="253"/>
                  </a:lnTo>
                  <a:lnTo>
                    <a:pt x="2113" y="182"/>
                  </a:lnTo>
                  <a:lnTo>
                    <a:pt x="2113" y="168"/>
                  </a:lnTo>
                  <a:lnTo>
                    <a:pt x="2112" y="155"/>
                  </a:lnTo>
                  <a:lnTo>
                    <a:pt x="2111" y="143"/>
                  </a:lnTo>
                  <a:lnTo>
                    <a:pt x="2109" y="131"/>
                  </a:lnTo>
                  <a:lnTo>
                    <a:pt x="2107" y="120"/>
                  </a:lnTo>
                  <a:lnTo>
                    <a:pt x="2105" y="110"/>
                  </a:lnTo>
                  <a:lnTo>
                    <a:pt x="2102" y="101"/>
                  </a:lnTo>
                  <a:lnTo>
                    <a:pt x="2098" y="92"/>
                  </a:lnTo>
                  <a:lnTo>
                    <a:pt x="2095" y="83"/>
                  </a:lnTo>
                  <a:lnTo>
                    <a:pt x="2091" y="76"/>
                  </a:lnTo>
                  <a:lnTo>
                    <a:pt x="2087" y="69"/>
                  </a:lnTo>
                  <a:lnTo>
                    <a:pt x="2082" y="62"/>
                  </a:lnTo>
                  <a:lnTo>
                    <a:pt x="2078" y="56"/>
                  </a:lnTo>
                  <a:lnTo>
                    <a:pt x="2073" y="51"/>
                  </a:lnTo>
                  <a:lnTo>
                    <a:pt x="2068" y="46"/>
                  </a:lnTo>
                  <a:lnTo>
                    <a:pt x="2062" y="41"/>
                  </a:lnTo>
                  <a:lnTo>
                    <a:pt x="2057" y="37"/>
                  </a:lnTo>
                  <a:lnTo>
                    <a:pt x="2052" y="33"/>
                  </a:lnTo>
                  <a:lnTo>
                    <a:pt x="2041" y="27"/>
                  </a:lnTo>
                  <a:lnTo>
                    <a:pt x="2035" y="24"/>
                  </a:lnTo>
                  <a:lnTo>
                    <a:pt x="2030" y="22"/>
                  </a:lnTo>
                  <a:lnTo>
                    <a:pt x="2019" y="19"/>
                  </a:lnTo>
                  <a:lnTo>
                    <a:pt x="2009" y="16"/>
                  </a:lnTo>
                  <a:lnTo>
                    <a:pt x="1999" y="15"/>
                  </a:lnTo>
                  <a:lnTo>
                    <a:pt x="1990" y="14"/>
                  </a:lnTo>
                  <a:lnTo>
                    <a:pt x="1982" y="14"/>
                  </a:lnTo>
                  <a:lnTo>
                    <a:pt x="1962" y="15"/>
                  </a:lnTo>
                  <a:lnTo>
                    <a:pt x="1952" y="16"/>
                  </a:lnTo>
                  <a:lnTo>
                    <a:pt x="1941" y="17"/>
                  </a:lnTo>
                  <a:lnTo>
                    <a:pt x="1931" y="19"/>
                  </a:lnTo>
                  <a:lnTo>
                    <a:pt x="1921" y="22"/>
                  </a:lnTo>
                  <a:lnTo>
                    <a:pt x="1901" y="28"/>
                  </a:lnTo>
                  <a:lnTo>
                    <a:pt x="1891" y="31"/>
                  </a:lnTo>
                  <a:lnTo>
                    <a:pt x="1880" y="36"/>
                  </a:lnTo>
                  <a:lnTo>
                    <a:pt x="1870" y="40"/>
                  </a:lnTo>
                  <a:lnTo>
                    <a:pt x="1860" y="45"/>
                  </a:lnTo>
                  <a:lnTo>
                    <a:pt x="1839" y="57"/>
                  </a:lnTo>
                  <a:lnTo>
                    <a:pt x="1819" y="70"/>
                  </a:lnTo>
                  <a:lnTo>
                    <a:pt x="1798" y="85"/>
                  </a:lnTo>
                  <a:lnTo>
                    <a:pt x="1778" y="101"/>
                  </a:lnTo>
                  <a:lnTo>
                    <a:pt x="1767" y="110"/>
                  </a:lnTo>
                  <a:lnTo>
                    <a:pt x="1757" y="119"/>
                  </a:lnTo>
                  <a:lnTo>
                    <a:pt x="1746" y="129"/>
                  </a:lnTo>
                  <a:lnTo>
                    <a:pt x="1736" y="140"/>
                  </a:lnTo>
                  <a:lnTo>
                    <a:pt x="1715" y="161"/>
                  </a:lnTo>
                  <a:lnTo>
                    <a:pt x="1694" y="185"/>
                  </a:lnTo>
                  <a:lnTo>
                    <a:pt x="1673" y="210"/>
                  </a:lnTo>
                  <a:lnTo>
                    <a:pt x="1662" y="224"/>
                  </a:lnTo>
                  <a:lnTo>
                    <a:pt x="1651" y="238"/>
                  </a:lnTo>
                  <a:lnTo>
                    <a:pt x="1652" y="232"/>
                  </a:lnTo>
                  <a:lnTo>
                    <a:pt x="1657" y="160"/>
                  </a:lnTo>
                  <a:lnTo>
                    <a:pt x="1656" y="148"/>
                  </a:lnTo>
                  <a:lnTo>
                    <a:pt x="1656" y="136"/>
                  </a:lnTo>
                  <a:lnTo>
                    <a:pt x="1654" y="125"/>
                  </a:lnTo>
                  <a:lnTo>
                    <a:pt x="1653" y="115"/>
                  </a:lnTo>
                  <a:lnTo>
                    <a:pt x="1650" y="105"/>
                  </a:lnTo>
                  <a:lnTo>
                    <a:pt x="1648" y="96"/>
                  </a:lnTo>
                  <a:lnTo>
                    <a:pt x="1645" y="88"/>
                  </a:lnTo>
                  <a:lnTo>
                    <a:pt x="1641" y="80"/>
                  </a:lnTo>
                  <a:lnTo>
                    <a:pt x="1638" y="73"/>
                  </a:lnTo>
                  <a:lnTo>
                    <a:pt x="1634" y="66"/>
                  </a:lnTo>
                  <a:lnTo>
                    <a:pt x="1629" y="60"/>
                  </a:lnTo>
                  <a:lnTo>
                    <a:pt x="1625" y="55"/>
                  </a:lnTo>
                  <a:lnTo>
                    <a:pt x="1620" y="49"/>
                  </a:lnTo>
                  <a:lnTo>
                    <a:pt x="1615" y="45"/>
                  </a:lnTo>
                  <a:lnTo>
                    <a:pt x="1610" y="41"/>
                  </a:lnTo>
                  <a:lnTo>
                    <a:pt x="1605" y="37"/>
                  </a:lnTo>
                  <a:lnTo>
                    <a:pt x="1600" y="33"/>
                  </a:lnTo>
                  <a:lnTo>
                    <a:pt x="1595" y="30"/>
                  </a:lnTo>
                  <a:lnTo>
                    <a:pt x="1589" y="28"/>
                  </a:lnTo>
                  <a:lnTo>
                    <a:pt x="1584" y="25"/>
                  </a:lnTo>
                  <a:lnTo>
                    <a:pt x="1574" y="22"/>
                  </a:lnTo>
                  <a:lnTo>
                    <a:pt x="1568" y="20"/>
                  </a:lnTo>
                  <a:lnTo>
                    <a:pt x="1563" y="19"/>
                  </a:lnTo>
                  <a:lnTo>
                    <a:pt x="1554" y="17"/>
                  </a:lnTo>
                  <a:lnTo>
                    <a:pt x="1545" y="17"/>
                  </a:lnTo>
                  <a:lnTo>
                    <a:pt x="1531" y="16"/>
                  </a:lnTo>
                  <a:lnTo>
                    <a:pt x="1526" y="17"/>
                  </a:lnTo>
                  <a:lnTo>
                    <a:pt x="1520" y="19"/>
                  </a:lnTo>
                  <a:lnTo>
                    <a:pt x="1514" y="21"/>
                  </a:lnTo>
                  <a:lnTo>
                    <a:pt x="1507" y="24"/>
                  </a:lnTo>
                  <a:lnTo>
                    <a:pt x="1500" y="27"/>
                  </a:lnTo>
                  <a:lnTo>
                    <a:pt x="1492" y="31"/>
                  </a:lnTo>
                  <a:lnTo>
                    <a:pt x="1475" y="41"/>
                  </a:lnTo>
                  <a:lnTo>
                    <a:pt x="1466" y="47"/>
                  </a:lnTo>
                  <a:lnTo>
                    <a:pt x="1456" y="53"/>
                  </a:lnTo>
                  <a:lnTo>
                    <a:pt x="1447" y="60"/>
                  </a:lnTo>
                  <a:lnTo>
                    <a:pt x="1436" y="67"/>
                  </a:lnTo>
                  <a:lnTo>
                    <a:pt x="1416" y="83"/>
                  </a:lnTo>
                  <a:lnTo>
                    <a:pt x="1394" y="100"/>
                  </a:lnTo>
                  <a:lnTo>
                    <a:pt x="1372" y="118"/>
                  </a:lnTo>
                  <a:lnTo>
                    <a:pt x="1349" y="137"/>
                  </a:lnTo>
                  <a:lnTo>
                    <a:pt x="1305" y="177"/>
                  </a:lnTo>
                  <a:lnTo>
                    <a:pt x="1282" y="197"/>
                  </a:lnTo>
                  <a:lnTo>
                    <a:pt x="1261" y="217"/>
                  </a:lnTo>
                  <a:lnTo>
                    <a:pt x="1241" y="236"/>
                  </a:lnTo>
                  <a:lnTo>
                    <a:pt x="1222" y="255"/>
                  </a:lnTo>
                  <a:lnTo>
                    <a:pt x="1239" y="130"/>
                  </a:lnTo>
                  <a:lnTo>
                    <a:pt x="1240" y="123"/>
                  </a:lnTo>
                  <a:lnTo>
                    <a:pt x="1241" y="117"/>
                  </a:lnTo>
                  <a:lnTo>
                    <a:pt x="1241" y="111"/>
                  </a:lnTo>
                  <a:lnTo>
                    <a:pt x="1241" y="105"/>
                  </a:lnTo>
                  <a:lnTo>
                    <a:pt x="1241" y="99"/>
                  </a:lnTo>
                  <a:lnTo>
                    <a:pt x="1240" y="94"/>
                  </a:lnTo>
                  <a:lnTo>
                    <a:pt x="1239" y="89"/>
                  </a:lnTo>
                  <a:lnTo>
                    <a:pt x="1237" y="84"/>
                  </a:lnTo>
                  <a:lnTo>
                    <a:pt x="1235" y="79"/>
                  </a:lnTo>
                  <a:lnTo>
                    <a:pt x="1233" y="75"/>
                  </a:lnTo>
                  <a:lnTo>
                    <a:pt x="1230" y="70"/>
                  </a:lnTo>
                  <a:lnTo>
                    <a:pt x="1226" y="66"/>
                  </a:lnTo>
                  <a:lnTo>
                    <a:pt x="1223" y="62"/>
                  </a:lnTo>
                  <a:lnTo>
                    <a:pt x="1218" y="59"/>
                  </a:lnTo>
                  <a:lnTo>
                    <a:pt x="1213" y="55"/>
                  </a:lnTo>
                  <a:lnTo>
                    <a:pt x="1208" y="52"/>
                  </a:lnTo>
                  <a:lnTo>
                    <a:pt x="1196" y="47"/>
                  </a:lnTo>
                  <a:lnTo>
                    <a:pt x="1190" y="44"/>
                  </a:lnTo>
                  <a:lnTo>
                    <a:pt x="1182" y="42"/>
                  </a:lnTo>
                  <a:lnTo>
                    <a:pt x="1166" y="38"/>
                  </a:lnTo>
                  <a:lnTo>
                    <a:pt x="1148" y="35"/>
                  </a:lnTo>
                  <a:lnTo>
                    <a:pt x="1128" y="32"/>
                  </a:lnTo>
                  <a:lnTo>
                    <a:pt x="1117" y="31"/>
                  </a:lnTo>
                  <a:lnTo>
                    <a:pt x="1105" y="31"/>
                  </a:lnTo>
                  <a:lnTo>
                    <a:pt x="1093" y="30"/>
                  </a:lnTo>
                  <a:lnTo>
                    <a:pt x="1080" y="30"/>
                  </a:lnTo>
                  <a:lnTo>
                    <a:pt x="1052" y="30"/>
                  </a:lnTo>
                  <a:lnTo>
                    <a:pt x="1036" y="30"/>
                  </a:lnTo>
                  <a:lnTo>
                    <a:pt x="1019" y="31"/>
                  </a:lnTo>
                  <a:lnTo>
                    <a:pt x="1003" y="32"/>
                  </a:lnTo>
                  <a:lnTo>
                    <a:pt x="987" y="33"/>
                  </a:lnTo>
                  <a:lnTo>
                    <a:pt x="971" y="35"/>
                  </a:lnTo>
                  <a:lnTo>
                    <a:pt x="955" y="38"/>
                  </a:lnTo>
                  <a:lnTo>
                    <a:pt x="923" y="44"/>
                  </a:lnTo>
                  <a:lnTo>
                    <a:pt x="908" y="47"/>
                  </a:lnTo>
                  <a:lnTo>
                    <a:pt x="892" y="51"/>
                  </a:lnTo>
                  <a:lnTo>
                    <a:pt x="877" y="55"/>
                  </a:lnTo>
                  <a:lnTo>
                    <a:pt x="862" y="60"/>
                  </a:lnTo>
                  <a:lnTo>
                    <a:pt x="847" y="65"/>
                  </a:lnTo>
                  <a:lnTo>
                    <a:pt x="832" y="71"/>
                  </a:lnTo>
                  <a:lnTo>
                    <a:pt x="817" y="77"/>
                  </a:lnTo>
                  <a:lnTo>
                    <a:pt x="802" y="83"/>
                  </a:lnTo>
                  <a:lnTo>
                    <a:pt x="788" y="90"/>
                  </a:lnTo>
                  <a:lnTo>
                    <a:pt x="773" y="97"/>
                  </a:lnTo>
                  <a:lnTo>
                    <a:pt x="759" y="105"/>
                  </a:lnTo>
                  <a:lnTo>
                    <a:pt x="745" y="113"/>
                  </a:lnTo>
                  <a:lnTo>
                    <a:pt x="731" y="121"/>
                  </a:lnTo>
                  <a:lnTo>
                    <a:pt x="717" y="130"/>
                  </a:lnTo>
                  <a:lnTo>
                    <a:pt x="703" y="139"/>
                  </a:lnTo>
                  <a:lnTo>
                    <a:pt x="690" y="149"/>
                  </a:lnTo>
                  <a:lnTo>
                    <a:pt x="676" y="159"/>
                  </a:lnTo>
                  <a:lnTo>
                    <a:pt x="663" y="170"/>
                  </a:lnTo>
                  <a:lnTo>
                    <a:pt x="637" y="192"/>
                  </a:lnTo>
                  <a:lnTo>
                    <a:pt x="624" y="204"/>
                  </a:lnTo>
                  <a:lnTo>
                    <a:pt x="611" y="216"/>
                  </a:lnTo>
                  <a:lnTo>
                    <a:pt x="598" y="228"/>
                  </a:lnTo>
                  <a:lnTo>
                    <a:pt x="586" y="241"/>
                  </a:lnTo>
                  <a:lnTo>
                    <a:pt x="570" y="259"/>
                  </a:lnTo>
                  <a:lnTo>
                    <a:pt x="555" y="277"/>
                  </a:lnTo>
                  <a:lnTo>
                    <a:pt x="540" y="295"/>
                  </a:lnTo>
                  <a:lnTo>
                    <a:pt x="526" y="314"/>
                  </a:lnTo>
                  <a:lnTo>
                    <a:pt x="512" y="332"/>
                  </a:lnTo>
                  <a:lnTo>
                    <a:pt x="500" y="351"/>
                  </a:lnTo>
                  <a:lnTo>
                    <a:pt x="488" y="371"/>
                  </a:lnTo>
                  <a:lnTo>
                    <a:pt x="476" y="390"/>
                  </a:lnTo>
                  <a:lnTo>
                    <a:pt x="465" y="410"/>
                  </a:lnTo>
                  <a:lnTo>
                    <a:pt x="455" y="430"/>
                  </a:lnTo>
                  <a:lnTo>
                    <a:pt x="446" y="451"/>
                  </a:lnTo>
                  <a:lnTo>
                    <a:pt x="437" y="471"/>
                  </a:lnTo>
                  <a:lnTo>
                    <a:pt x="429" y="492"/>
                  </a:lnTo>
                  <a:lnTo>
                    <a:pt x="421" y="513"/>
                  </a:lnTo>
                  <a:lnTo>
                    <a:pt x="418" y="524"/>
                  </a:lnTo>
                  <a:lnTo>
                    <a:pt x="415" y="535"/>
                  </a:lnTo>
                  <a:lnTo>
                    <a:pt x="408" y="557"/>
                  </a:lnTo>
                  <a:lnTo>
                    <a:pt x="397" y="580"/>
                  </a:lnTo>
                  <a:lnTo>
                    <a:pt x="383" y="606"/>
                  </a:lnTo>
                  <a:lnTo>
                    <a:pt x="375" y="619"/>
                  </a:lnTo>
                  <a:lnTo>
                    <a:pt x="367" y="632"/>
                  </a:lnTo>
                  <a:lnTo>
                    <a:pt x="358" y="645"/>
                  </a:lnTo>
                  <a:lnTo>
                    <a:pt x="349" y="658"/>
                  </a:lnTo>
                  <a:lnTo>
                    <a:pt x="340" y="670"/>
                  </a:lnTo>
                  <a:lnTo>
                    <a:pt x="329" y="683"/>
                  </a:lnTo>
                  <a:lnTo>
                    <a:pt x="319" y="694"/>
                  </a:lnTo>
                  <a:lnTo>
                    <a:pt x="313" y="700"/>
                  </a:lnTo>
                  <a:lnTo>
                    <a:pt x="308" y="705"/>
                  </a:lnTo>
                  <a:lnTo>
                    <a:pt x="296" y="716"/>
                  </a:lnTo>
                  <a:lnTo>
                    <a:pt x="284" y="725"/>
                  </a:lnTo>
                  <a:lnTo>
                    <a:pt x="278" y="730"/>
                  </a:lnTo>
                  <a:lnTo>
                    <a:pt x="271" y="734"/>
                  </a:lnTo>
                  <a:lnTo>
                    <a:pt x="265" y="738"/>
                  </a:lnTo>
                  <a:lnTo>
                    <a:pt x="258" y="741"/>
                  </a:lnTo>
                  <a:lnTo>
                    <a:pt x="255" y="743"/>
                  </a:lnTo>
                  <a:lnTo>
                    <a:pt x="251" y="743"/>
                  </a:lnTo>
                  <a:lnTo>
                    <a:pt x="248" y="743"/>
                  </a:lnTo>
                  <a:lnTo>
                    <a:pt x="246" y="742"/>
                  </a:lnTo>
                  <a:lnTo>
                    <a:pt x="244" y="741"/>
                  </a:lnTo>
                  <a:lnTo>
                    <a:pt x="242" y="740"/>
                  </a:lnTo>
                  <a:lnTo>
                    <a:pt x="241" y="738"/>
                  </a:lnTo>
                  <a:lnTo>
                    <a:pt x="240" y="736"/>
                  </a:lnTo>
                  <a:lnTo>
                    <a:pt x="239" y="733"/>
                  </a:lnTo>
                  <a:lnTo>
                    <a:pt x="238" y="729"/>
                  </a:lnTo>
                  <a:lnTo>
                    <a:pt x="238" y="725"/>
                  </a:lnTo>
                  <a:lnTo>
                    <a:pt x="238" y="719"/>
                  </a:lnTo>
                  <a:lnTo>
                    <a:pt x="239" y="714"/>
                  </a:lnTo>
                  <a:lnTo>
                    <a:pt x="259" y="575"/>
                  </a:lnTo>
                  <a:lnTo>
                    <a:pt x="286" y="391"/>
                  </a:lnTo>
                  <a:lnTo>
                    <a:pt x="298" y="301"/>
                  </a:lnTo>
                  <a:lnTo>
                    <a:pt x="303" y="259"/>
                  </a:lnTo>
                  <a:lnTo>
                    <a:pt x="307" y="221"/>
                  </a:lnTo>
                  <a:lnTo>
                    <a:pt x="311" y="188"/>
                  </a:lnTo>
                  <a:lnTo>
                    <a:pt x="313" y="161"/>
                  </a:lnTo>
                  <a:lnTo>
                    <a:pt x="314" y="149"/>
                  </a:lnTo>
                  <a:lnTo>
                    <a:pt x="314" y="140"/>
                  </a:lnTo>
                  <a:lnTo>
                    <a:pt x="314" y="132"/>
                  </a:lnTo>
                  <a:lnTo>
                    <a:pt x="314" y="127"/>
                  </a:lnTo>
                  <a:lnTo>
                    <a:pt x="312" y="114"/>
                  </a:lnTo>
                  <a:lnTo>
                    <a:pt x="310" y="98"/>
                  </a:lnTo>
                  <a:lnTo>
                    <a:pt x="305" y="79"/>
                  </a:lnTo>
                  <a:lnTo>
                    <a:pt x="302" y="69"/>
                  </a:lnTo>
                  <a:lnTo>
                    <a:pt x="300" y="65"/>
                  </a:lnTo>
                  <a:lnTo>
                    <a:pt x="298" y="60"/>
                  </a:lnTo>
                  <a:lnTo>
                    <a:pt x="293" y="50"/>
                  </a:lnTo>
                  <a:lnTo>
                    <a:pt x="287" y="41"/>
                  </a:lnTo>
                  <a:lnTo>
                    <a:pt x="283" y="37"/>
                  </a:lnTo>
                  <a:lnTo>
                    <a:pt x="279" y="32"/>
                  </a:lnTo>
                  <a:lnTo>
                    <a:pt x="275" y="28"/>
                  </a:lnTo>
                  <a:lnTo>
                    <a:pt x="271" y="24"/>
                  </a:lnTo>
                  <a:lnTo>
                    <a:pt x="266" y="21"/>
                  </a:lnTo>
                  <a:lnTo>
                    <a:pt x="261" y="17"/>
                  </a:lnTo>
                  <a:lnTo>
                    <a:pt x="256" y="14"/>
                  </a:lnTo>
                  <a:lnTo>
                    <a:pt x="250" y="11"/>
                  </a:lnTo>
                  <a:lnTo>
                    <a:pt x="243" y="9"/>
                  </a:lnTo>
                  <a:lnTo>
                    <a:pt x="237" y="6"/>
                  </a:lnTo>
                  <a:lnTo>
                    <a:pt x="230" y="4"/>
                  </a:lnTo>
                  <a:lnTo>
                    <a:pt x="222" y="3"/>
                  </a:lnTo>
                  <a:lnTo>
                    <a:pt x="212" y="1"/>
                  </a:lnTo>
                  <a:lnTo>
                    <a:pt x="203" y="1"/>
                  </a:lnTo>
                  <a:lnTo>
                    <a:pt x="193" y="0"/>
                  </a:lnTo>
                  <a:lnTo>
                    <a:pt x="184" y="1"/>
                  </a:lnTo>
                  <a:lnTo>
                    <a:pt x="175" y="2"/>
                  </a:lnTo>
                  <a:lnTo>
                    <a:pt x="167" y="3"/>
                  </a:lnTo>
                  <a:lnTo>
                    <a:pt x="159" y="5"/>
                  </a:lnTo>
                  <a:lnTo>
                    <a:pt x="151" y="7"/>
                  </a:lnTo>
                  <a:lnTo>
                    <a:pt x="137" y="12"/>
                  </a:lnTo>
                  <a:lnTo>
                    <a:pt x="130" y="15"/>
                  </a:lnTo>
                  <a:lnTo>
                    <a:pt x="124" y="18"/>
                  </a:lnTo>
                  <a:lnTo>
                    <a:pt x="118" y="21"/>
                  </a:lnTo>
                  <a:lnTo>
                    <a:pt x="113" y="24"/>
                  </a:lnTo>
                  <a:lnTo>
                    <a:pt x="105" y="30"/>
                  </a:lnTo>
                  <a:lnTo>
                    <a:pt x="105" y="35"/>
                  </a:lnTo>
                  <a:lnTo>
                    <a:pt x="105" y="44"/>
                  </a:lnTo>
                  <a:lnTo>
                    <a:pt x="103" y="72"/>
                  </a:lnTo>
                  <a:lnTo>
                    <a:pt x="99" y="113"/>
                  </a:lnTo>
                  <a:lnTo>
                    <a:pt x="93" y="165"/>
                  </a:lnTo>
                  <a:lnTo>
                    <a:pt x="76" y="293"/>
                  </a:lnTo>
                  <a:lnTo>
                    <a:pt x="56" y="439"/>
                  </a:lnTo>
                  <a:lnTo>
                    <a:pt x="18" y="710"/>
                  </a:lnTo>
                  <a:lnTo>
                    <a:pt x="5" y="801"/>
                  </a:lnTo>
                  <a:lnTo>
                    <a:pt x="1" y="829"/>
                  </a:lnTo>
                  <a:lnTo>
                    <a:pt x="0" y="840"/>
                  </a:lnTo>
                  <a:lnTo>
                    <a:pt x="0" y="852"/>
                  </a:lnTo>
                  <a:lnTo>
                    <a:pt x="1" y="862"/>
                  </a:lnTo>
                  <a:lnTo>
                    <a:pt x="2" y="872"/>
                  </a:lnTo>
                  <a:lnTo>
                    <a:pt x="4" y="882"/>
                  </a:lnTo>
                  <a:lnTo>
                    <a:pt x="6" y="891"/>
                  </a:lnTo>
                  <a:lnTo>
                    <a:pt x="8" y="899"/>
                  </a:lnTo>
                  <a:lnTo>
                    <a:pt x="14" y="914"/>
                  </a:lnTo>
                  <a:lnTo>
                    <a:pt x="17" y="921"/>
                  </a:lnTo>
                  <a:lnTo>
                    <a:pt x="21" y="927"/>
                  </a:lnTo>
                  <a:lnTo>
                    <a:pt x="25" y="933"/>
                  </a:lnTo>
                  <a:lnTo>
                    <a:pt x="29" y="938"/>
                  </a:lnTo>
                  <a:lnTo>
                    <a:pt x="33" y="943"/>
                  </a:lnTo>
                  <a:lnTo>
                    <a:pt x="37" y="947"/>
                  </a:lnTo>
                  <a:lnTo>
                    <a:pt x="42" y="951"/>
                  </a:lnTo>
                  <a:lnTo>
                    <a:pt x="47" y="955"/>
                  </a:lnTo>
                  <a:lnTo>
                    <a:pt x="56" y="961"/>
                  </a:lnTo>
                  <a:lnTo>
                    <a:pt x="66" y="965"/>
                  </a:lnTo>
                  <a:lnTo>
                    <a:pt x="71" y="967"/>
                  </a:lnTo>
                  <a:lnTo>
                    <a:pt x="75" y="969"/>
                  </a:lnTo>
                  <a:lnTo>
                    <a:pt x="80" y="970"/>
                  </a:lnTo>
                  <a:lnTo>
                    <a:pt x="84" y="972"/>
                  </a:lnTo>
                  <a:lnTo>
                    <a:pt x="93" y="973"/>
                  </a:lnTo>
                  <a:lnTo>
                    <a:pt x="101" y="974"/>
                  </a:lnTo>
                  <a:lnTo>
                    <a:pt x="113" y="975"/>
                  </a:lnTo>
                  <a:lnTo>
                    <a:pt x="128" y="974"/>
                  </a:lnTo>
                  <a:lnTo>
                    <a:pt x="142" y="973"/>
                  </a:lnTo>
                  <a:lnTo>
                    <a:pt x="156" y="970"/>
                  </a:lnTo>
                  <a:lnTo>
                    <a:pt x="171" y="966"/>
                  </a:lnTo>
                  <a:lnTo>
                    <a:pt x="185" y="961"/>
                  </a:lnTo>
                  <a:lnTo>
                    <a:pt x="199" y="955"/>
                  </a:lnTo>
                  <a:lnTo>
                    <a:pt x="214" y="947"/>
                  </a:lnTo>
                  <a:lnTo>
                    <a:pt x="228" y="939"/>
                  </a:lnTo>
                  <a:lnTo>
                    <a:pt x="242" y="929"/>
                  </a:lnTo>
                  <a:lnTo>
                    <a:pt x="250" y="924"/>
                  </a:lnTo>
                  <a:lnTo>
                    <a:pt x="257" y="918"/>
                  </a:lnTo>
                  <a:lnTo>
                    <a:pt x="272" y="906"/>
                  </a:lnTo>
                  <a:lnTo>
                    <a:pt x="286" y="893"/>
                  </a:lnTo>
                  <a:lnTo>
                    <a:pt x="294" y="886"/>
                  </a:lnTo>
                  <a:lnTo>
                    <a:pt x="301" y="878"/>
                  </a:lnTo>
                  <a:lnTo>
                    <a:pt x="316" y="863"/>
                  </a:lnTo>
                  <a:lnTo>
                    <a:pt x="331" y="846"/>
                  </a:lnTo>
                  <a:lnTo>
                    <a:pt x="346" y="828"/>
                  </a:lnTo>
                  <a:lnTo>
                    <a:pt x="367" y="802"/>
                  </a:lnTo>
                  <a:lnTo>
                    <a:pt x="384" y="780"/>
                  </a:lnTo>
                  <a:lnTo>
                    <a:pt x="386" y="800"/>
                  </a:lnTo>
                  <a:lnTo>
                    <a:pt x="387" y="810"/>
                  </a:lnTo>
                  <a:lnTo>
                    <a:pt x="389" y="820"/>
                  </a:lnTo>
                  <a:lnTo>
                    <a:pt x="391" y="829"/>
                  </a:lnTo>
                  <a:lnTo>
                    <a:pt x="393" y="839"/>
                  </a:lnTo>
                  <a:lnTo>
                    <a:pt x="396" y="848"/>
                  </a:lnTo>
                  <a:lnTo>
                    <a:pt x="400" y="858"/>
                  </a:lnTo>
                  <a:lnTo>
                    <a:pt x="403" y="867"/>
                  </a:lnTo>
                  <a:lnTo>
                    <a:pt x="408" y="877"/>
                  </a:lnTo>
                  <a:lnTo>
                    <a:pt x="413" y="886"/>
                  </a:lnTo>
                  <a:lnTo>
                    <a:pt x="418" y="895"/>
                  </a:lnTo>
                  <a:lnTo>
                    <a:pt x="425" y="904"/>
                  </a:lnTo>
                  <a:lnTo>
                    <a:pt x="432" y="913"/>
                  </a:lnTo>
                  <a:lnTo>
                    <a:pt x="439" y="921"/>
                  </a:lnTo>
                  <a:lnTo>
                    <a:pt x="447" y="930"/>
                  </a:lnTo>
                  <a:lnTo>
                    <a:pt x="413" y="959"/>
                  </a:lnTo>
                  <a:lnTo>
                    <a:pt x="380" y="987"/>
                  </a:lnTo>
                  <a:lnTo>
                    <a:pt x="349" y="1015"/>
                  </a:lnTo>
                  <a:lnTo>
                    <a:pt x="320" y="1042"/>
                  </a:lnTo>
                  <a:lnTo>
                    <a:pt x="293" y="1070"/>
                  </a:lnTo>
                  <a:lnTo>
                    <a:pt x="267" y="1098"/>
                  </a:lnTo>
                  <a:lnTo>
                    <a:pt x="255" y="1112"/>
                  </a:lnTo>
                  <a:lnTo>
                    <a:pt x="244" y="1125"/>
                  </a:lnTo>
                  <a:lnTo>
                    <a:pt x="233" y="1139"/>
                  </a:lnTo>
                  <a:lnTo>
                    <a:pt x="223" y="1153"/>
                  </a:lnTo>
                  <a:lnTo>
                    <a:pt x="213" y="1167"/>
                  </a:lnTo>
                  <a:lnTo>
                    <a:pt x="203" y="1180"/>
                  </a:lnTo>
                  <a:lnTo>
                    <a:pt x="194" y="1194"/>
                  </a:lnTo>
                  <a:lnTo>
                    <a:pt x="186" y="1208"/>
                  </a:lnTo>
                  <a:lnTo>
                    <a:pt x="179" y="1222"/>
                  </a:lnTo>
                  <a:lnTo>
                    <a:pt x="171" y="1236"/>
                  </a:lnTo>
                  <a:lnTo>
                    <a:pt x="165" y="1250"/>
                  </a:lnTo>
                  <a:lnTo>
                    <a:pt x="159" y="1264"/>
                  </a:lnTo>
                  <a:lnTo>
                    <a:pt x="154" y="1278"/>
                  </a:lnTo>
                  <a:lnTo>
                    <a:pt x="149" y="1293"/>
                  </a:lnTo>
                  <a:lnTo>
                    <a:pt x="145" y="1307"/>
                  </a:lnTo>
                  <a:lnTo>
                    <a:pt x="142" y="1322"/>
                  </a:lnTo>
                  <a:lnTo>
                    <a:pt x="139" y="1336"/>
                  </a:lnTo>
                  <a:lnTo>
                    <a:pt x="137" y="1351"/>
                  </a:lnTo>
                  <a:lnTo>
                    <a:pt x="136" y="1366"/>
                  </a:lnTo>
                  <a:lnTo>
                    <a:pt x="135" y="1381"/>
                  </a:lnTo>
                  <a:lnTo>
                    <a:pt x="135" y="1398"/>
                  </a:lnTo>
                  <a:lnTo>
                    <a:pt x="136" y="1415"/>
                  </a:lnTo>
                  <a:lnTo>
                    <a:pt x="137" y="1431"/>
                  </a:lnTo>
                  <a:lnTo>
                    <a:pt x="140" y="1447"/>
                  </a:lnTo>
                  <a:lnTo>
                    <a:pt x="141" y="1454"/>
                  </a:lnTo>
                  <a:lnTo>
                    <a:pt x="143" y="1462"/>
                  </a:lnTo>
                  <a:lnTo>
                    <a:pt x="146" y="1477"/>
                  </a:lnTo>
                  <a:lnTo>
                    <a:pt x="151" y="1492"/>
                  </a:lnTo>
                  <a:lnTo>
                    <a:pt x="156" y="1507"/>
                  </a:lnTo>
                  <a:lnTo>
                    <a:pt x="161" y="1521"/>
                  </a:lnTo>
                  <a:lnTo>
                    <a:pt x="168" y="1534"/>
                  </a:lnTo>
                  <a:lnTo>
                    <a:pt x="175" y="1548"/>
                  </a:lnTo>
                  <a:lnTo>
                    <a:pt x="183" y="1561"/>
                  </a:lnTo>
                  <a:lnTo>
                    <a:pt x="192" y="1574"/>
                  </a:lnTo>
                  <a:lnTo>
                    <a:pt x="201" y="1586"/>
                  </a:lnTo>
                  <a:lnTo>
                    <a:pt x="211" y="1598"/>
                  </a:lnTo>
                  <a:lnTo>
                    <a:pt x="222" y="1610"/>
                  </a:lnTo>
                  <a:lnTo>
                    <a:pt x="234" y="1621"/>
                  </a:lnTo>
                  <a:lnTo>
                    <a:pt x="245" y="1631"/>
                  </a:lnTo>
                  <a:lnTo>
                    <a:pt x="251" y="1636"/>
                  </a:lnTo>
                  <a:lnTo>
                    <a:pt x="258" y="1641"/>
                  </a:lnTo>
                  <a:lnTo>
                    <a:pt x="270" y="1650"/>
                  </a:lnTo>
                  <a:lnTo>
                    <a:pt x="277" y="1654"/>
                  </a:lnTo>
                  <a:lnTo>
                    <a:pt x="283" y="1659"/>
                  </a:lnTo>
                  <a:lnTo>
                    <a:pt x="297" y="1666"/>
                  </a:lnTo>
                  <a:lnTo>
                    <a:pt x="310" y="1673"/>
                  </a:lnTo>
                  <a:lnTo>
                    <a:pt x="324" y="1679"/>
                  </a:lnTo>
                  <a:lnTo>
                    <a:pt x="339" y="1685"/>
                  </a:lnTo>
                  <a:lnTo>
                    <a:pt x="354" y="1690"/>
                  </a:lnTo>
                  <a:lnTo>
                    <a:pt x="369" y="1694"/>
                  </a:lnTo>
                  <a:lnTo>
                    <a:pt x="385" y="1697"/>
                  </a:lnTo>
                  <a:lnTo>
                    <a:pt x="401" y="1700"/>
                  </a:lnTo>
                  <a:lnTo>
                    <a:pt x="417" y="1702"/>
                  </a:lnTo>
                  <a:lnTo>
                    <a:pt x="434" y="1703"/>
                  </a:lnTo>
                  <a:lnTo>
                    <a:pt x="451" y="1703"/>
                  </a:lnTo>
                  <a:lnTo>
                    <a:pt x="483" y="1702"/>
                  </a:lnTo>
                  <a:lnTo>
                    <a:pt x="500" y="1701"/>
                  </a:lnTo>
                  <a:lnTo>
                    <a:pt x="516" y="1700"/>
                  </a:lnTo>
                  <a:lnTo>
                    <a:pt x="548" y="1695"/>
                  </a:lnTo>
                  <a:lnTo>
                    <a:pt x="565" y="1692"/>
                  </a:lnTo>
                  <a:lnTo>
                    <a:pt x="581" y="1689"/>
                  </a:lnTo>
                  <a:lnTo>
                    <a:pt x="597" y="1685"/>
                  </a:lnTo>
                  <a:lnTo>
                    <a:pt x="613" y="1681"/>
                  </a:lnTo>
                  <a:lnTo>
                    <a:pt x="629" y="1676"/>
                  </a:lnTo>
                  <a:lnTo>
                    <a:pt x="645" y="1671"/>
                  </a:lnTo>
                  <a:lnTo>
                    <a:pt x="676" y="1659"/>
                  </a:lnTo>
                  <a:lnTo>
                    <a:pt x="692" y="1652"/>
                  </a:lnTo>
                  <a:lnTo>
                    <a:pt x="708" y="1645"/>
                  </a:lnTo>
                  <a:lnTo>
                    <a:pt x="723" y="1637"/>
                  </a:lnTo>
                  <a:lnTo>
                    <a:pt x="739" y="1629"/>
                  </a:lnTo>
                  <a:lnTo>
                    <a:pt x="754" y="1621"/>
                  </a:lnTo>
                  <a:lnTo>
                    <a:pt x="770" y="1612"/>
                  </a:lnTo>
                  <a:lnTo>
                    <a:pt x="785" y="1602"/>
                  </a:lnTo>
                  <a:lnTo>
                    <a:pt x="800" y="1592"/>
                  </a:lnTo>
                  <a:lnTo>
                    <a:pt x="816" y="1582"/>
                  </a:lnTo>
                  <a:lnTo>
                    <a:pt x="831" y="1571"/>
                  </a:lnTo>
                  <a:lnTo>
                    <a:pt x="846" y="1560"/>
                  </a:lnTo>
                  <a:lnTo>
                    <a:pt x="861" y="1548"/>
                  </a:lnTo>
                  <a:lnTo>
                    <a:pt x="891" y="1523"/>
                  </a:lnTo>
                  <a:lnTo>
                    <a:pt x="906" y="1510"/>
                  </a:lnTo>
                  <a:lnTo>
                    <a:pt x="921" y="1497"/>
                  </a:lnTo>
                  <a:lnTo>
                    <a:pt x="935" y="1483"/>
                  </a:lnTo>
                  <a:lnTo>
                    <a:pt x="950" y="1468"/>
                  </a:lnTo>
                  <a:lnTo>
                    <a:pt x="963" y="1455"/>
                  </a:lnTo>
                  <a:lnTo>
                    <a:pt x="975" y="1442"/>
                  </a:lnTo>
                  <a:lnTo>
                    <a:pt x="986" y="1428"/>
                  </a:lnTo>
                  <a:lnTo>
                    <a:pt x="998" y="1414"/>
                  </a:lnTo>
                  <a:lnTo>
                    <a:pt x="1008" y="1400"/>
                  </a:lnTo>
                  <a:lnTo>
                    <a:pt x="1018" y="1385"/>
                  </a:lnTo>
                  <a:lnTo>
                    <a:pt x="1028" y="1371"/>
                  </a:lnTo>
                  <a:lnTo>
                    <a:pt x="1037" y="1356"/>
                  </a:lnTo>
                  <a:lnTo>
                    <a:pt x="1046" y="1341"/>
                  </a:lnTo>
                  <a:lnTo>
                    <a:pt x="1055" y="1325"/>
                  </a:lnTo>
                  <a:lnTo>
                    <a:pt x="1063" y="1310"/>
                  </a:lnTo>
                  <a:lnTo>
                    <a:pt x="1070" y="1294"/>
                  </a:lnTo>
                  <a:lnTo>
                    <a:pt x="1078" y="1278"/>
                  </a:lnTo>
                  <a:lnTo>
                    <a:pt x="1085" y="1262"/>
                  </a:lnTo>
                  <a:lnTo>
                    <a:pt x="1098" y="1230"/>
                  </a:lnTo>
                  <a:lnTo>
                    <a:pt x="1103" y="1213"/>
                  </a:lnTo>
                  <a:lnTo>
                    <a:pt x="1109" y="1195"/>
                  </a:lnTo>
                  <a:lnTo>
                    <a:pt x="1114" y="1176"/>
                  </a:lnTo>
                  <a:lnTo>
                    <a:pt x="1119" y="1156"/>
                  </a:lnTo>
                  <a:lnTo>
                    <a:pt x="1123" y="1135"/>
                  </a:lnTo>
                  <a:lnTo>
                    <a:pt x="1128" y="1112"/>
                  </a:lnTo>
                  <a:lnTo>
                    <a:pt x="1135" y="1064"/>
                  </a:lnTo>
                  <a:lnTo>
                    <a:pt x="1142" y="1014"/>
                  </a:lnTo>
                  <a:lnTo>
                    <a:pt x="1149" y="961"/>
                  </a:lnTo>
                  <a:lnTo>
                    <a:pt x="1155" y="905"/>
                  </a:lnTo>
                  <a:lnTo>
                    <a:pt x="1161" y="849"/>
                  </a:lnTo>
                  <a:lnTo>
                    <a:pt x="1168" y="768"/>
                  </a:lnTo>
                  <a:lnTo>
                    <a:pt x="1174" y="692"/>
                  </a:lnTo>
                  <a:lnTo>
                    <a:pt x="1186" y="561"/>
                  </a:lnTo>
                  <a:lnTo>
                    <a:pt x="1194" y="471"/>
                  </a:lnTo>
                  <a:lnTo>
                    <a:pt x="1198" y="438"/>
                  </a:lnTo>
                  <a:lnTo>
                    <a:pt x="1213" y="419"/>
                  </a:lnTo>
                  <a:lnTo>
                    <a:pt x="1222" y="409"/>
                  </a:lnTo>
                  <a:lnTo>
                    <a:pt x="1231" y="399"/>
                  </a:lnTo>
                  <a:lnTo>
                    <a:pt x="1253" y="377"/>
                  </a:lnTo>
                  <a:lnTo>
                    <a:pt x="1279" y="352"/>
                  </a:lnTo>
                  <a:lnTo>
                    <a:pt x="1294" y="339"/>
                  </a:lnTo>
                  <a:lnTo>
                    <a:pt x="1310" y="326"/>
                  </a:lnTo>
                  <a:lnTo>
                    <a:pt x="1343" y="298"/>
                  </a:lnTo>
                  <a:lnTo>
                    <a:pt x="1382" y="267"/>
                  </a:lnTo>
                  <a:lnTo>
                    <a:pt x="1403" y="251"/>
                  </a:lnTo>
                  <a:lnTo>
                    <a:pt x="1425" y="235"/>
                  </a:lnTo>
                  <a:lnTo>
                    <a:pt x="1426" y="235"/>
                  </a:lnTo>
                  <a:lnTo>
                    <a:pt x="1420" y="320"/>
                  </a:lnTo>
                  <a:lnTo>
                    <a:pt x="1414" y="367"/>
                  </a:lnTo>
                  <a:lnTo>
                    <a:pt x="1368" y="781"/>
                  </a:lnTo>
                  <a:lnTo>
                    <a:pt x="1364" y="825"/>
                  </a:lnTo>
                  <a:lnTo>
                    <a:pt x="1363" y="843"/>
                  </a:lnTo>
                  <a:lnTo>
                    <a:pt x="1363" y="856"/>
                  </a:lnTo>
                  <a:lnTo>
                    <a:pt x="1363" y="869"/>
                  </a:lnTo>
                  <a:lnTo>
                    <a:pt x="1364" y="877"/>
                  </a:lnTo>
                  <a:lnTo>
                    <a:pt x="1365" y="885"/>
                  </a:lnTo>
                  <a:lnTo>
                    <a:pt x="1367" y="894"/>
                  </a:lnTo>
                  <a:lnTo>
                    <a:pt x="1370" y="904"/>
                  </a:lnTo>
                  <a:lnTo>
                    <a:pt x="1371" y="909"/>
                  </a:lnTo>
                  <a:lnTo>
                    <a:pt x="1373" y="914"/>
                  </a:lnTo>
                  <a:lnTo>
                    <a:pt x="1378" y="923"/>
                  </a:lnTo>
                  <a:lnTo>
                    <a:pt x="1383" y="933"/>
                  </a:lnTo>
                  <a:lnTo>
                    <a:pt x="1389" y="942"/>
                  </a:lnTo>
                  <a:lnTo>
                    <a:pt x="1396" y="950"/>
                  </a:lnTo>
                  <a:lnTo>
                    <a:pt x="1401" y="955"/>
                  </a:lnTo>
                  <a:lnTo>
                    <a:pt x="1405" y="958"/>
                  </a:lnTo>
                  <a:lnTo>
                    <a:pt x="1410" y="962"/>
                  </a:lnTo>
                  <a:lnTo>
                    <a:pt x="1415" y="966"/>
                  </a:lnTo>
                  <a:lnTo>
                    <a:pt x="1421" y="969"/>
                  </a:lnTo>
                  <a:lnTo>
                    <a:pt x="1427" y="972"/>
                  </a:lnTo>
                  <a:lnTo>
                    <a:pt x="1433" y="974"/>
                  </a:lnTo>
                  <a:lnTo>
                    <a:pt x="1439" y="976"/>
                  </a:lnTo>
                  <a:lnTo>
                    <a:pt x="1447" y="978"/>
                  </a:lnTo>
                  <a:lnTo>
                    <a:pt x="1454" y="980"/>
                  </a:lnTo>
                  <a:lnTo>
                    <a:pt x="1464" y="981"/>
                  </a:lnTo>
                  <a:lnTo>
                    <a:pt x="1474" y="982"/>
                  </a:lnTo>
                  <a:lnTo>
                    <a:pt x="1484" y="982"/>
                  </a:lnTo>
                  <a:lnTo>
                    <a:pt x="1494" y="981"/>
                  </a:lnTo>
                  <a:lnTo>
                    <a:pt x="1503" y="980"/>
                  </a:lnTo>
                  <a:lnTo>
                    <a:pt x="1512" y="978"/>
                  </a:lnTo>
                  <a:lnTo>
                    <a:pt x="1520" y="976"/>
                  </a:lnTo>
                  <a:lnTo>
                    <a:pt x="1529" y="974"/>
                  </a:lnTo>
                  <a:lnTo>
                    <a:pt x="1536" y="971"/>
                  </a:lnTo>
                  <a:lnTo>
                    <a:pt x="1543" y="968"/>
                  </a:lnTo>
                  <a:lnTo>
                    <a:pt x="1556" y="963"/>
                  </a:lnTo>
                  <a:lnTo>
                    <a:pt x="1565" y="957"/>
                  </a:lnTo>
                  <a:lnTo>
                    <a:pt x="1572" y="952"/>
                  </a:lnTo>
                  <a:lnTo>
                    <a:pt x="1571" y="950"/>
                  </a:lnTo>
                  <a:lnTo>
                    <a:pt x="1571" y="947"/>
                  </a:lnTo>
                  <a:lnTo>
                    <a:pt x="1571" y="936"/>
                  </a:lnTo>
                  <a:lnTo>
                    <a:pt x="1571" y="922"/>
                  </a:lnTo>
                  <a:lnTo>
                    <a:pt x="1573" y="904"/>
                  </a:lnTo>
                  <a:lnTo>
                    <a:pt x="1575" y="883"/>
                  </a:lnTo>
                  <a:lnTo>
                    <a:pt x="1578" y="860"/>
                  </a:lnTo>
                  <a:lnTo>
                    <a:pt x="1584" y="810"/>
                  </a:lnTo>
                  <a:lnTo>
                    <a:pt x="1590" y="761"/>
                  </a:lnTo>
                  <a:lnTo>
                    <a:pt x="1596" y="719"/>
                  </a:lnTo>
                  <a:lnTo>
                    <a:pt x="1602" y="679"/>
                  </a:lnTo>
                  <a:lnTo>
                    <a:pt x="1604" y="661"/>
                  </a:lnTo>
                  <a:lnTo>
                    <a:pt x="1607" y="643"/>
                  </a:lnTo>
                  <a:lnTo>
                    <a:pt x="1611" y="625"/>
                  </a:lnTo>
                  <a:lnTo>
                    <a:pt x="1616" y="607"/>
                  </a:lnTo>
                  <a:lnTo>
                    <a:pt x="1621" y="589"/>
                  </a:lnTo>
                  <a:lnTo>
                    <a:pt x="1626" y="570"/>
                  </a:lnTo>
                  <a:lnTo>
                    <a:pt x="1633" y="552"/>
                  </a:lnTo>
                  <a:lnTo>
                    <a:pt x="1640" y="533"/>
                  </a:lnTo>
                  <a:lnTo>
                    <a:pt x="1648" y="514"/>
                  </a:lnTo>
                  <a:lnTo>
                    <a:pt x="1656" y="495"/>
                  </a:lnTo>
                  <a:lnTo>
                    <a:pt x="1665" y="476"/>
                  </a:lnTo>
                  <a:lnTo>
                    <a:pt x="1675" y="457"/>
                  </a:lnTo>
                  <a:lnTo>
                    <a:pt x="1686" y="438"/>
                  </a:lnTo>
                  <a:lnTo>
                    <a:pt x="1697" y="418"/>
                  </a:lnTo>
                  <a:lnTo>
                    <a:pt x="1709" y="398"/>
                  </a:lnTo>
                  <a:lnTo>
                    <a:pt x="1722" y="379"/>
                  </a:lnTo>
                  <a:lnTo>
                    <a:pt x="1737" y="355"/>
                  </a:lnTo>
                  <a:lnTo>
                    <a:pt x="1752" y="334"/>
                  </a:lnTo>
                  <a:lnTo>
                    <a:pt x="1766" y="315"/>
                  </a:lnTo>
                  <a:lnTo>
                    <a:pt x="1779" y="298"/>
                  </a:lnTo>
                  <a:lnTo>
                    <a:pt x="1792" y="283"/>
                  </a:lnTo>
                  <a:lnTo>
                    <a:pt x="1804" y="269"/>
                  </a:lnTo>
                  <a:lnTo>
                    <a:pt x="1814" y="258"/>
                  </a:lnTo>
                  <a:lnTo>
                    <a:pt x="1824" y="249"/>
                  </a:lnTo>
                  <a:lnTo>
                    <a:pt x="1833" y="241"/>
                  </a:lnTo>
                  <a:lnTo>
                    <a:pt x="1842" y="235"/>
                  </a:lnTo>
                  <a:lnTo>
                    <a:pt x="1846" y="233"/>
                  </a:lnTo>
                  <a:lnTo>
                    <a:pt x="1849" y="231"/>
                  </a:lnTo>
                  <a:lnTo>
                    <a:pt x="1856" y="228"/>
                  </a:lnTo>
                  <a:lnTo>
                    <a:pt x="1859" y="227"/>
                  </a:lnTo>
                  <a:lnTo>
                    <a:pt x="1861" y="227"/>
                  </a:lnTo>
                  <a:lnTo>
                    <a:pt x="1864" y="227"/>
                  </a:lnTo>
                  <a:lnTo>
                    <a:pt x="1866" y="227"/>
                  </a:lnTo>
                  <a:lnTo>
                    <a:pt x="1868" y="228"/>
                  </a:lnTo>
                  <a:lnTo>
                    <a:pt x="1870" y="229"/>
                  </a:lnTo>
                  <a:lnTo>
                    <a:pt x="1872" y="230"/>
                  </a:lnTo>
                  <a:lnTo>
                    <a:pt x="1873" y="232"/>
                  </a:lnTo>
                  <a:lnTo>
                    <a:pt x="1874" y="234"/>
                  </a:lnTo>
                  <a:lnTo>
                    <a:pt x="1875" y="237"/>
                  </a:lnTo>
                  <a:lnTo>
                    <a:pt x="1877" y="244"/>
                  </a:lnTo>
                  <a:lnTo>
                    <a:pt x="1877" y="248"/>
                  </a:lnTo>
                  <a:lnTo>
                    <a:pt x="1878" y="253"/>
                  </a:lnTo>
                  <a:lnTo>
                    <a:pt x="1878" y="263"/>
                  </a:lnTo>
                  <a:lnTo>
                    <a:pt x="1878" y="275"/>
                  </a:lnTo>
                  <a:lnTo>
                    <a:pt x="1878" y="287"/>
                  </a:lnTo>
                  <a:lnTo>
                    <a:pt x="1876" y="313"/>
                  </a:lnTo>
                  <a:lnTo>
                    <a:pt x="1874" y="338"/>
                  </a:lnTo>
                  <a:lnTo>
                    <a:pt x="1872" y="360"/>
                  </a:lnTo>
                  <a:lnTo>
                    <a:pt x="1870" y="380"/>
                  </a:lnTo>
                  <a:lnTo>
                    <a:pt x="1825" y="784"/>
                  </a:lnTo>
                  <a:lnTo>
                    <a:pt x="1823" y="811"/>
                  </a:lnTo>
                  <a:lnTo>
                    <a:pt x="1821" y="837"/>
                  </a:lnTo>
                  <a:lnTo>
                    <a:pt x="1820" y="856"/>
                  </a:lnTo>
                  <a:lnTo>
                    <a:pt x="1821" y="869"/>
                  </a:lnTo>
                  <a:lnTo>
                    <a:pt x="1821" y="877"/>
                  </a:lnTo>
                  <a:lnTo>
                    <a:pt x="1823" y="885"/>
                  </a:lnTo>
                  <a:lnTo>
                    <a:pt x="1825" y="894"/>
                  </a:lnTo>
                  <a:lnTo>
                    <a:pt x="1827" y="904"/>
                  </a:lnTo>
                  <a:lnTo>
                    <a:pt x="1829" y="909"/>
                  </a:lnTo>
                  <a:lnTo>
                    <a:pt x="1831" y="914"/>
                  </a:lnTo>
                  <a:lnTo>
                    <a:pt x="1835" y="923"/>
                  </a:lnTo>
                  <a:lnTo>
                    <a:pt x="1840" y="933"/>
                  </a:lnTo>
                  <a:lnTo>
                    <a:pt x="1846" y="942"/>
                  </a:lnTo>
                  <a:lnTo>
                    <a:pt x="1854" y="950"/>
                  </a:lnTo>
                  <a:lnTo>
                    <a:pt x="1858" y="955"/>
                  </a:lnTo>
                  <a:lnTo>
                    <a:pt x="1863" y="958"/>
                  </a:lnTo>
                  <a:lnTo>
                    <a:pt x="1867" y="962"/>
                  </a:lnTo>
                  <a:lnTo>
                    <a:pt x="1873" y="966"/>
                  </a:lnTo>
                  <a:lnTo>
                    <a:pt x="1878" y="969"/>
                  </a:lnTo>
                  <a:lnTo>
                    <a:pt x="1884" y="972"/>
                  </a:lnTo>
                  <a:lnTo>
                    <a:pt x="1890" y="974"/>
                  </a:lnTo>
                  <a:lnTo>
                    <a:pt x="1897" y="976"/>
                  </a:lnTo>
                  <a:lnTo>
                    <a:pt x="1904" y="978"/>
                  </a:lnTo>
                  <a:lnTo>
                    <a:pt x="1911" y="980"/>
                  </a:lnTo>
                  <a:lnTo>
                    <a:pt x="1922" y="981"/>
                  </a:lnTo>
                  <a:lnTo>
                    <a:pt x="1932" y="982"/>
                  </a:lnTo>
                  <a:lnTo>
                    <a:pt x="1943" y="982"/>
                  </a:lnTo>
                  <a:lnTo>
                    <a:pt x="1953" y="981"/>
                  </a:lnTo>
                  <a:lnTo>
                    <a:pt x="1963" y="979"/>
                  </a:lnTo>
                  <a:lnTo>
                    <a:pt x="1973" y="977"/>
                  </a:lnTo>
                  <a:lnTo>
                    <a:pt x="1982" y="975"/>
                  </a:lnTo>
                  <a:lnTo>
                    <a:pt x="1991" y="972"/>
                  </a:lnTo>
                  <a:lnTo>
                    <a:pt x="2007" y="966"/>
                  </a:lnTo>
                  <a:lnTo>
                    <a:pt x="2021" y="959"/>
                  </a:lnTo>
                  <a:lnTo>
                    <a:pt x="2032" y="953"/>
                  </a:lnTo>
                  <a:lnTo>
                    <a:pt x="2036" y="950"/>
                  </a:lnTo>
                  <a:lnTo>
                    <a:pt x="2040" y="947"/>
                  </a:lnTo>
                  <a:lnTo>
                    <a:pt x="2038" y="940"/>
                  </a:lnTo>
                  <a:lnTo>
                    <a:pt x="2038" y="928"/>
                  </a:lnTo>
                  <a:lnTo>
                    <a:pt x="2038" y="913"/>
                  </a:lnTo>
                  <a:lnTo>
                    <a:pt x="2039" y="895"/>
                  </a:lnTo>
                  <a:lnTo>
                    <a:pt x="2042" y="851"/>
                  </a:lnTo>
                  <a:lnTo>
                    <a:pt x="2047" y="804"/>
                  </a:lnTo>
                  <a:lnTo>
                    <a:pt x="2052" y="757"/>
                  </a:lnTo>
                  <a:lnTo>
                    <a:pt x="2056" y="717"/>
                  </a:lnTo>
                  <a:lnTo>
                    <a:pt x="2061" y="679"/>
                  </a:lnTo>
                  <a:lnTo>
                    <a:pt x="2063" y="661"/>
                  </a:lnTo>
                  <a:lnTo>
                    <a:pt x="2066" y="643"/>
                  </a:lnTo>
                  <a:lnTo>
                    <a:pt x="2070" y="625"/>
                  </a:lnTo>
                  <a:lnTo>
                    <a:pt x="2074" y="607"/>
                  </a:lnTo>
                  <a:lnTo>
                    <a:pt x="2080" y="589"/>
                  </a:lnTo>
                  <a:lnTo>
                    <a:pt x="2085" y="571"/>
                  </a:lnTo>
                  <a:lnTo>
                    <a:pt x="2092" y="552"/>
                  </a:lnTo>
                  <a:lnTo>
                    <a:pt x="2099" y="533"/>
                  </a:lnTo>
                  <a:lnTo>
                    <a:pt x="2107" y="515"/>
                  </a:lnTo>
                  <a:lnTo>
                    <a:pt x="2116" y="496"/>
                  </a:lnTo>
                  <a:lnTo>
                    <a:pt x="2125" y="476"/>
                  </a:lnTo>
                  <a:lnTo>
                    <a:pt x="2135" y="457"/>
                  </a:lnTo>
                  <a:lnTo>
                    <a:pt x="2146" y="438"/>
                  </a:lnTo>
                  <a:lnTo>
                    <a:pt x="2158" y="418"/>
                  </a:lnTo>
                  <a:lnTo>
                    <a:pt x="2170" y="399"/>
                  </a:lnTo>
                  <a:lnTo>
                    <a:pt x="2182" y="379"/>
                  </a:lnTo>
                  <a:lnTo>
                    <a:pt x="2198" y="356"/>
                  </a:lnTo>
                  <a:lnTo>
                    <a:pt x="2213" y="335"/>
                  </a:lnTo>
                  <a:lnTo>
                    <a:pt x="2228" y="316"/>
                  </a:lnTo>
                  <a:lnTo>
                    <a:pt x="2241" y="299"/>
                  </a:lnTo>
                  <a:lnTo>
                    <a:pt x="2254" y="284"/>
                  </a:lnTo>
                  <a:lnTo>
                    <a:pt x="2266" y="271"/>
                  </a:lnTo>
                  <a:lnTo>
                    <a:pt x="2276" y="260"/>
                  </a:lnTo>
                  <a:lnTo>
                    <a:pt x="2287" y="251"/>
                  </a:lnTo>
                  <a:lnTo>
                    <a:pt x="2296" y="244"/>
                  </a:lnTo>
                  <a:lnTo>
                    <a:pt x="2305" y="238"/>
                  </a:lnTo>
                  <a:lnTo>
                    <a:pt x="2308" y="235"/>
                  </a:lnTo>
                  <a:lnTo>
                    <a:pt x="2312" y="233"/>
                  </a:lnTo>
                  <a:lnTo>
                    <a:pt x="2319" y="231"/>
                  </a:lnTo>
                  <a:lnTo>
                    <a:pt x="2325" y="229"/>
                  </a:lnTo>
                  <a:lnTo>
                    <a:pt x="2330" y="229"/>
                  </a:lnTo>
                  <a:lnTo>
                    <a:pt x="2335" y="230"/>
                  </a:lnTo>
                  <a:lnTo>
                    <a:pt x="2337" y="231"/>
                  </a:lnTo>
                  <a:lnTo>
                    <a:pt x="2338" y="232"/>
                  </a:lnTo>
                  <a:lnTo>
                    <a:pt x="2340" y="234"/>
                  </a:lnTo>
                  <a:lnTo>
                    <a:pt x="2341" y="236"/>
                  </a:lnTo>
                  <a:lnTo>
                    <a:pt x="2342" y="240"/>
                  </a:lnTo>
                  <a:lnTo>
                    <a:pt x="2342" y="244"/>
                  </a:lnTo>
                  <a:lnTo>
                    <a:pt x="2343" y="254"/>
                  </a:lnTo>
                  <a:lnTo>
                    <a:pt x="2343" y="267"/>
                  </a:lnTo>
                  <a:lnTo>
                    <a:pt x="2342" y="281"/>
                  </a:lnTo>
                  <a:lnTo>
                    <a:pt x="2341" y="297"/>
                  </a:lnTo>
                  <a:lnTo>
                    <a:pt x="2338" y="330"/>
                  </a:lnTo>
                  <a:lnTo>
                    <a:pt x="2334" y="363"/>
                  </a:lnTo>
                  <a:lnTo>
                    <a:pt x="2330" y="391"/>
                  </a:lnTo>
                  <a:lnTo>
                    <a:pt x="2326" y="418"/>
                  </a:lnTo>
                  <a:lnTo>
                    <a:pt x="2293" y="634"/>
                  </a:lnTo>
                  <a:lnTo>
                    <a:pt x="2289" y="668"/>
                  </a:lnTo>
                  <a:lnTo>
                    <a:pt x="2284" y="700"/>
                  </a:lnTo>
                  <a:lnTo>
                    <a:pt x="2281" y="729"/>
                  </a:lnTo>
                  <a:lnTo>
                    <a:pt x="2278" y="756"/>
                  </a:lnTo>
                  <a:lnTo>
                    <a:pt x="2276" y="780"/>
                  </a:lnTo>
                  <a:lnTo>
                    <a:pt x="2274" y="803"/>
                  </a:lnTo>
                  <a:lnTo>
                    <a:pt x="2273" y="823"/>
                  </a:lnTo>
                  <a:lnTo>
                    <a:pt x="2273" y="841"/>
                  </a:lnTo>
                  <a:lnTo>
                    <a:pt x="2273" y="854"/>
                  </a:lnTo>
                  <a:lnTo>
                    <a:pt x="2274" y="866"/>
                  </a:lnTo>
                  <a:lnTo>
                    <a:pt x="2275" y="877"/>
                  </a:lnTo>
                  <a:lnTo>
                    <a:pt x="2277" y="888"/>
                  </a:lnTo>
                  <a:lnTo>
                    <a:pt x="2279" y="898"/>
                  </a:lnTo>
                  <a:lnTo>
                    <a:pt x="2282" y="907"/>
                  </a:lnTo>
                  <a:lnTo>
                    <a:pt x="2288" y="923"/>
                  </a:lnTo>
                  <a:lnTo>
                    <a:pt x="2292" y="931"/>
                  </a:lnTo>
                  <a:lnTo>
                    <a:pt x="2296" y="938"/>
                  </a:lnTo>
                  <a:lnTo>
                    <a:pt x="2300" y="944"/>
                  </a:lnTo>
                  <a:lnTo>
                    <a:pt x="2305" y="950"/>
                  </a:lnTo>
                  <a:lnTo>
                    <a:pt x="2307" y="953"/>
                  </a:lnTo>
                  <a:lnTo>
                    <a:pt x="2309" y="955"/>
                  </a:lnTo>
                  <a:lnTo>
                    <a:pt x="2314" y="960"/>
                  </a:lnTo>
                  <a:lnTo>
                    <a:pt x="2324" y="969"/>
                  </a:lnTo>
                  <a:lnTo>
                    <a:pt x="2335" y="975"/>
                  </a:lnTo>
                  <a:lnTo>
                    <a:pt x="2345" y="981"/>
                  </a:lnTo>
                  <a:lnTo>
                    <a:pt x="2356" y="985"/>
                  </a:lnTo>
                  <a:lnTo>
                    <a:pt x="2366" y="988"/>
                  </a:lnTo>
                  <a:lnTo>
                    <a:pt x="2375" y="989"/>
                  </a:lnTo>
                  <a:lnTo>
                    <a:pt x="2384" y="991"/>
                  </a:lnTo>
                  <a:lnTo>
                    <a:pt x="2398" y="991"/>
                  </a:lnTo>
                  <a:lnTo>
                    <a:pt x="2408" y="991"/>
                  </a:lnTo>
                  <a:lnTo>
                    <a:pt x="2418" y="990"/>
                  </a:lnTo>
                  <a:lnTo>
                    <a:pt x="2429" y="988"/>
                  </a:lnTo>
                  <a:lnTo>
                    <a:pt x="2439" y="985"/>
                  </a:lnTo>
                  <a:lnTo>
                    <a:pt x="2450" y="981"/>
                  </a:lnTo>
                  <a:lnTo>
                    <a:pt x="2462" y="977"/>
                  </a:lnTo>
                  <a:lnTo>
                    <a:pt x="2473" y="971"/>
                  </a:lnTo>
                  <a:lnTo>
                    <a:pt x="2485" y="965"/>
                  </a:lnTo>
                  <a:lnTo>
                    <a:pt x="2497" y="958"/>
                  </a:lnTo>
                  <a:lnTo>
                    <a:pt x="2509" y="950"/>
                  </a:lnTo>
                  <a:lnTo>
                    <a:pt x="2522" y="941"/>
                  </a:lnTo>
                  <a:lnTo>
                    <a:pt x="2535" y="931"/>
                  </a:lnTo>
                  <a:lnTo>
                    <a:pt x="2548" y="921"/>
                  </a:lnTo>
                  <a:lnTo>
                    <a:pt x="2562" y="909"/>
                  </a:lnTo>
                  <a:lnTo>
                    <a:pt x="2576" y="897"/>
                  </a:lnTo>
                  <a:lnTo>
                    <a:pt x="2590" y="883"/>
                  </a:lnTo>
                  <a:lnTo>
                    <a:pt x="2606" y="868"/>
                  </a:lnTo>
                  <a:lnTo>
                    <a:pt x="2620" y="854"/>
                  </a:lnTo>
                  <a:lnTo>
                    <a:pt x="2622" y="865"/>
                  </a:lnTo>
                  <a:lnTo>
                    <a:pt x="2626" y="875"/>
                  </a:lnTo>
                  <a:lnTo>
                    <a:pt x="2629" y="884"/>
                  </a:lnTo>
                  <a:lnTo>
                    <a:pt x="2633" y="893"/>
                  </a:lnTo>
                  <a:lnTo>
                    <a:pt x="2637" y="902"/>
                  </a:lnTo>
                  <a:lnTo>
                    <a:pt x="2641" y="910"/>
                  </a:lnTo>
                  <a:lnTo>
                    <a:pt x="2645" y="918"/>
                  </a:lnTo>
                  <a:lnTo>
                    <a:pt x="2650" y="925"/>
                  </a:lnTo>
                  <a:lnTo>
                    <a:pt x="2654" y="931"/>
                  </a:lnTo>
                  <a:lnTo>
                    <a:pt x="2659" y="938"/>
                  </a:lnTo>
                  <a:lnTo>
                    <a:pt x="2664" y="943"/>
                  </a:lnTo>
                  <a:lnTo>
                    <a:pt x="2669" y="949"/>
                  </a:lnTo>
                  <a:lnTo>
                    <a:pt x="2675" y="954"/>
                  </a:lnTo>
                  <a:lnTo>
                    <a:pt x="2680" y="958"/>
                  </a:lnTo>
                  <a:lnTo>
                    <a:pt x="2686" y="963"/>
                  </a:lnTo>
                  <a:lnTo>
                    <a:pt x="2691" y="966"/>
                  </a:lnTo>
                  <a:lnTo>
                    <a:pt x="2702" y="973"/>
                  </a:lnTo>
                  <a:lnTo>
                    <a:pt x="2714" y="979"/>
                  </a:lnTo>
                  <a:lnTo>
                    <a:pt x="2719" y="981"/>
                  </a:lnTo>
                  <a:lnTo>
                    <a:pt x="2725" y="983"/>
                  </a:lnTo>
                  <a:lnTo>
                    <a:pt x="2737" y="986"/>
                  </a:lnTo>
                  <a:lnTo>
                    <a:pt x="2748" y="989"/>
                  </a:lnTo>
                  <a:lnTo>
                    <a:pt x="2759" y="990"/>
                  </a:lnTo>
                  <a:lnTo>
                    <a:pt x="2770" y="991"/>
                  </a:lnTo>
                  <a:lnTo>
                    <a:pt x="2779" y="991"/>
                  </a:lnTo>
                  <a:lnTo>
                    <a:pt x="2793" y="991"/>
                  </a:lnTo>
                  <a:lnTo>
                    <a:pt x="2807" y="990"/>
                  </a:lnTo>
                  <a:lnTo>
                    <a:pt x="2821" y="987"/>
                  </a:lnTo>
                  <a:lnTo>
                    <a:pt x="2835" y="984"/>
                  </a:lnTo>
                  <a:lnTo>
                    <a:pt x="2850" y="980"/>
                  </a:lnTo>
                  <a:lnTo>
                    <a:pt x="2864" y="975"/>
                  </a:lnTo>
                  <a:lnTo>
                    <a:pt x="2879" y="969"/>
                  </a:lnTo>
                  <a:lnTo>
                    <a:pt x="2894" y="962"/>
                  </a:lnTo>
                  <a:lnTo>
                    <a:pt x="2909" y="954"/>
                  </a:lnTo>
                  <a:lnTo>
                    <a:pt x="2925" y="946"/>
                  </a:lnTo>
                  <a:lnTo>
                    <a:pt x="2940" y="936"/>
                  </a:lnTo>
                  <a:lnTo>
                    <a:pt x="2956" y="925"/>
                  </a:lnTo>
                  <a:lnTo>
                    <a:pt x="2973" y="914"/>
                  </a:lnTo>
                  <a:lnTo>
                    <a:pt x="2989" y="901"/>
                  </a:lnTo>
                  <a:lnTo>
                    <a:pt x="3006" y="888"/>
                  </a:lnTo>
                  <a:lnTo>
                    <a:pt x="3023" y="873"/>
                  </a:lnTo>
                  <a:lnTo>
                    <a:pt x="3038" y="860"/>
                  </a:lnTo>
                  <a:lnTo>
                    <a:pt x="3053" y="846"/>
                  </a:lnTo>
                  <a:lnTo>
                    <a:pt x="3067" y="832"/>
                  </a:lnTo>
                  <a:lnTo>
                    <a:pt x="3082" y="817"/>
                  </a:lnTo>
                  <a:lnTo>
                    <a:pt x="3096" y="801"/>
                  </a:lnTo>
                  <a:lnTo>
                    <a:pt x="3111" y="786"/>
                  </a:lnTo>
                  <a:lnTo>
                    <a:pt x="3125" y="769"/>
                  </a:lnTo>
                  <a:lnTo>
                    <a:pt x="3139" y="753"/>
                  </a:lnTo>
                  <a:lnTo>
                    <a:pt x="3136" y="775"/>
                  </a:lnTo>
                  <a:lnTo>
                    <a:pt x="3130" y="856"/>
                  </a:lnTo>
                  <a:lnTo>
                    <a:pt x="3130" y="867"/>
                  </a:lnTo>
                  <a:lnTo>
                    <a:pt x="3131" y="878"/>
                  </a:lnTo>
                  <a:lnTo>
                    <a:pt x="3132" y="888"/>
                  </a:lnTo>
                  <a:lnTo>
                    <a:pt x="3133" y="898"/>
                  </a:lnTo>
                  <a:lnTo>
                    <a:pt x="3135" y="907"/>
                  </a:lnTo>
                  <a:lnTo>
                    <a:pt x="3138" y="915"/>
                  </a:lnTo>
                  <a:lnTo>
                    <a:pt x="3140" y="923"/>
                  </a:lnTo>
                  <a:lnTo>
                    <a:pt x="3144" y="930"/>
                  </a:lnTo>
                  <a:lnTo>
                    <a:pt x="3147" y="937"/>
                  </a:lnTo>
                  <a:lnTo>
                    <a:pt x="3150" y="943"/>
                  </a:lnTo>
                  <a:lnTo>
                    <a:pt x="3154" y="949"/>
                  </a:lnTo>
                  <a:lnTo>
                    <a:pt x="3158" y="954"/>
                  </a:lnTo>
                  <a:lnTo>
                    <a:pt x="3163" y="959"/>
                  </a:lnTo>
                  <a:lnTo>
                    <a:pt x="3167" y="963"/>
                  </a:lnTo>
                  <a:lnTo>
                    <a:pt x="3172" y="967"/>
                  </a:lnTo>
                  <a:lnTo>
                    <a:pt x="3176" y="971"/>
                  </a:lnTo>
                  <a:lnTo>
                    <a:pt x="3186" y="977"/>
                  </a:lnTo>
                  <a:lnTo>
                    <a:pt x="3195" y="982"/>
                  </a:lnTo>
                  <a:lnTo>
                    <a:pt x="3200" y="984"/>
                  </a:lnTo>
                  <a:lnTo>
                    <a:pt x="3205" y="985"/>
                  </a:lnTo>
                  <a:lnTo>
                    <a:pt x="3209" y="987"/>
                  </a:lnTo>
                  <a:lnTo>
                    <a:pt x="3214" y="988"/>
                  </a:lnTo>
                  <a:lnTo>
                    <a:pt x="3223" y="990"/>
                  </a:lnTo>
                  <a:lnTo>
                    <a:pt x="3230" y="991"/>
                  </a:lnTo>
                  <a:lnTo>
                    <a:pt x="3243" y="991"/>
                  </a:lnTo>
                  <a:lnTo>
                    <a:pt x="3257" y="991"/>
                  </a:lnTo>
                  <a:lnTo>
                    <a:pt x="3272" y="989"/>
                  </a:lnTo>
                  <a:lnTo>
                    <a:pt x="3279" y="987"/>
                  </a:lnTo>
                  <a:lnTo>
                    <a:pt x="3286" y="985"/>
                  </a:lnTo>
                  <a:lnTo>
                    <a:pt x="3293" y="983"/>
                  </a:lnTo>
                  <a:lnTo>
                    <a:pt x="3300" y="980"/>
                  </a:lnTo>
                  <a:lnTo>
                    <a:pt x="3314" y="974"/>
                  </a:lnTo>
                  <a:lnTo>
                    <a:pt x="3321" y="971"/>
                  </a:lnTo>
                  <a:lnTo>
                    <a:pt x="3328" y="967"/>
                  </a:lnTo>
                  <a:lnTo>
                    <a:pt x="3335" y="963"/>
                  </a:lnTo>
                  <a:lnTo>
                    <a:pt x="3342" y="959"/>
                  </a:lnTo>
                  <a:lnTo>
                    <a:pt x="3357" y="949"/>
                  </a:lnTo>
                  <a:lnTo>
                    <a:pt x="3356" y="948"/>
                  </a:lnTo>
                  <a:lnTo>
                    <a:pt x="3354" y="946"/>
                  </a:lnTo>
                  <a:lnTo>
                    <a:pt x="3353" y="944"/>
                  </a:lnTo>
                  <a:lnTo>
                    <a:pt x="3352" y="940"/>
                  </a:lnTo>
                  <a:lnTo>
                    <a:pt x="3351" y="936"/>
                  </a:lnTo>
                  <a:lnTo>
                    <a:pt x="3350" y="924"/>
                  </a:lnTo>
                  <a:lnTo>
                    <a:pt x="3350" y="908"/>
                  </a:lnTo>
                  <a:lnTo>
                    <a:pt x="3351" y="889"/>
                  </a:lnTo>
                  <a:lnTo>
                    <a:pt x="3352" y="866"/>
                  </a:lnTo>
                  <a:lnTo>
                    <a:pt x="3357" y="813"/>
                  </a:lnTo>
                  <a:lnTo>
                    <a:pt x="3361" y="783"/>
                  </a:lnTo>
                  <a:lnTo>
                    <a:pt x="3365" y="751"/>
                  </a:lnTo>
                  <a:lnTo>
                    <a:pt x="3374" y="682"/>
                  </a:lnTo>
                  <a:lnTo>
                    <a:pt x="3384" y="608"/>
                  </a:lnTo>
                  <a:lnTo>
                    <a:pt x="3395" y="532"/>
                  </a:lnTo>
                  <a:lnTo>
                    <a:pt x="3419" y="383"/>
                  </a:lnTo>
                  <a:lnTo>
                    <a:pt x="3440" y="254"/>
                  </a:lnTo>
                  <a:lnTo>
                    <a:pt x="3461" y="128"/>
                  </a:lnTo>
                  <a:lnTo>
                    <a:pt x="3462" y="127"/>
                  </a:lnTo>
                  <a:lnTo>
                    <a:pt x="3462" y="122"/>
                  </a:lnTo>
                  <a:lnTo>
                    <a:pt x="3463" y="118"/>
                  </a:lnTo>
                  <a:lnTo>
                    <a:pt x="3463" y="110"/>
                  </a:lnTo>
                  <a:lnTo>
                    <a:pt x="3462" y="106"/>
                  </a:lnTo>
                  <a:lnTo>
                    <a:pt x="3461" y="102"/>
                  </a:lnTo>
                  <a:lnTo>
                    <a:pt x="3461" y="98"/>
                  </a:lnTo>
                  <a:lnTo>
                    <a:pt x="3459" y="95"/>
                  </a:lnTo>
                  <a:lnTo>
                    <a:pt x="3456" y="88"/>
                  </a:lnTo>
                  <a:lnTo>
                    <a:pt x="3452" y="82"/>
                  </a:lnTo>
                  <a:lnTo>
                    <a:pt x="3447" y="76"/>
                  </a:lnTo>
                  <a:lnTo>
                    <a:pt x="3441" y="70"/>
                  </a:lnTo>
                  <a:lnTo>
                    <a:pt x="3435" y="65"/>
                  </a:lnTo>
                  <a:lnTo>
                    <a:pt x="3432" y="63"/>
                  </a:lnTo>
                  <a:lnTo>
                    <a:pt x="3428" y="61"/>
                  </a:lnTo>
                  <a:lnTo>
                    <a:pt x="3420" y="57"/>
                  </a:lnTo>
                  <a:lnTo>
                    <a:pt x="3412" y="53"/>
                  </a:lnTo>
                  <a:lnTo>
                    <a:pt x="3404" y="49"/>
                  </a:lnTo>
                  <a:lnTo>
                    <a:pt x="3395" y="46"/>
                  </a:lnTo>
                  <a:lnTo>
                    <a:pt x="3376" y="41"/>
                  </a:lnTo>
                  <a:lnTo>
                    <a:pt x="3357" y="36"/>
                  </a:lnTo>
                  <a:lnTo>
                    <a:pt x="3337" y="33"/>
                  </a:lnTo>
                  <a:lnTo>
                    <a:pt x="3317" y="30"/>
                  </a:lnTo>
                  <a:lnTo>
                    <a:pt x="3299" y="29"/>
                  </a:lnTo>
                  <a:lnTo>
                    <a:pt x="3282" y="28"/>
                  </a:lnTo>
                  <a:lnTo>
                    <a:pt x="3267" y="27"/>
                  </a:lnTo>
                  <a:lnTo>
                    <a:pt x="3244" y="27"/>
                  </a:lnTo>
                  <a:close/>
                  <a:moveTo>
                    <a:pt x="929" y="821"/>
                  </a:moveTo>
                  <a:lnTo>
                    <a:pt x="923" y="888"/>
                  </a:lnTo>
                  <a:lnTo>
                    <a:pt x="917" y="950"/>
                  </a:lnTo>
                  <a:lnTo>
                    <a:pt x="910" y="1009"/>
                  </a:lnTo>
                  <a:lnTo>
                    <a:pt x="904" y="1063"/>
                  </a:lnTo>
                  <a:lnTo>
                    <a:pt x="897" y="1114"/>
                  </a:lnTo>
                  <a:lnTo>
                    <a:pt x="890" y="1160"/>
                  </a:lnTo>
                  <a:lnTo>
                    <a:pt x="882" y="1202"/>
                  </a:lnTo>
                  <a:lnTo>
                    <a:pt x="875" y="1240"/>
                  </a:lnTo>
                  <a:lnTo>
                    <a:pt x="868" y="1275"/>
                  </a:lnTo>
                  <a:lnTo>
                    <a:pt x="861" y="1306"/>
                  </a:lnTo>
                  <a:lnTo>
                    <a:pt x="854" y="1333"/>
                  </a:lnTo>
                  <a:lnTo>
                    <a:pt x="847" y="1357"/>
                  </a:lnTo>
                  <a:lnTo>
                    <a:pt x="843" y="1368"/>
                  </a:lnTo>
                  <a:lnTo>
                    <a:pt x="840" y="1378"/>
                  </a:lnTo>
                  <a:lnTo>
                    <a:pt x="833" y="1395"/>
                  </a:lnTo>
                  <a:lnTo>
                    <a:pt x="830" y="1403"/>
                  </a:lnTo>
                  <a:lnTo>
                    <a:pt x="826" y="1410"/>
                  </a:lnTo>
                  <a:lnTo>
                    <a:pt x="823" y="1415"/>
                  </a:lnTo>
                  <a:lnTo>
                    <a:pt x="820" y="1421"/>
                  </a:lnTo>
                  <a:lnTo>
                    <a:pt x="809" y="1437"/>
                  </a:lnTo>
                  <a:lnTo>
                    <a:pt x="798" y="1452"/>
                  </a:lnTo>
                  <a:lnTo>
                    <a:pt x="791" y="1460"/>
                  </a:lnTo>
                  <a:lnTo>
                    <a:pt x="785" y="1467"/>
                  </a:lnTo>
                  <a:lnTo>
                    <a:pt x="779" y="1473"/>
                  </a:lnTo>
                  <a:lnTo>
                    <a:pt x="773" y="1480"/>
                  </a:lnTo>
                  <a:lnTo>
                    <a:pt x="766" y="1486"/>
                  </a:lnTo>
                  <a:lnTo>
                    <a:pt x="760" y="1492"/>
                  </a:lnTo>
                  <a:lnTo>
                    <a:pt x="746" y="1503"/>
                  </a:lnTo>
                  <a:lnTo>
                    <a:pt x="732" y="1513"/>
                  </a:lnTo>
                  <a:lnTo>
                    <a:pt x="724" y="1517"/>
                  </a:lnTo>
                  <a:lnTo>
                    <a:pt x="717" y="1522"/>
                  </a:lnTo>
                  <a:lnTo>
                    <a:pt x="701" y="1529"/>
                  </a:lnTo>
                  <a:lnTo>
                    <a:pt x="694" y="1533"/>
                  </a:lnTo>
                  <a:lnTo>
                    <a:pt x="686" y="1536"/>
                  </a:lnTo>
                  <a:lnTo>
                    <a:pt x="669" y="1542"/>
                  </a:lnTo>
                  <a:lnTo>
                    <a:pt x="661" y="1544"/>
                  </a:lnTo>
                  <a:lnTo>
                    <a:pt x="652" y="1546"/>
                  </a:lnTo>
                  <a:lnTo>
                    <a:pt x="635" y="1550"/>
                  </a:lnTo>
                  <a:lnTo>
                    <a:pt x="616" y="1552"/>
                  </a:lnTo>
                  <a:lnTo>
                    <a:pt x="598" y="1554"/>
                  </a:lnTo>
                  <a:lnTo>
                    <a:pt x="578" y="1554"/>
                  </a:lnTo>
                  <a:lnTo>
                    <a:pt x="565" y="1554"/>
                  </a:lnTo>
                  <a:lnTo>
                    <a:pt x="549" y="1552"/>
                  </a:lnTo>
                  <a:lnTo>
                    <a:pt x="541" y="1550"/>
                  </a:lnTo>
                  <a:lnTo>
                    <a:pt x="533" y="1548"/>
                  </a:lnTo>
                  <a:lnTo>
                    <a:pt x="515" y="1543"/>
                  </a:lnTo>
                  <a:lnTo>
                    <a:pt x="506" y="1540"/>
                  </a:lnTo>
                  <a:lnTo>
                    <a:pt x="496" y="1536"/>
                  </a:lnTo>
                  <a:lnTo>
                    <a:pt x="478" y="1527"/>
                  </a:lnTo>
                  <a:lnTo>
                    <a:pt x="468" y="1522"/>
                  </a:lnTo>
                  <a:lnTo>
                    <a:pt x="459" y="1516"/>
                  </a:lnTo>
                  <a:lnTo>
                    <a:pt x="450" y="1509"/>
                  </a:lnTo>
                  <a:lnTo>
                    <a:pt x="441" y="1503"/>
                  </a:lnTo>
                  <a:lnTo>
                    <a:pt x="432" y="1495"/>
                  </a:lnTo>
                  <a:lnTo>
                    <a:pt x="423" y="1487"/>
                  </a:lnTo>
                  <a:lnTo>
                    <a:pt x="415" y="1478"/>
                  </a:lnTo>
                  <a:lnTo>
                    <a:pt x="407" y="1469"/>
                  </a:lnTo>
                  <a:lnTo>
                    <a:pt x="399" y="1459"/>
                  </a:lnTo>
                  <a:lnTo>
                    <a:pt x="392" y="1448"/>
                  </a:lnTo>
                  <a:lnTo>
                    <a:pt x="385" y="1436"/>
                  </a:lnTo>
                  <a:lnTo>
                    <a:pt x="379" y="1424"/>
                  </a:lnTo>
                  <a:lnTo>
                    <a:pt x="373" y="1411"/>
                  </a:lnTo>
                  <a:lnTo>
                    <a:pt x="368" y="1398"/>
                  </a:lnTo>
                  <a:lnTo>
                    <a:pt x="364" y="1383"/>
                  </a:lnTo>
                  <a:lnTo>
                    <a:pt x="360" y="1368"/>
                  </a:lnTo>
                  <a:lnTo>
                    <a:pt x="357" y="1352"/>
                  </a:lnTo>
                  <a:lnTo>
                    <a:pt x="355" y="1335"/>
                  </a:lnTo>
                  <a:lnTo>
                    <a:pt x="353" y="1317"/>
                  </a:lnTo>
                  <a:lnTo>
                    <a:pt x="353" y="1299"/>
                  </a:lnTo>
                  <a:lnTo>
                    <a:pt x="354" y="1281"/>
                  </a:lnTo>
                  <a:lnTo>
                    <a:pt x="356" y="1264"/>
                  </a:lnTo>
                  <a:lnTo>
                    <a:pt x="360" y="1246"/>
                  </a:lnTo>
                  <a:lnTo>
                    <a:pt x="365" y="1227"/>
                  </a:lnTo>
                  <a:lnTo>
                    <a:pt x="372" y="1209"/>
                  </a:lnTo>
                  <a:lnTo>
                    <a:pt x="380" y="1189"/>
                  </a:lnTo>
                  <a:lnTo>
                    <a:pt x="390" y="1170"/>
                  </a:lnTo>
                  <a:lnTo>
                    <a:pt x="401" y="1150"/>
                  </a:lnTo>
                  <a:lnTo>
                    <a:pt x="414" y="1130"/>
                  </a:lnTo>
                  <a:lnTo>
                    <a:pt x="428" y="1109"/>
                  </a:lnTo>
                  <a:lnTo>
                    <a:pt x="444" y="1088"/>
                  </a:lnTo>
                  <a:lnTo>
                    <a:pt x="452" y="1077"/>
                  </a:lnTo>
                  <a:lnTo>
                    <a:pt x="461" y="1066"/>
                  </a:lnTo>
                  <a:lnTo>
                    <a:pt x="470" y="1055"/>
                  </a:lnTo>
                  <a:lnTo>
                    <a:pt x="479" y="1044"/>
                  </a:lnTo>
                  <a:lnTo>
                    <a:pt x="499" y="1022"/>
                  </a:lnTo>
                  <a:lnTo>
                    <a:pt x="520" y="1000"/>
                  </a:lnTo>
                  <a:lnTo>
                    <a:pt x="542" y="977"/>
                  </a:lnTo>
                  <a:lnTo>
                    <a:pt x="551" y="978"/>
                  </a:lnTo>
                  <a:lnTo>
                    <a:pt x="573" y="977"/>
                  </a:lnTo>
                  <a:lnTo>
                    <a:pt x="585" y="976"/>
                  </a:lnTo>
                  <a:lnTo>
                    <a:pt x="596" y="974"/>
                  </a:lnTo>
                  <a:lnTo>
                    <a:pt x="608" y="972"/>
                  </a:lnTo>
                  <a:lnTo>
                    <a:pt x="619" y="970"/>
                  </a:lnTo>
                  <a:lnTo>
                    <a:pt x="643" y="963"/>
                  </a:lnTo>
                  <a:lnTo>
                    <a:pt x="654" y="959"/>
                  </a:lnTo>
                  <a:lnTo>
                    <a:pt x="666" y="954"/>
                  </a:lnTo>
                  <a:lnTo>
                    <a:pt x="678" y="949"/>
                  </a:lnTo>
                  <a:lnTo>
                    <a:pt x="690" y="944"/>
                  </a:lnTo>
                  <a:lnTo>
                    <a:pt x="702" y="937"/>
                  </a:lnTo>
                  <a:lnTo>
                    <a:pt x="714" y="931"/>
                  </a:lnTo>
                  <a:lnTo>
                    <a:pt x="726" y="924"/>
                  </a:lnTo>
                  <a:lnTo>
                    <a:pt x="738" y="916"/>
                  </a:lnTo>
                  <a:lnTo>
                    <a:pt x="762" y="900"/>
                  </a:lnTo>
                  <a:lnTo>
                    <a:pt x="786" y="881"/>
                  </a:lnTo>
                  <a:lnTo>
                    <a:pt x="799" y="871"/>
                  </a:lnTo>
                  <a:lnTo>
                    <a:pt x="811" y="861"/>
                  </a:lnTo>
                  <a:lnTo>
                    <a:pt x="836" y="839"/>
                  </a:lnTo>
                  <a:lnTo>
                    <a:pt x="861" y="814"/>
                  </a:lnTo>
                  <a:lnTo>
                    <a:pt x="886" y="788"/>
                  </a:lnTo>
                  <a:lnTo>
                    <a:pt x="899" y="774"/>
                  </a:lnTo>
                  <a:lnTo>
                    <a:pt x="912" y="760"/>
                  </a:lnTo>
                  <a:lnTo>
                    <a:pt x="925" y="745"/>
                  </a:lnTo>
                  <a:lnTo>
                    <a:pt x="938" y="729"/>
                  </a:lnTo>
                  <a:lnTo>
                    <a:pt x="929" y="821"/>
                  </a:lnTo>
                  <a:close/>
                  <a:moveTo>
                    <a:pt x="987" y="304"/>
                  </a:moveTo>
                  <a:lnTo>
                    <a:pt x="986" y="316"/>
                  </a:lnTo>
                  <a:lnTo>
                    <a:pt x="984" y="328"/>
                  </a:lnTo>
                  <a:lnTo>
                    <a:pt x="979" y="352"/>
                  </a:lnTo>
                  <a:lnTo>
                    <a:pt x="973" y="376"/>
                  </a:lnTo>
                  <a:lnTo>
                    <a:pt x="967" y="399"/>
                  </a:lnTo>
                  <a:lnTo>
                    <a:pt x="959" y="423"/>
                  </a:lnTo>
                  <a:lnTo>
                    <a:pt x="950" y="445"/>
                  </a:lnTo>
                  <a:lnTo>
                    <a:pt x="941" y="468"/>
                  </a:lnTo>
                  <a:lnTo>
                    <a:pt x="930" y="490"/>
                  </a:lnTo>
                  <a:lnTo>
                    <a:pt x="924" y="501"/>
                  </a:lnTo>
                  <a:lnTo>
                    <a:pt x="918" y="512"/>
                  </a:lnTo>
                  <a:lnTo>
                    <a:pt x="906" y="534"/>
                  </a:lnTo>
                  <a:lnTo>
                    <a:pt x="899" y="544"/>
                  </a:lnTo>
                  <a:lnTo>
                    <a:pt x="892" y="555"/>
                  </a:lnTo>
                  <a:lnTo>
                    <a:pt x="877" y="576"/>
                  </a:lnTo>
                  <a:lnTo>
                    <a:pt x="862" y="596"/>
                  </a:lnTo>
                  <a:lnTo>
                    <a:pt x="845" y="616"/>
                  </a:lnTo>
                  <a:lnTo>
                    <a:pt x="828" y="636"/>
                  </a:lnTo>
                  <a:lnTo>
                    <a:pt x="810" y="656"/>
                  </a:lnTo>
                  <a:lnTo>
                    <a:pt x="793" y="672"/>
                  </a:lnTo>
                  <a:lnTo>
                    <a:pt x="778" y="687"/>
                  </a:lnTo>
                  <a:lnTo>
                    <a:pt x="763" y="699"/>
                  </a:lnTo>
                  <a:lnTo>
                    <a:pt x="750" y="711"/>
                  </a:lnTo>
                  <a:lnTo>
                    <a:pt x="737" y="721"/>
                  </a:lnTo>
                  <a:lnTo>
                    <a:pt x="725" y="729"/>
                  </a:lnTo>
                  <a:lnTo>
                    <a:pt x="714" y="736"/>
                  </a:lnTo>
                  <a:lnTo>
                    <a:pt x="703" y="743"/>
                  </a:lnTo>
                  <a:lnTo>
                    <a:pt x="694" y="748"/>
                  </a:lnTo>
                  <a:lnTo>
                    <a:pt x="685" y="752"/>
                  </a:lnTo>
                  <a:lnTo>
                    <a:pt x="677" y="755"/>
                  </a:lnTo>
                  <a:lnTo>
                    <a:pt x="670" y="757"/>
                  </a:lnTo>
                  <a:lnTo>
                    <a:pt x="663" y="759"/>
                  </a:lnTo>
                  <a:lnTo>
                    <a:pt x="657" y="760"/>
                  </a:lnTo>
                  <a:lnTo>
                    <a:pt x="648" y="761"/>
                  </a:lnTo>
                  <a:lnTo>
                    <a:pt x="644" y="760"/>
                  </a:lnTo>
                  <a:lnTo>
                    <a:pt x="641" y="759"/>
                  </a:lnTo>
                  <a:lnTo>
                    <a:pt x="639" y="756"/>
                  </a:lnTo>
                  <a:lnTo>
                    <a:pt x="636" y="753"/>
                  </a:lnTo>
                  <a:lnTo>
                    <a:pt x="634" y="749"/>
                  </a:lnTo>
                  <a:lnTo>
                    <a:pt x="633" y="744"/>
                  </a:lnTo>
                  <a:lnTo>
                    <a:pt x="630" y="734"/>
                  </a:lnTo>
                  <a:lnTo>
                    <a:pt x="629" y="729"/>
                  </a:lnTo>
                  <a:lnTo>
                    <a:pt x="629" y="723"/>
                  </a:lnTo>
                  <a:lnTo>
                    <a:pt x="628" y="712"/>
                  </a:lnTo>
                  <a:lnTo>
                    <a:pt x="628" y="692"/>
                  </a:lnTo>
                  <a:lnTo>
                    <a:pt x="629" y="667"/>
                  </a:lnTo>
                  <a:lnTo>
                    <a:pt x="630" y="641"/>
                  </a:lnTo>
                  <a:lnTo>
                    <a:pt x="632" y="616"/>
                  </a:lnTo>
                  <a:lnTo>
                    <a:pt x="635" y="592"/>
                  </a:lnTo>
                  <a:lnTo>
                    <a:pt x="638" y="568"/>
                  </a:lnTo>
                  <a:lnTo>
                    <a:pt x="642" y="545"/>
                  </a:lnTo>
                  <a:lnTo>
                    <a:pt x="647" y="522"/>
                  </a:lnTo>
                  <a:lnTo>
                    <a:pt x="649" y="510"/>
                  </a:lnTo>
                  <a:lnTo>
                    <a:pt x="652" y="499"/>
                  </a:lnTo>
                  <a:lnTo>
                    <a:pt x="657" y="478"/>
                  </a:lnTo>
                  <a:lnTo>
                    <a:pt x="664" y="456"/>
                  </a:lnTo>
                  <a:lnTo>
                    <a:pt x="671" y="436"/>
                  </a:lnTo>
                  <a:lnTo>
                    <a:pt x="678" y="415"/>
                  </a:lnTo>
                  <a:lnTo>
                    <a:pt x="682" y="406"/>
                  </a:lnTo>
                  <a:lnTo>
                    <a:pt x="687" y="396"/>
                  </a:lnTo>
                  <a:lnTo>
                    <a:pt x="695" y="377"/>
                  </a:lnTo>
                  <a:lnTo>
                    <a:pt x="705" y="358"/>
                  </a:lnTo>
                  <a:lnTo>
                    <a:pt x="715" y="341"/>
                  </a:lnTo>
                  <a:lnTo>
                    <a:pt x="724" y="325"/>
                  </a:lnTo>
                  <a:lnTo>
                    <a:pt x="734" y="311"/>
                  </a:lnTo>
                  <a:lnTo>
                    <a:pt x="744" y="297"/>
                  </a:lnTo>
                  <a:lnTo>
                    <a:pt x="748" y="291"/>
                  </a:lnTo>
                  <a:lnTo>
                    <a:pt x="753" y="285"/>
                  </a:lnTo>
                  <a:lnTo>
                    <a:pt x="763" y="274"/>
                  </a:lnTo>
                  <a:lnTo>
                    <a:pt x="774" y="263"/>
                  </a:lnTo>
                  <a:lnTo>
                    <a:pt x="784" y="254"/>
                  </a:lnTo>
                  <a:lnTo>
                    <a:pt x="795" y="246"/>
                  </a:lnTo>
                  <a:lnTo>
                    <a:pt x="805" y="238"/>
                  </a:lnTo>
                  <a:lnTo>
                    <a:pt x="816" y="232"/>
                  </a:lnTo>
                  <a:lnTo>
                    <a:pt x="827" y="227"/>
                  </a:lnTo>
                  <a:lnTo>
                    <a:pt x="838" y="222"/>
                  </a:lnTo>
                  <a:lnTo>
                    <a:pt x="850" y="219"/>
                  </a:lnTo>
                  <a:lnTo>
                    <a:pt x="861" y="216"/>
                  </a:lnTo>
                  <a:lnTo>
                    <a:pt x="873" y="214"/>
                  </a:lnTo>
                  <a:lnTo>
                    <a:pt x="885" y="213"/>
                  </a:lnTo>
                  <a:lnTo>
                    <a:pt x="901" y="213"/>
                  </a:lnTo>
                  <a:lnTo>
                    <a:pt x="917" y="214"/>
                  </a:lnTo>
                  <a:lnTo>
                    <a:pt x="933" y="215"/>
                  </a:lnTo>
                  <a:lnTo>
                    <a:pt x="948" y="217"/>
                  </a:lnTo>
                  <a:lnTo>
                    <a:pt x="962" y="220"/>
                  </a:lnTo>
                  <a:lnTo>
                    <a:pt x="975" y="223"/>
                  </a:lnTo>
                  <a:lnTo>
                    <a:pt x="998" y="229"/>
                  </a:lnTo>
                  <a:lnTo>
                    <a:pt x="991" y="277"/>
                  </a:lnTo>
                  <a:lnTo>
                    <a:pt x="987" y="304"/>
                  </a:lnTo>
                  <a:close/>
                  <a:moveTo>
                    <a:pt x="3204" y="299"/>
                  </a:moveTo>
                  <a:lnTo>
                    <a:pt x="3200" y="325"/>
                  </a:lnTo>
                  <a:lnTo>
                    <a:pt x="3195" y="350"/>
                  </a:lnTo>
                  <a:lnTo>
                    <a:pt x="3192" y="362"/>
                  </a:lnTo>
                  <a:lnTo>
                    <a:pt x="3189" y="374"/>
                  </a:lnTo>
                  <a:lnTo>
                    <a:pt x="3182" y="399"/>
                  </a:lnTo>
                  <a:lnTo>
                    <a:pt x="3174" y="422"/>
                  </a:lnTo>
                  <a:lnTo>
                    <a:pt x="3165" y="446"/>
                  </a:lnTo>
                  <a:lnTo>
                    <a:pt x="3156" y="469"/>
                  </a:lnTo>
                  <a:lnTo>
                    <a:pt x="3145" y="491"/>
                  </a:lnTo>
                  <a:lnTo>
                    <a:pt x="3134" y="513"/>
                  </a:lnTo>
                  <a:lnTo>
                    <a:pt x="3122" y="535"/>
                  </a:lnTo>
                  <a:lnTo>
                    <a:pt x="3109" y="557"/>
                  </a:lnTo>
                  <a:lnTo>
                    <a:pt x="3095" y="577"/>
                  </a:lnTo>
                  <a:lnTo>
                    <a:pt x="3080" y="598"/>
                  </a:lnTo>
                  <a:lnTo>
                    <a:pt x="3072" y="608"/>
                  </a:lnTo>
                  <a:lnTo>
                    <a:pt x="3064" y="618"/>
                  </a:lnTo>
                  <a:lnTo>
                    <a:pt x="3056" y="628"/>
                  </a:lnTo>
                  <a:lnTo>
                    <a:pt x="3048" y="638"/>
                  </a:lnTo>
                  <a:lnTo>
                    <a:pt x="3031" y="657"/>
                  </a:lnTo>
                  <a:lnTo>
                    <a:pt x="3015" y="673"/>
                  </a:lnTo>
                  <a:lnTo>
                    <a:pt x="3000" y="688"/>
                  </a:lnTo>
                  <a:lnTo>
                    <a:pt x="2986" y="701"/>
                  </a:lnTo>
                  <a:lnTo>
                    <a:pt x="2972" y="712"/>
                  </a:lnTo>
                  <a:lnTo>
                    <a:pt x="2960" y="722"/>
                  </a:lnTo>
                  <a:lnTo>
                    <a:pt x="2948" y="731"/>
                  </a:lnTo>
                  <a:lnTo>
                    <a:pt x="2937" y="738"/>
                  </a:lnTo>
                  <a:lnTo>
                    <a:pt x="2927" y="744"/>
                  </a:lnTo>
                  <a:lnTo>
                    <a:pt x="2917" y="749"/>
                  </a:lnTo>
                  <a:lnTo>
                    <a:pt x="2909" y="754"/>
                  </a:lnTo>
                  <a:lnTo>
                    <a:pt x="2901" y="757"/>
                  </a:lnTo>
                  <a:lnTo>
                    <a:pt x="2893" y="759"/>
                  </a:lnTo>
                  <a:lnTo>
                    <a:pt x="2887" y="761"/>
                  </a:lnTo>
                  <a:lnTo>
                    <a:pt x="2881" y="762"/>
                  </a:lnTo>
                  <a:lnTo>
                    <a:pt x="2871" y="763"/>
                  </a:lnTo>
                  <a:lnTo>
                    <a:pt x="2868" y="762"/>
                  </a:lnTo>
                  <a:lnTo>
                    <a:pt x="2865" y="761"/>
                  </a:lnTo>
                  <a:lnTo>
                    <a:pt x="2862" y="759"/>
                  </a:lnTo>
                  <a:lnTo>
                    <a:pt x="2860" y="756"/>
                  </a:lnTo>
                  <a:lnTo>
                    <a:pt x="2858" y="752"/>
                  </a:lnTo>
                  <a:lnTo>
                    <a:pt x="2856" y="748"/>
                  </a:lnTo>
                  <a:lnTo>
                    <a:pt x="2853" y="738"/>
                  </a:lnTo>
                  <a:lnTo>
                    <a:pt x="2852" y="733"/>
                  </a:lnTo>
                  <a:lnTo>
                    <a:pt x="2852" y="727"/>
                  </a:lnTo>
                  <a:lnTo>
                    <a:pt x="2850" y="716"/>
                  </a:lnTo>
                  <a:lnTo>
                    <a:pt x="2850" y="695"/>
                  </a:lnTo>
                  <a:lnTo>
                    <a:pt x="2850" y="669"/>
                  </a:lnTo>
                  <a:lnTo>
                    <a:pt x="2851" y="643"/>
                  </a:lnTo>
                  <a:lnTo>
                    <a:pt x="2853" y="618"/>
                  </a:lnTo>
                  <a:lnTo>
                    <a:pt x="2855" y="593"/>
                  </a:lnTo>
                  <a:lnTo>
                    <a:pt x="2858" y="569"/>
                  </a:lnTo>
                  <a:lnTo>
                    <a:pt x="2862" y="546"/>
                  </a:lnTo>
                  <a:lnTo>
                    <a:pt x="2866" y="523"/>
                  </a:lnTo>
                  <a:lnTo>
                    <a:pt x="2871" y="501"/>
                  </a:lnTo>
                  <a:lnTo>
                    <a:pt x="2876" y="479"/>
                  </a:lnTo>
                  <a:lnTo>
                    <a:pt x="2882" y="457"/>
                  </a:lnTo>
                  <a:lnTo>
                    <a:pt x="2889" y="437"/>
                  </a:lnTo>
                  <a:lnTo>
                    <a:pt x="2896" y="416"/>
                  </a:lnTo>
                  <a:lnTo>
                    <a:pt x="2903" y="397"/>
                  </a:lnTo>
                  <a:lnTo>
                    <a:pt x="2911" y="378"/>
                  </a:lnTo>
                  <a:lnTo>
                    <a:pt x="2920" y="359"/>
                  </a:lnTo>
                  <a:lnTo>
                    <a:pt x="2929" y="341"/>
                  </a:lnTo>
                  <a:lnTo>
                    <a:pt x="2938" y="325"/>
                  </a:lnTo>
                  <a:lnTo>
                    <a:pt x="2942" y="318"/>
                  </a:lnTo>
                  <a:lnTo>
                    <a:pt x="2947" y="311"/>
                  </a:lnTo>
                  <a:lnTo>
                    <a:pt x="2955" y="298"/>
                  </a:lnTo>
                  <a:lnTo>
                    <a:pt x="2965" y="286"/>
                  </a:lnTo>
                  <a:lnTo>
                    <a:pt x="2974" y="276"/>
                  </a:lnTo>
                  <a:lnTo>
                    <a:pt x="2983" y="266"/>
                  </a:lnTo>
                  <a:lnTo>
                    <a:pt x="2993" y="257"/>
                  </a:lnTo>
                  <a:lnTo>
                    <a:pt x="3002" y="249"/>
                  </a:lnTo>
                  <a:lnTo>
                    <a:pt x="3012" y="241"/>
                  </a:lnTo>
                  <a:lnTo>
                    <a:pt x="3022" y="235"/>
                  </a:lnTo>
                  <a:lnTo>
                    <a:pt x="3032" y="230"/>
                  </a:lnTo>
                  <a:lnTo>
                    <a:pt x="3042" y="225"/>
                  </a:lnTo>
                  <a:lnTo>
                    <a:pt x="3052" y="221"/>
                  </a:lnTo>
                  <a:lnTo>
                    <a:pt x="3062" y="217"/>
                  </a:lnTo>
                  <a:lnTo>
                    <a:pt x="3071" y="214"/>
                  </a:lnTo>
                  <a:lnTo>
                    <a:pt x="3081" y="212"/>
                  </a:lnTo>
                  <a:lnTo>
                    <a:pt x="3101" y="209"/>
                  </a:lnTo>
                  <a:lnTo>
                    <a:pt x="3110" y="208"/>
                  </a:lnTo>
                  <a:lnTo>
                    <a:pt x="3120" y="208"/>
                  </a:lnTo>
                  <a:lnTo>
                    <a:pt x="3129" y="208"/>
                  </a:lnTo>
                  <a:lnTo>
                    <a:pt x="3139" y="208"/>
                  </a:lnTo>
                  <a:lnTo>
                    <a:pt x="3156" y="209"/>
                  </a:lnTo>
                  <a:lnTo>
                    <a:pt x="3165" y="210"/>
                  </a:lnTo>
                  <a:lnTo>
                    <a:pt x="3174" y="212"/>
                  </a:lnTo>
                  <a:lnTo>
                    <a:pt x="3190" y="214"/>
                  </a:lnTo>
                  <a:lnTo>
                    <a:pt x="3219" y="219"/>
                  </a:lnTo>
                  <a:lnTo>
                    <a:pt x="3217" y="230"/>
                  </a:lnTo>
                  <a:lnTo>
                    <a:pt x="3215" y="242"/>
                  </a:lnTo>
                  <a:lnTo>
                    <a:pt x="3211" y="268"/>
                  </a:lnTo>
                  <a:lnTo>
                    <a:pt x="3204" y="2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400" b="1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C7E80D7B-A6C8-443D-8A23-842768CD5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8944" y="2705939"/>
              <a:ext cx="376873" cy="533481"/>
            </a:xfrm>
            <a:custGeom>
              <a:avLst/>
              <a:gdLst>
                <a:gd name="T0" fmla="*/ 698 w 901"/>
                <a:gd name="T1" fmla="*/ 227 h 1274"/>
                <a:gd name="T2" fmla="*/ 760 w 901"/>
                <a:gd name="T3" fmla="*/ 277 h 1274"/>
                <a:gd name="T4" fmla="*/ 813 w 901"/>
                <a:gd name="T5" fmla="*/ 288 h 1274"/>
                <a:gd name="T6" fmla="*/ 855 w 901"/>
                <a:gd name="T7" fmla="*/ 274 h 1274"/>
                <a:gd name="T8" fmla="*/ 887 w 901"/>
                <a:gd name="T9" fmla="*/ 234 h 1274"/>
                <a:gd name="T10" fmla="*/ 900 w 901"/>
                <a:gd name="T11" fmla="*/ 154 h 1274"/>
                <a:gd name="T12" fmla="*/ 882 w 901"/>
                <a:gd name="T13" fmla="*/ 97 h 1274"/>
                <a:gd name="T14" fmla="*/ 837 w 901"/>
                <a:gd name="T15" fmla="*/ 54 h 1274"/>
                <a:gd name="T16" fmla="*/ 730 w 901"/>
                <a:gd name="T17" fmla="*/ 14 h 1274"/>
                <a:gd name="T18" fmla="*/ 601 w 901"/>
                <a:gd name="T19" fmla="*/ 0 h 1274"/>
                <a:gd name="T20" fmla="*/ 475 w 901"/>
                <a:gd name="T21" fmla="*/ 15 h 1274"/>
                <a:gd name="T22" fmla="*/ 367 w 901"/>
                <a:gd name="T23" fmla="*/ 57 h 1274"/>
                <a:gd name="T24" fmla="*/ 296 w 901"/>
                <a:gd name="T25" fmla="*/ 107 h 1274"/>
                <a:gd name="T26" fmla="*/ 238 w 901"/>
                <a:gd name="T27" fmla="*/ 171 h 1274"/>
                <a:gd name="T28" fmla="*/ 196 w 901"/>
                <a:gd name="T29" fmla="*/ 251 h 1274"/>
                <a:gd name="T30" fmla="*/ 179 w 901"/>
                <a:gd name="T31" fmla="*/ 341 h 1274"/>
                <a:gd name="T32" fmla="*/ 188 w 901"/>
                <a:gd name="T33" fmla="*/ 433 h 1274"/>
                <a:gd name="T34" fmla="*/ 216 w 901"/>
                <a:gd name="T35" fmla="*/ 499 h 1274"/>
                <a:gd name="T36" fmla="*/ 272 w 901"/>
                <a:gd name="T37" fmla="*/ 569 h 1274"/>
                <a:gd name="T38" fmla="*/ 398 w 901"/>
                <a:gd name="T39" fmla="*/ 682 h 1274"/>
                <a:gd name="T40" fmla="*/ 573 w 901"/>
                <a:gd name="T41" fmla="*/ 835 h 1274"/>
                <a:gd name="T42" fmla="*/ 616 w 901"/>
                <a:gd name="T43" fmla="*/ 905 h 1274"/>
                <a:gd name="T44" fmla="*/ 628 w 901"/>
                <a:gd name="T45" fmla="*/ 985 h 1274"/>
                <a:gd name="T46" fmla="*/ 616 w 901"/>
                <a:gd name="T47" fmla="*/ 1029 h 1274"/>
                <a:gd name="T48" fmla="*/ 578 w 901"/>
                <a:gd name="T49" fmla="*/ 1078 h 1274"/>
                <a:gd name="T50" fmla="*/ 517 w 901"/>
                <a:gd name="T51" fmla="*/ 1113 h 1274"/>
                <a:gd name="T52" fmla="*/ 449 w 901"/>
                <a:gd name="T53" fmla="*/ 1124 h 1274"/>
                <a:gd name="T54" fmla="*/ 371 w 901"/>
                <a:gd name="T55" fmla="*/ 1112 h 1274"/>
                <a:gd name="T56" fmla="*/ 314 w 901"/>
                <a:gd name="T57" fmla="*/ 1079 h 1274"/>
                <a:gd name="T58" fmla="*/ 259 w 901"/>
                <a:gd name="T59" fmla="*/ 1007 h 1274"/>
                <a:gd name="T60" fmla="*/ 219 w 901"/>
                <a:gd name="T61" fmla="*/ 929 h 1274"/>
                <a:gd name="T62" fmla="*/ 184 w 901"/>
                <a:gd name="T63" fmla="*/ 901 h 1274"/>
                <a:gd name="T64" fmla="*/ 131 w 901"/>
                <a:gd name="T65" fmla="*/ 888 h 1274"/>
                <a:gd name="T66" fmla="*/ 83 w 901"/>
                <a:gd name="T67" fmla="*/ 898 h 1274"/>
                <a:gd name="T68" fmla="*/ 37 w 901"/>
                <a:gd name="T69" fmla="*/ 929 h 1274"/>
                <a:gd name="T70" fmla="*/ 6 w 901"/>
                <a:gd name="T71" fmla="*/ 978 h 1274"/>
                <a:gd name="T72" fmla="*/ 3 w 901"/>
                <a:gd name="T73" fmla="*/ 1044 h 1274"/>
                <a:gd name="T74" fmla="*/ 35 w 901"/>
                <a:gd name="T75" fmla="*/ 1119 h 1274"/>
                <a:gd name="T76" fmla="*/ 90 w 901"/>
                <a:gd name="T77" fmla="*/ 1184 h 1274"/>
                <a:gd name="T78" fmla="*/ 176 w 901"/>
                <a:gd name="T79" fmla="*/ 1240 h 1274"/>
                <a:gd name="T80" fmla="*/ 271 w 901"/>
                <a:gd name="T81" fmla="*/ 1268 h 1274"/>
                <a:gd name="T82" fmla="*/ 400 w 901"/>
                <a:gd name="T83" fmla="*/ 1273 h 1274"/>
                <a:gd name="T84" fmla="*/ 539 w 901"/>
                <a:gd name="T85" fmla="*/ 1247 h 1274"/>
                <a:gd name="T86" fmla="*/ 678 w 901"/>
                <a:gd name="T87" fmla="*/ 1178 h 1274"/>
                <a:gd name="T88" fmla="*/ 772 w 901"/>
                <a:gd name="T89" fmla="*/ 1087 h 1274"/>
                <a:gd name="T90" fmla="*/ 817 w 901"/>
                <a:gd name="T91" fmla="*/ 1008 h 1274"/>
                <a:gd name="T92" fmla="*/ 839 w 901"/>
                <a:gd name="T93" fmla="*/ 920 h 1274"/>
                <a:gd name="T94" fmla="*/ 835 w 901"/>
                <a:gd name="T95" fmla="*/ 819 h 1274"/>
                <a:gd name="T96" fmla="*/ 808 w 901"/>
                <a:gd name="T97" fmla="*/ 743 h 1274"/>
                <a:gd name="T98" fmla="*/ 760 w 901"/>
                <a:gd name="T99" fmla="*/ 670 h 1274"/>
                <a:gd name="T100" fmla="*/ 670 w 901"/>
                <a:gd name="T101" fmla="*/ 582 h 1274"/>
                <a:gd name="T102" fmla="*/ 425 w 901"/>
                <a:gd name="T103" fmla="*/ 369 h 1274"/>
                <a:gd name="T104" fmla="*/ 389 w 901"/>
                <a:gd name="T105" fmla="*/ 314 h 1274"/>
                <a:gd name="T106" fmla="*/ 382 w 901"/>
                <a:gd name="T107" fmla="*/ 249 h 1274"/>
                <a:gd name="T108" fmla="*/ 407 w 901"/>
                <a:gd name="T109" fmla="*/ 198 h 1274"/>
                <a:gd name="T110" fmla="*/ 456 w 901"/>
                <a:gd name="T111" fmla="*/ 157 h 1274"/>
                <a:gd name="T112" fmla="*/ 520 w 901"/>
                <a:gd name="T113" fmla="*/ 139 h 1274"/>
                <a:gd name="T114" fmla="*/ 597 w 901"/>
                <a:gd name="T115" fmla="*/ 152 h 127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901"/>
                <a:gd name="T175" fmla="*/ 0 h 1274"/>
                <a:gd name="T176" fmla="*/ 901 w 901"/>
                <a:gd name="T177" fmla="*/ 1274 h 127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901" h="1274">
                  <a:moveTo>
                    <a:pt x="654" y="183"/>
                  </a:moveTo>
                  <a:lnTo>
                    <a:pt x="660" y="188"/>
                  </a:lnTo>
                  <a:lnTo>
                    <a:pt x="665" y="192"/>
                  </a:lnTo>
                  <a:lnTo>
                    <a:pt x="671" y="198"/>
                  </a:lnTo>
                  <a:lnTo>
                    <a:pt x="676" y="203"/>
                  </a:lnTo>
                  <a:lnTo>
                    <a:pt x="687" y="215"/>
                  </a:lnTo>
                  <a:lnTo>
                    <a:pt x="698" y="227"/>
                  </a:lnTo>
                  <a:lnTo>
                    <a:pt x="709" y="239"/>
                  </a:lnTo>
                  <a:lnTo>
                    <a:pt x="720" y="251"/>
                  </a:lnTo>
                  <a:lnTo>
                    <a:pt x="728" y="256"/>
                  </a:lnTo>
                  <a:lnTo>
                    <a:pt x="734" y="261"/>
                  </a:lnTo>
                  <a:lnTo>
                    <a:pt x="741" y="266"/>
                  </a:lnTo>
                  <a:lnTo>
                    <a:pt x="748" y="271"/>
                  </a:lnTo>
                  <a:lnTo>
                    <a:pt x="760" y="277"/>
                  </a:lnTo>
                  <a:lnTo>
                    <a:pt x="771" y="282"/>
                  </a:lnTo>
                  <a:lnTo>
                    <a:pt x="777" y="284"/>
                  </a:lnTo>
                  <a:lnTo>
                    <a:pt x="782" y="285"/>
                  </a:lnTo>
                  <a:lnTo>
                    <a:pt x="787" y="286"/>
                  </a:lnTo>
                  <a:lnTo>
                    <a:pt x="793" y="287"/>
                  </a:lnTo>
                  <a:lnTo>
                    <a:pt x="803" y="288"/>
                  </a:lnTo>
                  <a:lnTo>
                    <a:pt x="813" y="288"/>
                  </a:lnTo>
                  <a:lnTo>
                    <a:pt x="822" y="287"/>
                  </a:lnTo>
                  <a:lnTo>
                    <a:pt x="831" y="285"/>
                  </a:lnTo>
                  <a:lnTo>
                    <a:pt x="835" y="284"/>
                  </a:lnTo>
                  <a:lnTo>
                    <a:pt x="840" y="282"/>
                  </a:lnTo>
                  <a:lnTo>
                    <a:pt x="844" y="280"/>
                  </a:lnTo>
                  <a:lnTo>
                    <a:pt x="848" y="278"/>
                  </a:lnTo>
                  <a:lnTo>
                    <a:pt x="855" y="274"/>
                  </a:lnTo>
                  <a:lnTo>
                    <a:pt x="858" y="272"/>
                  </a:lnTo>
                  <a:lnTo>
                    <a:pt x="862" y="269"/>
                  </a:lnTo>
                  <a:lnTo>
                    <a:pt x="868" y="263"/>
                  </a:lnTo>
                  <a:lnTo>
                    <a:pt x="874" y="257"/>
                  </a:lnTo>
                  <a:lnTo>
                    <a:pt x="879" y="251"/>
                  </a:lnTo>
                  <a:lnTo>
                    <a:pt x="883" y="244"/>
                  </a:lnTo>
                  <a:lnTo>
                    <a:pt x="887" y="234"/>
                  </a:lnTo>
                  <a:lnTo>
                    <a:pt x="892" y="224"/>
                  </a:lnTo>
                  <a:lnTo>
                    <a:pt x="895" y="213"/>
                  </a:lnTo>
                  <a:lnTo>
                    <a:pt x="898" y="202"/>
                  </a:lnTo>
                  <a:lnTo>
                    <a:pt x="900" y="190"/>
                  </a:lnTo>
                  <a:lnTo>
                    <a:pt x="901" y="179"/>
                  </a:lnTo>
                  <a:lnTo>
                    <a:pt x="901" y="167"/>
                  </a:lnTo>
                  <a:lnTo>
                    <a:pt x="900" y="154"/>
                  </a:lnTo>
                  <a:lnTo>
                    <a:pt x="899" y="142"/>
                  </a:lnTo>
                  <a:lnTo>
                    <a:pt x="896" y="130"/>
                  </a:lnTo>
                  <a:lnTo>
                    <a:pt x="892" y="119"/>
                  </a:lnTo>
                  <a:lnTo>
                    <a:pt x="890" y="113"/>
                  </a:lnTo>
                  <a:lnTo>
                    <a:pt x="888" y="108"/>
                  </a:lnTo>
                  <a:lnTo>
                    <a:pt x="885" y="103"/>
                  </a:lnTo>
                  <a:lnTo>
                    <a:pt x="882" y="97"/>
                  </a:lnTo>
                  <a:lnTo>
                    <a:pt x="879" y="92"/>
                  </a:lnTo>
                  <a:lnTo>
                    <a:pt x="876" y="87"/>
                  </a:lnTo>
                  <a:lnTo>
                    <a:pt x="868" y="78"/>
                  </a:lnTo>
                  <a:lnTo>
                    <a:pt x="863" y="73"/>
                  </a:lnTo>
                  <a:lnTo>
                    <a:pt x="859" y="69"/>
                  </a:lnTo>
                  <a:lnTo>
                    <a:pt x="848" y="61"/>
                  </a:lnTo>
                  <a:lnTo>
                    <a:pt x="837" y="54"/>
                  </a:lnTo>
                  <a:lnTo>
                    <a:pt x="824" y="47"/>
                  </a:lnTo>
                  <a:lnTo>
                    <a:pt x="811" y="40"/>
                  </a:lnTo>
                  <a:lnTo>
                    <a:pt x="796" y="34"/>
                  </a:lnTo>
                  <a:lnTo>
                    <a:pt x="780" y="29"/>
                  </a:lnTo>
                  <a:lnTo>
                    <a:pt x="764" y="23"/>
                  </a:lnTo>
                  <a:lnTo>
                    <a:pt x="747" y="19"/>
                  </a:lnTo>
                  <a:lnTo>
                    <a:pt x="730" y="14"/>
                  </a:lnTo>
                  <a:lnTo>
                    <a:pt x="711" y="11"/>
                  </a:lnTo>
                  <a:lnTo>
                    <a:pt x="693" y="7"/>
                  </a:lnTo>
                  <a:lnTo>
                    <a:pt x="674" y="5"/>
                  </a:lnTo>
                  <a:lnTo>
                    <a:pt x="656" y="3"/>
                  </a:lnTo>
                  <a:lnTo>
                    <a:pt x="638" y="1"/>
                  </a:lnTo>
                  <a:lnTo>
                    <a:pt x="619" y="0"/>
                  </a:lnTo>
                  <a:lnTo>
                    <a:pt x="601" y="0"/>
                  </a:lnTo>
                  <a:lnTo>
                    <a:pt x="579" y="0"/>
                  </a:lnTo>
                  <a:lnTo>
                    <a:pt x="557" y="2"/>
                  </a:lnTo>
                  <a:lnTo>
                    <a:pt x="536" y="4"/>
                  </a:lnTo>
                  <a:lnTo>
                    <a:pt x="515" y="6"/>
                  </a:lnTo>
                  <a:lnTo>
                    <a:pt x="495" y="10"/>
                  </a:lnTo>
                  <a:lnTo>
                    <a:pt x="485" y="12"/>
                  </a:lnTo>
                  <a:lnTo>
                    <a:pt x="475" y="15"/>
                  </a:lnTo>
                  <a:lnTo>
                    <a:pt x="466" y="17"/>
                  </a:lnTo>
                  <a:lnTo>
                    <a:pt x="456" y="20"/>
                  </a:lnTo>
                  <a:lnTo>
                    <a:pt x="437" y="26"/>
                  </a:lnTo>
                  <a:lnTo>
                    <a:pt x="419" y="33"/>
                  </a:lnTo>
                  <a:lnTo>
                    <a:pt x="401" y="40"/>
                  </a:lnTo>
                  <a:lnTo>
                    <a:pt x="384" y="48"/>
                  </a:lnTo>
                  <a:lnTo>
                    <a:pt x="367" y="57"/>
                  </a:lnTo>
                  <a:lnTo>
                    <a:pt x="350" y="67"/>
                  </a:lnTo>
                  <a:lnTo>
                    <a:pt x="342" y="72"/>
                  </a:lnTo>
                  <a:lnTo>
                    <a:pt x="334" y="78"/>
                  </a:lnTo>
                  <a:lnTo>
                    <a:pt x="319" y="89"/>
                  </a:lnTo>
                  <a:lnTo>
                    <a:pt x="311" y="95"/>
                  </a:lnTo>
                  <a:lnTo>
                    <a:pt x="303" y="101"/>
                  </a:lnTo>
                  <a:lnTo>
                    <a:pt x="296" y="107"/>
                  </a:lnTo>
                  <a:lnTo>
                    <a:pt x="288" y="114"/>
                  </a:lnTo>
                  <a:lnTo>
                    <a:pt x="281" y="120"/>
                  </a:lnTo>
                  <a:lnTo>
                    <a:pt x="274" y="127"/>
                  </a:lnTo>
                  <a:lnTo>
                    <a:pt x="261" y="141"/>
                  </a:lnTo>
                  <a:lnTo>
                    <a:pt x="249" y="155"/>
                  </a:lnTo>
                  <a:lnTo>
                    <a:pt x="243" y="163"/>
                  </a:lnTo>
                  <a:lnTo>
                    <a:pt x="238" y="171"/>
                  </a:lnTo>
                  <a:lnTo>
                    <a:pt x="227" y="186"/>
                  </a:lnTo>
                  <a:lnTo>
                    <a:pt x="218" y="202"/>
                  </a:lnTo>
                  <a:lnTo>
                    <a:pt x="214" y="210"/>
                  </a:lnTo>
                  <a:lnTo>
                    <a:pt x="210" y="218"/>
                  </a:lnTo>
                  <a:lnTo>
                    <a:pt x="203" y="234"/>
                  </a:lnTo>
                  <a:lnTo>
                    <a:pt x="199" y="242"/>
                  </a:lnTo>
                  <a:lnTo>
                    <a:pt x="196" y="251"/>
                  </a:lnTo>
                  <a:lnTo>
                    <a:pt x="191" y="268"/>
                  </a:lnTo>
                  <a:lnTo>
                    <a:pt x="188" y="277"/>
                  </a:lnTo>
                  <a:lnTo>
                    <a:pt x="186" y="286"/>
                  </a:lnTo>
                  <a:lnTo>
                    <a:pt x="183" y="304"/>
                  </a:lnTo>
                  <a:lnTo>
                    <a:pt x="180" y="323"/>
                  </a:lnTo>
                  <a:lnTo>
                    <a:pt x="180" y="332"/>
                  </a:lnTo>
                  <a:lnTo>
                    <a:pt x="179" y="341"/>
                  </a:lnTo>
                  <a:lnTo>
                    <a:pt x="178" y="361"/>
                  </a:lnTo>
                  <a:lnTo>
                    <a:pt x="179" y="371"/>
                  </a:lnTo>
                  <a:lnTo>
                    <a:pt x="179" y="382"/>
                  </a:lnTo>
                  <a:lnTo>
                    <a:pt x="180" y="392"/>
                  </a:lnTo>
                  <a:lnTo>
                    <a:pt x="182" y="403"/>
                  </a:lnTo>
                  <a:lnTo>
                    <a:pt x="185" y="423"/>
                  </a:lnTo>
                  <a:lnTo>
                    <a:pt x="188" y="433"/>
                  </a:lnTo>
                  <a:lnTo>
                    <a:pt x="191" y="443"/>
                  </a:lnTo>
                  <a:lnTo>
                    <a:pt x="194" y="452"/>
                  </a:lnTo>
                  <a:lnTo>
                    <a:pt x="198" y="462"/>
                  </a:lnTo>
                  <a:lnTo>
                    <a:pt x="202" y="471"/>
                  </a:lnTo>
                  <a:lnTo>
                    <a:pt x="206" y="481"/>
                  </a:lnTo>
                  <a:lnTo>
                    <a:pt x="211" y="490"/>
                  </a:lnTo>
                  <a:lnTo>
                    <a:pt x="216" y="499"/>
                  </a:lnTo>
                  <a:lnTo>
                    <a:pt x="222" y="507"/>
                  </a:lnTo>
                  <a:lnTo>
                    <a:pt x="227" y="516"/>
                  </a:lnTo>
                  <a:lnTo>
                    <a:pt x="233" y="524"/>
                  </a:lnTo>
                  <a:lnTo>
                    <a:pt x="240" y="532"/>
                  </a:lnTo>
                  <a:lnTo>
                    <a:pt x="247" y="541"/>
                  </a:lnTo>
                  <a:lnTo>
                    <a:pt x="255" y="550"/>
                  </a:lnTo>
                  <a:lnTo>
                    <a:pt x="272" y="569"/>
                  </a:lnTo>
                  <a:lnTo>
                    <a:pt x="282" y="579"/>
                  </a:lnTo>
                  <a:lnTo>
                    <a:pt x="292" y="589"/>
                  </a:lnTo>
                  <a:lnTo>
                    <a:pt x="303" y="599"/>
                  </a:lnTo>
                  <a:lnTo>
                    <a:pt x="315" y="610"/>
                  </a:lnTo>
                  <a:lnTo>
                    <a:pt x="340" y="633"/>
                  </a:lnTo>
                  <a:lnTo>
                    <a:pt x="368" y="657"/>
                  </a:lnTo>
                  <a:lnTo>
                    <a:pt x="398" y="682"/>
                  </a:lnTo>
                  <a:lnTo>
                    <a:pt x="499" y="763"/>
                  </a:lnTo>
                  <a:lnTo>
                    <a:pt x="515" y="777"/>
                  </a:lnTo>
                  <a:lnTo>
                    <a:pt x="529" y="790"/>
                  </a:lnTo>
                  <a:lnTo>
                    <a:pt x="543" y="803"/>
                  </a:lnTo>
                  <a:lnTo>
                    <a:pt x="556" y="816"/>
                  </a:lnTo>
                  <a:lnTo>
                    <a:pt x="567" y="829"/>
                  </a:lnTo>
                  <a:lnTo>
                    <a:pt x="573" y="835"/>
                  </a:lnTo>
                  <a:lnTo>
                    <a:pt x="578" y="841"/>
                  </a:lnTo>
                  <a:lnTo>
                    <a:pt x="588" y="854"/>
                  </a:lnTo>
                  <a:lnTo>
                    <a:pt x="596" y="867"/>
                  </a:lnTo>
                  <a:lnTo>
                    <a:pt x="604" y="880"/>
                  </a:lnTo>
                  <a:lnTo>
                    <a:pt x="610" y="893"/>
                  </a:lnTo>
                  <a:lnTo>
                    <a:pt x="613" y="899"/>
                  </a:lnTo>
                  <a:lnTo>
                    <a:pt x="616" y="905"/>
                  </a:lnTo>
                  <a:lnTo>
                    <a:pt x="621" y="918"/>
                  </a:lnTo>
                  <a:lnTo>
                    <a:pt x="624" y="931"/>
                  </a:lnTo>
                  <a:lnTo>
                    <a:pt x="627" y="943"/>
                  </a:lnTo>
                  <a:lnTo>
                    <a:pt x="628" y="956"/>
                  </a:lnTo>
                  <a:lnTo>
                    <a:pt x="629" y="968"/>
                  </a:lnTo>
                  <a:lnTo>
                    <a:pt x="628" y="976"/>
                  </a:lnTo>
                  <a:lnTo>
                    <a:pt x="628" y="985"/>
                  </a:lnTo>
                  <a:lnTo>
                    <a:pt x="627" y="993"/>
                  </a:lnTo>
                  <a:lnTo>
                    <a:pt x="626" y="1000"/>
                  </a:lnTo>
                  <a:lnTo>
                    <a:pt x="624" y="1008"/>
                  </a:lnTo>
                  <a:lnTo>
                    <a:pt x="623" y="1012"/>
                  </a:lnTo>
                  <a:lnTo>
                    <a:pt x="622" y="1015"/>
                  </a:lnTo>
                  <a:lnTo>
                    <a:pt x="619" y="1022"/>
                  </a:lnTo>
                  <a:lnTo>
                    <a:pt x="616" y="1029"/>
                  </a:lnTo>
                  <a:lnTo>
                    <a:pt x="613" y="1036"/>
                  </a:lnTo>
                  <a:lnTo>
                    <a:pt x="609" y="1043"/>
                  </a:lnTo>
                  <a:lnTo>
                    <a:pt x="605" y="1049"/>
                  </a:lnTo>
                  <a:lnTo>
                    <a:pt x="601" y="1055"/>
                  </a:lnTo>
                  <a:lnTo>
                    <a:pt x="596" y="1061"/>
                  </a:lnTo>
                  <a:lnTo>
                    <a:pt x="590" y="1067"/>
                  </a:lnTo>
                  <a:lnTo>
                    <a:pt x="578" y="1078"/>
                  </a:lnTo>
                  <a:lnTo>
                    <a:pt x="572" y="1084"/>
                  </a:lnTo>
                  <a:lnTo>
                    <a:pt x="565" y="1089"/>
                  </a:lnTo>
                  <a:lnTo>
                    <a:pt x="550" y="1098"/>
                  </a:lnTo>
                  <a:lnTo>
                    <a:pt x="542" y="1103"/>
                  </a:lnTo>
                  <a:lnTo>
                    <a:pt x="534" y="1106"/>
                  </a:lnTo>
                  <a:lnTo>
                    <a:pt x="525" y="1110"/>
                  </a:lnTo>
                  <a:lnTo>
                    <a:pt x="517" y="1113"/>
                  </a:lnTo>
                  <a:lnTo>
                    <a:pt x="508" y="1115"/>
                  </a:lnTo>
                  <a:lnTo>
                    <a:pt x="499" y="1118"/>
                  </a:lnTo>
                  <a:lnTo>
                    <a:pt x="489" y="1120"/>
                  </a:lnTo>
                  <a:lnTo>
                    <a:pt x="480" y="1121"/>
                  </a:lnTo>
                  <a:lnTo>
                    <a:pt x="470" y="1122"/>
                  </a:lnTo>
                  <a:lnTo>
                    <a:pt x="459" y="1123"/>
                  </a:lnTo>
                  <a:lnTo>
                    <a:pt x="449" y="1124"/>
                  </a:lnTo>
                  <a:lnTo>
                    <a:pt x="438" y="1124"/>
                  </a:lnTo>
                  <a:lnTo>
                    <a:pt x="426" y="1123"/>
                  </a:lnTo>
                  <a:lnTo>
                    <a:pt x="414" y="1122"/>
                  </a:lnTo>
                  <a:lnTo>
                    <a:pt x="402" y="1120"/>
                  </a:lnTo>
                  <a:lnTo>
                    <a:pt x="391" y="1118"/>
                  </a:lnTo>
                  <a:lnTo>
                    <a:pt x="381" y="1115"/>
                  </a:lnTo>
                  <a:lnTo>
                    <a:pt x="371" y="1112"/>
                  </a:lnTo>
                  <a:lnTo>
                    <a:pt x="361" y="1109"/>
                  </a:lnTo>
                  <a:lnTo>
                    <a:pt x="352" y="1104"/>
                  </a:lnTo>
                  <a:lnTo>
                    <a:pt x="344" y="1100"/>
                  </a:lnTo>
                  <a:lnTo>
                    <a:pt x="336" y="1095"/>
                  </a:lnTo>
                  <a:lnTo>
                    <a:pt x="328" y="1090"/>
                  </a:lnTo>
                  <a:lnTo>
                    <a:pt x="321" y="1085"/>
                  </a:lnTo>
                  <a:lnTo>
                    <a:pt x="314" y="1079"/>
                  </a:lnTo>
                  <a:lnTo>
                    <a:pt x="308" y="1073"/>
                  </a:lnTo>
                  <a:lnTo>
                    <a:pt x="301" y="1067"/>
                  </a:lnTo>
                  <a:lnTo>
                    <a:pt x="296" y="1061"/>
                  </a:lnTo>
                  <a:lnTo>
                    <a:pt x="285" y="1048"/>
                  </a:lnTo>
                  <a:lnTo>
                    <a:pt x="275" y="1034"/>
                  </a:lnTo>
                  <a:lnTo>
                    <a:pt x="267" y="1021"/>
                  </a:lnTo>
                  <a:lnTo>
                    <a:pt x="259" y="1007"/>
                  </a:lnTo>
                  <a:lnTo>
                    <a:pt x="253" y="994"/>
                  </a:lnTo>
                  <a:lnTo>
                    <a:pt x="247" y="981"/>
                  </a:lnTo>
                  <a:lnTo>
                    <a:pt x="236" y="958"/>
                  </a:lnTo>
                  <a:lnTo>
                    <a:pt x="232" y="950"/>
                  </a:lnTo>
                  <a:lnTo>
                    <a:pt x="228" y="943"/>
                  </a:lnTo>
                  <a:lnTo>
                    <a:pt x="223" y="936"/>
                  </a:lnTo>
                  <a:lnTo>
                    <a:pt x="219" y="929"/>
                  </a:lnTo>
                  <a:lnTo>
                    <a:pt x="213" y="923"/>
                  </a:lnTo>
                  <a:lnTo>
                    <a:pt x="211" y="921"/>
                  </a:lnTo>
                  <a:lnTo>
                    <a:pt x="208" y="918"/>
                  </a:lnTo>
                  <a:lnTo>
                    <a:pt x="202" y="913"/>
                  </a:lnTo>
                  <a:lnTo>
                    <a:pt x="197" y="909"/>
                  </a:lnTo>
                  <a:lnTo>
                    <a:pt x="190" y="905"/>
                  </a:lnTo>
                  <a:lnTo>
                    <a:pt x="184" y="901"/>
                  </a:lnTo>
                  <a:lnTo>
                    <a:pt x="178" y="898"/>
                  </a:lnTo>
                  <a:lnTo>
                    <a:pt x="171" y="896"/>
                  </a:lnTo>
                  <a:lnTo>
                    <a:pt x="164" y="893"/>
                  </a:lnTo>
                  <a:lnTo>
                    <a:pt x="158" y="891"/>
                  </a:lnTo>
                  <a:lnTo>
                    <a:pt x="151" y="890"/>
                  </a:lnTo>
                  <a:lnTo>
                    <a:pt x="143" y="889"/>
                  </a:lnTo>
                  <a:lnTo>
                    <a:pt x="131" y="888"/>
                  </a:lnTo>
                  <a:lnTo>
                    <a:pt x="124" y="888"/>
                  </a:lnTo>
                  <a:lnTo>
                    <a:pt x="118" y="889"/>
                  </a:lnTo>
                  <a:lnTo>
                    <a:pt x="111" y="890"/>
                  </a:lnTo>
                  <a:lnTo>
                    <a:pt x="104" y="891"/>
                  </a:lnTo>
                  <a:lnTo>
                    <a:pt x="97" y="893"/>
                  </a:lnTo>
                  <a:lnTo>
                    <a:pt x="90" y="896"/>
                  </a:lnTo>
                  <a:lnTo>
                    <a:pt x="83" y="898"/>
                  </a:lnTo>
                  <a:lnTo>
                    <a:pt x="76" y="902"/>
                  </a:lnTo>
                  <a:lnTo>
                    <a:pt x="69" y="905"/>
                  </a:lnTo>
                  <a:lnTo>
                    <a:pt x="62" y="909"/>
                  </a:lnTo>
                  <a:lnTo>
                    <a:pt x="55" y="914"/>
                  </a:lnTo>
                  <a:lnTo>
                    <a:pt x="49" y="918"/>
                  </a:lnTo>
                  <a:lnTo>
                    <a:pt x="42" y="924"/>
                  </a:lnTo>
                  <a:lnTo>
                    <a:pt x="37" y="929"/>
                  </a:lnTo>
                  <a:lnTo>
                    <a:pt x="31" y="935"/>
                  </a:lnTo>
                  <a:lnTo>
                    <a:pt x="26" y="941"/>
                  </a:lnTo>
                  <a:lnTo>
                    <a:pt x="21" y="948"/>
                  </a:lnTo>
                  <a:lnTo>
                    <a:pt x="16" y="955"/>
                  </a:lnTo>
                  <a:lnTo>
                    <a:pt x="12" y="962"/>
                  </a:lnTo>
                  <a:lnTo>
                    <a:pt x="9" y="970"/>
                  </a:lnTo>
                  <a:lnTo>
                    <a:pt x="6" y="978"/>
                  </a:lnTo>
                  <a:lnTo>
                    <a:pt x="3" y="987"/>
                  </a:lnTo>
                  <a:lnTo>
                    <a:pt x="2" y="995"/>
                  </a:lnTo>
                  <a:lnTo>
                    <a:pt x="1" y="1004"/>
                  </a:lnTo>
                  <a:lnTo>
                    <a:pt x="0" y="1014"/>
                  </a:lnTo>
                  <a:lnTo>
                    <a:pt x="0" y="1024"/>
                  </a:lnTo>
                  <a:lnTo>
                    <a:pt x="1" y="1034"/>
                  </a:lnTo>
                  <a:lnTo>
                    <a:pt x="3" y="1044"/>
                  </a:lnTo>
                  <a:lnTo>
                    <a:pt x="6" y="1055"/>
                  </a:lnTo>
                  <a:lnTo>
                    <a:pt x="10" y="1066"/>
                  </a:lnTo>
                  <a:lnTo>
                    <a:pt x="14" y="1077"/>
                  </a:lnTo>
                  <a:lnTo>
                    <a:pt x="19" y="1088"/>
                  </a:lnTo>
                  <a:lnTo>
                    <a:pt x="24" y="1098"/>
                  </a:lnTo>
                  <a:lnTo>
                    <a:pt x="29" y="1109"/>
                  </a:lnTo>
                  <a:lnTo>
                    <a:pt x="35" y="1119"/>
                  </a:lnTo>
                  <a:lnTo>
                    <a:pt x="42" y="1129"/>
                  </a:lnTo>
                  <a:lnTo>
                    <a:pt x="49" y="1139"/>
                  </a:lnTo>
                  <a:lnTo>
                    <a:pt x="56" y="1148"/>
                  </a:lnTo>
                  <a:lnTo>
                    <a:pt x="64" y="1158"/>
                  </a:lnTo>
                  <a:lnTo>
                    <a:pt x="72" y="1167"/>
                  </a:lnTo>
                  <a:lnTo>
                    <a:pt x="81" y="1175"/>
                  </a:lnTo>
                  <a:lnTo>
                    <a:pt x="90" y="1184"/>
                  </a:lnTo>
                  <a:lnTo>
                    <a:pt x="99" y="1192"/>
                  </a:lnTo>
                  <a:lnTo>
                    <a:pt x="109" y="1200"/>
                  </a:lnTo>
                  <a:lnTo>
                    <a:pt x="130" y="1215"/>
                  </a:lnTo>
                  <a:lnTo>
                    <a:pt x="141" y="1221"/>
                  </a:lnTo>
                  <a:lnTo>
                    <a:pt x="152" y="1228"/>
                  </a:lnTo>
                  <a:lnTo>
                    <a:pt x="164" y="1234"/>
                  </a:lnTo>
                  <a:lnTo>
                    <a:pt x="176" y="1240"/>
                  </a:lnTo>
                  <a:lnTo>
                    <a:pt x="189" y="1245"/>
                  </a:lnTo>
                  <a:lnTo>
                    <a:pt x="202" y="1250"/>
                  </a:lnTo>
                  <a:lnTo>
                    <a:pt x="215" y="1254"/>
                  </a:lnTo>
                  <a:lnTo>
                    <a:pt x="229" y="1258"/>
                  </a:lnTo>
                  <a:lnTo>
                    <a:pt x="243" y="1262"/>
                  </a:lnTo>
                  <a:lnTo>
                    <a:pt x="257" y="1265"/>
                  </a:lnTo>
                  <a:lnTo>
                    <a:pt x="271" y="1268"/>
                  </a:lnTo>
                  <a:lnTo>
                    <a:pt x="286" y="1270"/>
                  </a:lnTo>
                  <a:lnTo>
                    <a:pt x="302" y="1272"/>
                  </a:lnTo>
                  <a:lnTo>
                    <a:pt x="317" y="1273"/>
                  </a:lnTo>
                  <a:lnTo>
                    <a:pt x="333" y="1274"/>
                  </a:lnTo>
                  <a:lnTo>
                    <a:pt x="350" y="1274"/>
                  </a:lnTo>
                  <a:lnTo>
                    <a:pt x="375" y="1274"/>
                  </a:lnTo>
                  <a:lnTo>
                    <a:pt x="400" y="1273"/>
                  </a:lnTo>
                  <a:lnTo>
                    <a:pt x="412" y="1272"/>
                  </a:lnTo>
                  <a:lnTo>
                    <a:pt x="424" y="1270"/>
                  </a:lnTo>
                  <a:lnTo>
                    <a:pt x="448" y="1267"/>
                  </a:lnTo>
                  <a:lnTo>
                    <a:pt x="472" y="1264"/>
                  </a:lnTo>
                  <a:lnTo>
                    <a:pt x="495" y="1259"/>
                  </a:lnTo>
                  <a:lnTo>
                    <a:pt x="517" y="1253"/>
                  </a:lnTo>
                  <a:lnTo>
                    <a:pt x="539" y="1247"/>
                  </a:lnTo>
                  <a:lnTo>
                    <a:pt x="561" y="1239"/>
                  </a:lnTo>
                  <a:lnTo>
                    <a:pt x="581" y="1231"/>
                  </a:lnTo>
                  <a:lnTo>
                    <a:pt x="602" y="1222"/>
                  </a:lnTo>
                  <a:lnTo>
                    <a:pt x="622" y="1212"/>
                  </a:lnTo>
                  <a:lnTo>
                    <a:pt x="641" y="1202"/>
                  </a:lnTo>
                  <a:lnTo>
                    <a:pt x="660" y="1190"/>
                  </a:lnTo>
                  <a:lnTo>
                    <a:pt x="678" y="1178"/>
                  </a:lnTo>
                  <a:lnTo>
                    <a:pt x="695" y="1164"/>
                  </a:lnTo>
                  <a:lnTo>
                    <a:pt x="713" y="1150"/>
                  </a:lnTo>
                  <a:lnTo>
                    <a:pt x="721" y="1143"/>
                  </a:lnTo>
                  <a:lnTo>
                    <a:pt x="730" y="1135"/>
                  </a:lnTo>
                  <a:lnTo>
                    <a:pt x="745" y="1120"/>
                  </a:lnTo>
                  <a:lnTo>
                    <a:pt x="759" y="1104"/>
                  </a:lnTo>
                  <a:lnTo>
                    <a:pt x="772" y="1087"/>
                  </a:lnTo>
                  <a:lnTo>
                    <a:pt x="778" y="1079"/>
                  </a:lnTo>
                  <a:lnTo>
                    <a:pt x="784" y="1071"/>
                  </a:lnTo>
                  <a:lnTo>
                    <a:pt x="795" y="1053"/>
                  </a:lnTo>
                  <a:lnTo>
                    <a:pt x="800" y="1045"/>
                  </a:lnTo>
                  <a:lnTo>
                    <a:pt x="805" y="1036"/>
                  </a:lnTo>
                  <a:lnTo>
                    <a:pt x="813" y="1017"/>
                  </a:lnTo>
                  <a:lnTo>
                    <a:pt x="817" y="1008"/>
                  </a:lnTo>
                  <a:lnTo>
                    <a:pt x="820" y="999"/>
                  </a:lnTo>
                  <a:lnTo>
                    <a:pt x="827" y="980"/>
                  </a:lnTo>
                  <a:lnTo>
                    <a:pt x="829" y="970"/>
                  </a:lnTo>
                  <a:lnTo>
                    <a:pt x="832" y="960"/>
                  </a:lnTo>
                  <a:lnTo>
                    <a:pt x="836" y="940"/>
                  </a:lnTo>
                  <a:lnTo>
                    <a:pt x="837" y="930"/>
                  </a:lnTo>
                  <a:lnTo>
                    <a:pt x="839" y="920"/>
                  </a:lnTo>
                  <a:lnTo>
                    <a:pt x="840" y="899"/>
                  </a:lnTo>
                  <a:lnTo>
                    <a:pt x="841" y="888"/>
                  </a:lnTo>
                  <a:lnTo>
                    <a:pt x="841" y="878"/>
                  </a:lnTo>
                  <a:lnTo>
                    <a:pt x="840" y="858"/>
                  </a:lnTo>
                  <a:lnTo>
                    <a:pt x="839" y="848"/>
                  </a:lnTo>
                  <a:lnTo>
                    <a:pt x="838" y="839"/>
                  </a:lnTo>
                  <a:lnTo>
                    <a:pt x="835" y="819"/>
                  </a:lnTo>
                  <a:lnTo>
                    <a:pt x="833" y="810"/>
                  </a:lnTo>
                  <a:lnTo>
                    <a:pt x="830" y="800"/>
                  </a:lnTo>
                  <a:lnTo>
                    <a:pt x="827" y="790"/>
                  </a:lnTo>
                  <a:lnTo>
                    <a:pt x="824" y="781"/>
                  </a:lnTo>
                  <a:lnTo>
                    <a:pt x="817" y="762"/>
                  </a:lnTo>
                  <a:lnTo>
                    <a:pt x="813" y="753"/>
                  </a:lnTo>
                  <a:lnTo>
                    <a:pt x="808" y="743"/>
                  </a:lnTo>
                  <a:lnTo>
                    <a:pt x="803" y="734"/>
                  </a:lnTo>
                  <a:lnTo>
                    <a:pt x="798" y="725"/>
                  </a:lnTo>
                  <a:lnTo>
                    <a:pt x="787" y="706"/>
                  </a:lnTo>
                  <a:lnTo>
                    <a:pt x="781" y="697"/>
                  </a:lnTo>
                  <a:lnTo>
                    <a:pt x="774" y="688"/>
                  </a:lnTo>
                  <a:lnTo>
                    <a:pt x="767" y="679"/>
                  </a:lnTo>
                  <a:lnTo>
                    <a:pt x="760" y="670"/>
                  </a:lnTo>
                  <a:lnTo>
                    <a:pt x="745" y="652"/>
                  </a:lnTo>
                  <a:lnTo>
                    <a:pt x="737" y="643"/>
                  </a:lnTo>
                  <a:lnTo>
                    <a:pt x="728" y="634"/>
                  </a:lnTo>
                  <a:lnTo>
                    <a:pt x="709" y="616"/>
                  </a:lnTo>
                  <a:lnTo>
                    <a:pt x="700" y="608"/>
                  </a:lnTo>
                  <a:lnTo>
                    <a:pt x="690" y="599"/>
                  </a:lnTo>
                  <a:lnTo>
                    <a:pt x="670" y="582"/>
                  </a:lnTo>
                  <a:lnTo>
                    <a:pt x="589" y="515"/>
                  </a:lnTo>
                  <a:lnTo>
                    <a:pt x="528" y="464"/>
                  </a:lnTo>
                  <a:lnTo>
                    <a:pt x="501" y="442"/>
                  </a:lnTo>
                  <a:lnTo>
                    <a:pt x="478" y="421"/>
                  </a:lnTo>
                  <a:lnTo>
                    <a:pt x="458" y="402"/>
                  </a:lnTo>
                  <a:lnTo>
                    <a:pt x="440" y="384"/>
                  </a:lnTo>
                  <a:lnTo>
                    <a:pt x="425" y="369"/>
                  </a:lnTo>
                  <a:lnTo>
                    <a:pt x="419" y="362"/>
                  </a:lnTo>
                  <a:lnTo>
                    <a:pt x="414" y="356"/>
                  </a:lnTo>
                  <a:lnTo>
                    <a:pt x="406" y="345"/>
                  </a:lnTo>
                  <a:lnTo>
                    <a:pt x="399" y="335"/>
                  </a:lnTo>
                  <a:lnTo>
                    <a:pt x="396" y="330"/>
                  </a:lnTo>
                  <a:lnTo>
                    <a:pt x="394" y="324"/>
                  </a:lnTo>
                  <a:lnTo>
                    <a:pt x="389" y="314"/>
                  </a:lnTo>
                  <a:lnTo>
                    <a:pt x="386" y="303"/>
                  </a:lnTo>
                  <a:lnTo>
                    <a:pt x="383" y="293"/>
                  </a:lnTo>
                  <a:lnTo>
                    <a:pt x="381" y="282"/>
                  </a:lnTo>
                  <a:lnTo>
                    <a:pt x="380" y="272"/>
                  </a:lnTo>
                  <a:lnTo>
                    <a:pt x="380" y="264"/>
                  </a:lnTo>
                  <a:lnTo>
                    <a:pt x="380" y="257"/>
                  </a:lnTo>
                  <a:lnTo>
                    <a:pt x="382" y="249"/>
                  </a:lnTo>
                  <a:lnTo>
                    <a:pt x="384" y="241"/>
                  </a:lnTo>
                  <a:lnTo>
                    <a:pt x="386" y="233"/>
                  </a:lnTo>
                  <a:lnTo>
                    <a:pt x="390" y="225"/>
                  </a:lnTo>
                  <a:lnTo>
                    <a:pt x="394" y="217"/>
                  </a:lnTo>
                  <a:lnTo>
                    <a:pt x="398" y="210"/>
                  </a:lnTo>
                  <a:lnTo>
                    <a:pt x="404" y="202"/>
                  </a:lnTo>
                  <a:lnTo>
                    <a:pt x="407" y="198"/>
                  </a:lnTo>
                  <a:lnTo>
                    <a:pt x="410" y="195"/>
                  </a:lnTo>
                  <a:lnTo>
                    <a:pt x="416" y="188"/>
                  </a:lnTo>
                  <a:lnTo>
                    <a:pt x="423" y="181"/>
                  </a:lnTo>
                  <a:lnTo>
                    <a:pt x="431" y="174"/>
                  </a:lnTo>
                  <a:lnTo>
                    <a:pt x="439" y="168"/>
                  </a:lnTo>
                  <a:lnTo>
                    <a:pt x="447" y="163"/>
                  </a:lnTo>
                  <a:lnTo>
                    <a:pt x="456" y="157"/>
                  </a:lnTo>
                  <a:lnTo>
                    <a:pt x="466" y="152"/>
                  </a:lnTo>
                  <a:lnTo>
                    <a:pt x="476" y="148"/>
                  </a:lnTo>
                  <a:lnTo>
                    <a:pt x="486" y="145"/>
                  </a:lnTo>
                  <a:lnTo>
                    <a:pt x="497" y="142"/>
                  </a:lnTo>
                  <a:lnTo>
                    <a:pt x="509" y="140"/>
                  </a:lnTo>
                  <a:lnTo>
                    <a:pt x="514" y="139"/>
                  </a:lnTo>
                  <a:lnTo>
                    <a:pt x="520" y="139"/>
                  </a:lnTo>
                  <a:lnTo>
                    <a:pt x="532" y="139"/>
                  </a:lnTo>
                  <a:lnTo>
                    <a:pt x="545" y="139"/>
                  </a:lnTo>
                  <a:lnTo>
                    <a:pt x="557" y="141"/>
                  </a:lnTo>
                  <a:lnTo>
                    <a:pt x="570" y="143"/>
                  </a:lnTo>
                  <a:lnTo>
                    <a:pt x="584" y="147"/>
                  </a:lnTo>
                  <a:lnTo>
                    <a:pt x="590" y="149"/>
                  </a:lnTo>
                  <a:lnTo>
                    <a:pt x="597" y="152"/>
                  </a:lnTo>
                  <a:lnTo>
                    <a:pt x="611" y="157"/>
                  </a:lnTo>
                  <a:lnTo>
                    <a:pt x="625" y="165"/>
                  </a:lnTo>
                  <a:lnTo>
                    <a:pt x="639" y="174"/>
                  </a:lnTo>
                  <a:lnTo>
                    <a:pt x="654" y="1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400" b="1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EE5764A5-5EA7-453E-8CCB-C0070E7BC3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5554" y="2513316"/>
              <a:ext cx="1136894" cy="255853"/>
            </a:xfrm>
            <a:custGeom>
              <a:avLst/>
              <a:gdLst>
                <a:gd name="T0" fmla="*/ 355 w 2718"/>
                <a:gd name="T1" fmla="*/ 506 h 611"/>
                <a:gd name="T2" fmla="*/ 571 w 2718"/>
                <a:gd name="T3" fmla="*/ 436 h 611"/>
                <a:gd name="T4" fmla="*/ 776 w 2718"/>
                <a:gd name="T5" fmla="*/ 379 h 611"/>
                <a:gd name="T6" fmla="*/ 972 w 2718"/>
                <a:gd name="T7" fmla="*/ 334 h 611"/>
                <a:gd name="T8" fmla="*/ 1141 w 2718"/>
                <a:gd name="T9" fmla="*/ 303 h 611"/>
                <a:gd name="T10" fmla="*/ 1335 w 2718"/>
                <a:gd name="T11" fmla="*/ 278 h 611"/>
                <a:gd name="T12" fmla="*/ 1516 w 2718"/>
                <a:gd name="T13" fmla="*/ 265 h 611"/>
                <a:gd name="T14" fmla="*/ 1718 w 2718"/>
                <a:gd name="T15" fmla="*/ 262 h 611"/>
                <a:gd name="T16" fmla="*/ 1875 w 2718"/>
                <a:gd name="T17" fmla="*/ 270 h 611"/>
                <a:gd name="T18" fmla="*/ 2020 w 2718"/>
                <a:gd name="T19" fmla="*/ 286 h 611"/>
                <a:gd name="T20" fmla="*/ 2153 w 2718"/>
                <a:gd name="T21" fmla="*/ 309 h 611"/>
                <a:gd name="T22" fmla="*/ 2298 w 2718"/>
                <a:gd name="T23" fmla="*/ 345 h 611"/>
                <a:gd name="T24" fmla="*/ 2427 w 2718"/>
                <a:gd name="T25" fmla="*/ 387 h 611"/>
                <a:gd name="T26" fmla="*/ 2540 w 2718"/>
                <a:gd name="T27" fmla="*/ 433 h 611"/>
                <a:gd name="T28" fmla="*/ 2666 w 2718"/>
                <a:gd name="T29" fmla="*/ 500 h 611"/>
                <a:gd name="T30" fmla="*/ 2718 w 2718"/>
                <a:gd name="T31" fmla="*/ 526 h 611"/>
                <a:gd name="T32" fmla="*/ 2713 w 2718"/>
                <a:gd name="T33" fmla="*/ 509 h 611"/>
                <a:gd name="T34" fmla="*/ 2693 w 2718"/>
                <a:gd name="T35" fmla="*/ 478 h 611"/>
                <a:gd name="T36" fmla="*/ 2658 w 2718"/>
                <a:gd name="T37" fmla="*/ 440 h 611"/>
                <a:gd name="T38" fmla="*/ 2589 w 2718"/>
                <a:gd name="T39" fmla="*/ 383 h 611"/>
                <a:gd name="T40" fmla="*/ 2496 w 2718"/>
                <a:gd name="T41" fmla="*/ 323 h 611"/>
                <a:gd name="T42" fmla="*/ 2380 w 2718"/>
                <a:gd name="T43" fmla="*/ 262 h 611"/>
                <a:gd name="T44" fmla="*/ 2242 w 2718"/>
                <a:gd name="T45" fmla="*/ 204 h 611"/>
                <a:gd name="T46" fmla="*/ 2083 w 2718"/>
                <a:gd name="T47" fmla="*/ 153 h 611"/>
                <a:gd name="T48" fmla="*/ 1917 w 2718"/>
                <a:gd name="T49" fmla="*/ 115 h 611"/>
                <a:gd name="T50" fmla="*/ 1784 w 2718"/>
                <a:gd name="T51" fmla="*/ 97 h 611"/>
                <a:gd name="T52" fmla="*/ 1648 w 2718"/>
                <a:gd name="T53" fmla="*/ 87 h 611"/>
                <a:gd name="T54" fmla="*/ 1478 w 2718"/>
                <a:gd name="T55" fmla="*/ 87 h 611"/>
                <a:gd name="T56" fmla="*/ 1343 w 2718"/>
                <a:gd name="T57" fmla="*/ 96 h 611"/>
                <a:gd name="T58" fmla="*/ 1177 w 2718"/>
                <a:gd name="T59" fmla="*/ 114 h 611"/>
                <a:gd name="T60" fmla="*/ 1047 w 2718"/>
                <a:gd name="T61" fmla="*/ 135 h 611"/>
                <a:gd name="T62" fmla="*/ 893 w 2718"/>
                <a:gd name="T63" fmla="*/ 165 h 611"/>
                <a:gd name="T64" fmla="*/ 667 w 2718"/>
                <a:gd name="T65" fmla="*/ 220 h 611"/>
                <a:gd name="T66" fmla="*/ 477 w 2718"/>
                <a:gd name="T67" fmla="*/ 277 h 611"/>
                <a:gd name="T68" fmla="*/ 278 w 2718"/>
                <a:gd name="T69" fmla="*/ 345 h 611"/>
                <a:gd name="T70" fmla="*/ 252 w 2718"/>
                <a:gd name="T71" fmla="*/ 269 h 611"/>
                <a:gd name="T72" fmla="*/ 265 w 2718"/>
                <a:gd name="T73" fmla="*/ 153 h 611"/>
                <a:gd name="T74" fmla="*/ 263 w 2718"/>
                <a:gd name="T75" fmla="*/ 99 h 611"/>
                <a:gd name="T76" fmla="*/ 254 w 2718"/>
                <a:gd name="T77" fmla="*/ 62 h 611"/>
                <a:gd name="T78" fmla="*/ 237 w 2718"/>
                <a:gd name="T79" fmla="*/ 30 h 611"/>
                <a:gd name="T80" fmla="*/ 217 w 2718"/>
                <a:gd name="T81" fmla="*/ 12 h 611"/>
                <a:gd name="T82" fmla="*/ 192 w 2718"/>
                <a:gd name="T83" fmla="*/ 3 h 611"/>
                <a:gd name="T84" fmla="*/ 163 w 2718"/>
                <a:gd name="T85" fmla="*/ 1 h 611"/>
                <a:gd name="T86" fmla="*/ 132 w 2718"/>
                <a:gd name="T87" fmla="*/ 6 h 611"/>
                <a:gd name="T88" fmla="*/ 103 w 2718"/>
                <a:gd name="T89" fmla="*/ 20 h 611"/>
                <a:gd name="T90" fmla="*/ 76 w 2718"/>
                <a:gd name="T91" fmla="*/ 44 h 611"/>
                <a:gd name="T92" fmla="*/ 56 w 2718"/>
                <a:gd name="T93" fmla="*/ 79 h 611"/>
                <a:gd name="T94" fmla="*/ 43 w 2718"/>
                <a:gd name="T95" fmla="*/ 126 h 611"/>
                <a:gd name="T96" fmla="*/ 26 w 2718"/>
                <a:gd name="T97" fmla="*/ 308 h 611"/>
                <a:gd name="T98" fmla="*/ 0 w 2718"/>
                <a:gd name="T99" fmla="*/ 527 h 611"/>
                <a:gd name="T100" fmla="*/ 3 w 2718"/>
                <a:gd name="T101" fmla="*/ 570 h 611"/>
                <a:gd name="T102" fmla="*/ 14 w 2718"/>
                <a:gd name="T103" fmla="*/ 596 h 611"/>
                <a:gd name="T104" fmla="*/ 34 w 2718"/>
                <a:gd name="T105" fmla="*/ 609 h 611"/>
                <a:gd name="T106" fmla="*/ 61 w 2718"/>
                <a:gd name="T107" fmla="*/ 610 h 611"/>
                <a:gd name="T108" fmla="*/ 110 w 2718"/>
                <a:gd name="T109" fmla="*/ 598 h 611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718"/>
                <a:gd name="T166" fmla="*/ 0 h 611"/>
                <a:gd name="T167" fmla="*/ 2718 w 2718"/>
                <a:gd name="T168" fmla="*/ 611 h 611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718" h="611">
                  <a:moveTo>
                    <a:pt x="187" y="568"/>
                  </a:moveTo>
                  <a:lnTo>
                    <a:pt x="244" y="546"/>
                  </a:lnTo>
                  <a:lnTo>
                    <a:pt x="300" y="526"/>
                  </a:lnTo>
                  <a:lnTo>
                    <a:pt x="355" y="506"/>
                  </a:lnTo>
                  <a:lnTo>
                    <a:pt x="410" y="487"/>
                  </a:lnTo>
                  <a:lnTo>
                    <a:pt x="464" y="469"/>
                  </a:lnTo>
                  <a:lnTo>
                    <a:pt x="518" y="452"/>
                  </a:lnTo>
                  <a:lnTo>
                    <a:pt x="571" y="436"/>
                  </a:lnTo>
                  <a:lnTo>
                    <a:pt x="623" y="420"/>
                  </a:lnTo>
                  <a:lnTo>
                    <a:pt x="675" y="406"/>
                  </a:lnTo>
                  <a:lnTo>
                    <a:pt x="726" y="392"/>
                  </a:lnTo>
                  <a:lnTo>
                    <a:pt x="776" y="379"/>
                  </a:lnTo>
                  <a:lnTo>
                    <a:pt x="826" y="366"/>
                  </a:lnTo>
                  <a:lnTo>
                    <a:pt x="876" y="355"/>
                  </a:lnTo>
                  <a:lnTo>
                    <a:pt x="924" y="344"/>
                  </a:lnTo>
                  <a:lnTo>
                    <a:pt x="972" y="334"/>
                  </a:lnTo>
                  <a:lnTo>
                    <a:pt x="1020" y="325"/>
                  </a:lnTo>
                  <a:lnTo>
                    <a:pt x="1061" y="317"/>
                  </a:lnTo>
                  <a:lnTo>
                    <a:pt x="1101" y="310"/>
                  </a:lnTo>
                  <a:lnTo>
                    <a:pt x="1141" y="303"/>
                  </a:lnTo>
                  <a:lnTo>
                    <a:pt x="1181" y="297"/>
                  </a:lnTo>
                  <a:lnTo>
                    <a:pt x="1259" y="287"/>
                  </a:lnTo>
                  <a:lnTo>
                    <a:pt x="1297" y="282"/>
                  </a:lnTo>
                  <a:lnTo>
                    <a:pt x="1335" y="278"/>
                  </a:lnTo>
                  <a:lnTo>
                    <a:pt x="1409" y="271"/>
                  </a:lnTo>
                  <a:lnTo>
                    <a:pt x="1445" y="269"/>
                  </a:lnTo>
                  <a:lnTo>
                    <a:pt x="1481" y="266"/>
                  </a:lnTo>
                  <a:lnTo>
                    <a:pt x="1516" y="265"/>
                  </a:lnTo>
                  <a:lnTo>
                    <a:pt x="1551" y="263"/>
                  </a:lnTo>
                  <a:lnTo>
                    <a:pt x="1619" y="262"/>
                  </a:lnTo>
                  <a:lnTo>
                    <a:pt x="1686" y="261"/>
                  </a:lnTo>
                  <a:lnTo>
                    <a:pt x="1718" y="262"/>
                  </a:lnTo>
                  <a:lnTo>
                    <a:pt x="1751" y="263"/>
                  </a:lnTo>
                  <a:lnTo>
                    <a:pt x="1814" y="266"/>
                  </a:lnTo>
                  <a:lnTo>
                    <a:pt x="1844" y="268"/>
                  </a:lnTo>
                  <a:lnTo>
                    <a:pt x="1875" y="270"/>
                  </a:lnTo>
                  <a:lnTo>
                    <a:pt x="1934" y="276"/>
                  </a:lnTo>
                  <a:lnTo>
                    <a:pt x="1963" y="279"/>
                  </a:lnTo>
                  <a:lnTo>
                    <a:pt x="1992" y="282"/>
                  </a:lnTo>
                  <a:lnTo>
                    <a:pt x="2020" y="286"/>
                  </a:lnTo>
                  <a:lnTo>
                    <a:pt x="2047" y="290"/>
                  </a:lnTo>
                  <a:lnTo>
                    <a:pt x="2074" y="295"/>
                  </a:lnTo>
                  <a:lnTo>
                    <a:pt x="2101" y="299"/>
                  </a:lnTo>
                  <a:lnTo>
                    <a:pt x="2153" y="309"/>
                  </a:lnTo>
                  <a:lnTo>
                    <a:pt x="2203" y="320"/>
                  </a:lnTo>
                  <a:lnTo>
                    <a:pt x="2252" y="332"/>
                  </a:lnTo>
                  <a:lnTo>
                    <a:pt x="2275" y="338"/>
                  </a:lnTo>
                  <a:lnTo>
                    <a:pt x="2298" y="345"/>
                  </a:lnTo>
                  <a:lnTo>
                    <a:pt x="2343" y="358"/>
                  </a:lnTo>
                  <a:lnTo>
                    <a:pt x="2365" y="365"/>
                  </a:lnTo>
                  <a:lnTo>
                    <a:pt x="2386" y="372"/>
                  </a:lnTo>
                  <a:lnTo>
                    <a:pt x="2427" y="387"/>
                  </a:lnTo>
                  <a:lnTo>
                    <a:pt x="2467" y="402"/>
                  </a:lnTo>
                  <a:lnTo>
                    <a:pt x="2504" y="417"/>
                  </a:lnTo>
                  <a:lnTo>
                    <a:pt x="2522" y="425"/>
                  </a:lnTo>
                  <a:lnTo>
                    <a:pt x="2540" y="433"/>
                  </a:lnTo>
                  <a:lnTo>
                    <a:pt x="2574" y="450"/>
                  </a:lnTo>
                  <a:lnTo>
                    <a:pt x="2606" y="466"/>
                  </a:lnTo>
                  <a:lnTo>
                    <a:pt x="2638" y="483"/>
                  </a:lnTo>
                  <a:lnTo>
                    <a:pt x="2666" y="500"/>
                  </a:lnTo>
                  <a:lnTo>
                    <a:pt x="2680" y="508"/>
                  </a:lnTo>
                  <a:lnTo>
                    <a:pt x="2693" y="517"/>
                  </a:lnTo>
                  <a:lnTo>
                    <a:pt x="2718" y="534"/>
                  </a:lnTo>
                  <a:lnTo>
                    <a:pt x="2718" y="526"/>
                  </a:lnTo>
                  <a:lnTo>
                    <a:pt x="2717" y="523"/>
                  </a:lnTo>
                  <a:lnTo>
                    <a:pt x="2716" y="518"/>
                  </a:lnTo>
                  <a:lnTo>
                    <a:pt x="2715" y="514"/>
                  </a:lnTo>
                  <a:lnTo>
                    <a:pt x="2713" y="509"/>
                  </a:lnTo>
                  <a:lnTo>
                    <a:pt x="2710" y="505"/>
                  </a:lnTo>
                  <a:lnTo>
                    <a:pt x="2708" y="499"/>
                  </a:lnTo>
                  <a:lnTo>
                    <a:pt x="2701" y="489"/>
                  </a:lnTo>
                  <a:lnTo>
                    <a:pt x="2693" y="478"/>
                  </a:lnTo>
                  <a:lnTo>
                    <a:pt x="2683" y="466"/>
                  </a:lnTo>
                  <a:lnTo>
                    <a:pt x="2671" y="453"/>
                  </a:lnTo>
                  <a:lnTo>
                    <a:pt x="2665" y="447"/>
                  </a:lnTo>
                  <a:lnTo>
                    <a:pt x="2658" y="440"/>
                  </a:lnTo>
                  <a:lnTo>
                    <a:pt x="2643" y="426"/>
                  </a:lnTo>
                  <a:lnTo>
                    <a:pt x="2627" y="412"/>
                  </a:lnTo>
                  <a:lnTo>
                    <a:pt x="2608" y="398"/>
                  </a:lnTo>
                  <a:lnTo>
                    <a:pt x="2589" y="383"/>
                  </a:lnTo>
                  <a:lnTo>
                    <a:pt x="2568" y="368"/>
                  </a:lnTo>
                  <a:lnTo>
                    <a:pt x="2545" y="353"/>
                  </a:lnTo>
                  <a:lnTo>
                    <a:pt x="2521" y="338"/>
                  </a:lnTo>
                  <a:lnTo>
                    <a:pt x="2496" y="323"/>
                  </a:lnTo>
                  <a:lnTo>
                    <a:pt x="2469" y="307"/>
                  </a:lnTo>
                  <a:lnTo>
                    <a:pt x="2441" y="292"/>
                  </a:lnTo>
                  <a:lnTo>
                    <a:pt x="2411" y="277"/>
                  </a:lnTo>
                  <a:lnTo>
                    <a:pt x="2380" y="262"/>
                  </a:lnTo>
                  <a:lnTo>
                    <a:pt x="2348" y="247"/>
                  </a:lnTo>
                  <a:lnTo>
                    <a:pt x="2314" y="232"/>
                  </a:lnTo>
                  <a:lnTo>
                    <a:pt x="2279" y="218"/>
                  </a:lnTo>
                  <a:lnTo>
                    <a:pt x="2242" y="204"/>
                  </a:lnTo>
                  <a:lnTo>
                    <a:pt x="2204" y="190"/>
                  </a:lnTo>
                  <a:lnTo>
                    <a:pt x="2165" y="177"/>
                  </a:lnTo>
                  <a:lnTo>
                    <a:pt x="2125" y="165"/>
                  </a:lnTo>
                  <a:lnTo>
                    <a:pt x="2083" y="153"/>
                  </a:lnTo>
                  <a:lnTo>
                    <a:pt x="2040" y="142"/>
                  </a:lnTo>
                  <a:lnTo>
                    <a:pt x="1996" y="131"/>
                  </a:lnTo>
                  <a:lnTo>
                    <a:pt x="1950" y="122"/>
                  </a:lnTo>
                  <a:lnTo>
                    <a:pt x="1917" y="115"/>
                  </a:lnTo>
                  <a:lnTo>
                    <a:pt x="1884" y="110"/>
                  </a:lnTo>
                  <a:lnTo>
                    <a:pt x="1851" y="105"/>
                  </a:lnTo>
                  <a:lnTo>
                    <a:pt x="1817" y="100"/>
                  </a:lnTo>
                  <a:lnTo>
                    <a:pt x="1784" y="97"/>
                  </a:lnTo>
                  <a:lnTo>
                    <a:pt x="1750" y="93"/>
                  </a:lnTo>
                  <a:lnTo>
                    <a:pt x="1716" y="91"/>
                  </a:lnTo>
                  <a:lnTo>
                    <a:pt x="1682" y="89"/>
                  </a:lnTo>
                  <a:lnTo>
                    <a:pt x="1648" y="87"/>
                  </a:lnTo>
                  <a:lnTo>
                    <a:pt x="1614" y="86"/>
                  </a:lnTo>
                  <a:lnTo>
                    <a:pt x="1580" y="86"/>
                  </a:lnTo>
                  <a:lnTo>
                    <a:pt x="1546" y="86"/>
                  </a:lnTo>
                  <a:lnTo>
                    <a:pt x="1478" y="87"/>
                  </a:lnTo>
                  <a:lnTo>
                    <a:pt x="1444" y="89"/>
                  </a:lnTo>
                  <a:lnTo>
                    <a:pt x="1410" y="91"/>
                  </a:lnTo>
                  <a:lnTo>
                    <a:pt x="1377" y="93"/>
                  </a:lnTo>
                  <a:lnTo>
                    <a:pt x="1343" y="96"/>
                  </a:lnTo>
                  <a:lnTo>
                    <a:pt x="1309" y="99"/>
                  </a:lnTo>
                  <a:lnTo>
                    <a:pt x="1276" y="102"/>
                  </a:lnTo>
                  <a:lnTo>
                    <a:pt x="1210" y="110"/>
                  </a:lnTo>
                  <a:lnTo>
                    <a:pt x="1177" y="114"/>
                  </a:lnTo>
                  <a:lnTo>
                    <a:pt x="1143" y="119"/>
                  </a:lnTo>
                  <a:lnTo>
                    <a:pt x="1111" y="124"/>
                  </a:lnTo>
                  <a:lnTo>
                    <a:pt x="1079" y="129"/>
                  </a:lnTo>
                  <a:lnTo>
                    <a:pt x="1047" y="135"/>
                  </a:lnTo>
                  <a:lnTo>
                    <a:pt x="1015" y="140"/>
                  </a:lnTo>
                  <a:lnTo>
                    <a:pt x="984" y="146"/>
                  </a:lnTo>
                  <a:lnTo>
                    <a:pt x="953" y="152"/>
                  </a:lnTo>
                  <a:lnTo>
                    <a:pt x="893" y="165"/>
                  </a:lnTo>
                  <a:lnTo>
                    <a:pt x="833" y="178"/>
                  </a:lnTo>
                  <a:lnTo>
                    <a:pt x="776" y="192"/>
                  </a:lnTo>
                  <a:lnTo>
                    <a:pt x="721" y="206"/>
                  </a:lnTo>
                  <a:lnTo>
                    <a:pt x="667" y="220"/>
                  </a:lnTo>
                  <a:lnTo>
                    <a:pt x="616" y="235"/>
                  </a:lnTo>
                  <a:lnTo>
                    <a:pt x="567" y="249"/>
                  </a:lnTo>
                  <a:lnTo>
                    <a:pt x="520" y="263"/>
                  </a:lnTo>
                  <a:lnTo>
                    <a:pt x="477" y="277"/>
                  </a:lnTo>
                  <a:lnTo>
                    <a:pt x="436" y="290"/>
                  </a:lnTo>
                  <a:lnTo>
                    <a:pt x="397" y="303"/>
                  </a:lnTo>
                  <a:lnTo>
                    <a:pt x="331" y="326"/>
                  </a:lnTo>
                  <a:lnTo>
                    <a:pt x="278" y="345"/>
                  </a:lnTo>
                  <a:lnTo>
                    <a:pt x="239" y="360"/>
                  </a:lnTo>
                  <a:lnTo>
                    <a:pt x="242" y="338"/>
                  </a:lnTo>
                  <a:lnTo>
                    <a:pt x="245" y="316"/>
                  </a:lnTo>
                  <a:lnTo>
                    <a:pt x="252" y="269"/>
                  </a:lnTo>
                  <a:lnTo>
                    <a:pt x="259" y="222"/>
                  </a:lnTo>
                  <a:lnTo>
                    <a:pt x="262" y="199"/>
                  </a:lnTo>
                  <a:lnTo>
                    <a:pt x="264" y="175"/>
                  </a:lnTo>
                  <a:lnTo>
                    <a:pt x="265" y="153"/>
                  </a:lnTo>
                  <a:lnTo>
                    <a:pt x="266" y="131"/>
                  </a:lnTo>
                  <a:lnTo>
                    <a:pt x="265" y="120"/>
                  </a:lnTo>
                  <a:lnTo>
                    <a:pt x="264" y="110"/>
                  </a:lnTo>
                  <a:lnTo>
                    <a:pt x="263" y="99"/>
                  </a:lnTo>
                  <a:lnTo>
                    <a:pt x="262" y="89"/>
                  </a:lnTo>
                  <a:lnTo>
                    <a:pt x="260" y="80"/>
                  </a:lnTo>
                  <a:lnTo>
                    <a:pt x="257" y="71"/>
                  </a:lnTo>
                  <a:lnTo>
                    <a:pt x="254" y="62"/>
                  </a:lnTo>
                  <a:lnTo>
                    <a:pt x="251" y="53"/>
                  </a:lnTo>
                  <a:lnTo>
                    <a:pt x="247" y="45"/>
                  </a:lnTo>
                  <a:lnTo>
                    <a:pt x="242" y="37"/>
                  </a:lnTo>
                  <a:lnTo>
                    <a:pt x="237" y="30"/>
                  </a:lnTo>
                  <a:lnTo>
                    <a:pt x="231" y="23"/>
                  </a:lnTo>
                  <a:lnTo>
                    <a:pt x="227" y="19"/>
                  </a:lnTo>
                  <a:lnTo>
                    <a:pt x="222" y="16"/>
                  </a:lnTo>
                  <a:lnTo>
                    <a:pt x="217" y="12"/>
                  </a:lnTo>
                  <a:lnTo>
                    <a:pt x="211" y="9"/>
                  </a:lnTo>
                  <a:lnTo>
                    <a:pt x="205" y="7"/>
                  </a:lnTo>
                  <a:lnTo>
                    <a:pt x="199" y="5"/>
                  </a:lnTo>
                  <a:lnTo>
                    <a:pt x="192" y="3"/>
                  </a:lnTo>
                  <a:lnTo>
                    <a:pt x="185" y="2"/>
                  </a:lnTo>
                  <a:lnTo>
                    <a:pt x="178" y="1"/>
                  </a:lnTo>
                  <a:lnTo>
                    <a:pt x="171" y="0"/>
                  </a:lnTo>
                  <a:lnTo>
                    <a:pt x="163" y="1"/>
                  </a:lnTo>
                  <a:lnTo>
                    <a:pt x="155" y="1"/>
                  </a:lnTo>
                  <a:lnTo>
                    <a:pt x="148" y="2"/>
                  </a:lnTo>
                  <a:lnTo>
                    <a:pt x="140" y="4"/>
                  </a:lnTo>
                  <a:lnTo>
                    <a:pt x="132" y="6"/>
                  </a:lnTo>
                  <a:lnTo>
                    <a:pt x="125" y="9"/>
                  </a:lnTo>
                  <a:lnTo>
                    <a:pt x="117" y="12"/>
                  </a:lnTo>
                  <a:lnTo>
                    <a:pt x="110" y="16"/>
                  </a:lnTo>
                  <a:lnTo>
                    <a:pt x="103" y="20"/>
                  </a:lnTo>
                  <a:lnTo>
                    <a:pt x="96" y="25"/>
                  </a:lnTo>
                  <a:lnTo>
                    <a:pt x="89" y="31"/>
                  </a:lnTo>
                  <a:lnTo>
                    <a:pt x="82" y="37"/>
                  </a:lnTo>
                  <a:lnTo>
                    <a:pt x="76" y="44"/>
                  </a:lnTo>
                  <a:lnTo>
                    <a:pt x="70" y="52"/>
                  </a:lnTo>
                  <a:lnTo>
                    <a:pt x="65" y="60"/>
                  </a:lnTo>
                  <a:lnTo>
                    <a:pt x="60" y="69"/>
                  </a:lnTo>
                  <a:lnTo>
                    <a:pt x="56" y="79"/>
                  </a:lnTo>
                  <a:lnTo>
                    <a:pt x="52" y="89"/>
                  </a:lnTo>
                  <a:lnTo>
                    <a:pt x="48" y="101"/>
                  </a:lnTo>
                  <a:lnTo>
                    <a:pt x="46" y="113"/>
                  </a:lnTo>
                  <a:lnTo>
                    <a:pt x="43" y="126"/>
                  </a:lnTo>
                  <a:lnTo>
                    <a:pt x="42" y="139"/>
                  </a:lnTo>
                  <a:lnTo>
                    <a:pt x="39" y="180"/>
                  </a:lnTo>
                  <a:lnTo>
                    <a:pt x="35" y="221"/>
                  </a:lnTo>
                  <a:lnTo>
                    <a:pt x="26" y="308"/>
                  </a:lnTo>
                  <a:lnTo>
                    <a:pt x="15" y="401"/>
                  </a:lnTo>
                  <a:lnTo>
                    <a:pt x="3" y="498"/>
                  </a:lnTo>
                  <a:lnTo>
                    <a:pt x="1" y="513"/>
                  </a:lnTo>
                  <a:lnTo>
                    <a:pt x="0" y="527"/>
                  </a:lnTo>
                  <a:lnTo>
                    <a:pt x="0" y="539"/>
                  </a:lnTo>
                  <a:lnTo>
                    <a:pt x="0" y="551"/>
                  </a:lnTo>
                  <a:lnTo>
                    <a:pt x="1" y="561"/>
                  </a:lnTo>
                  <a:lnTo>
                    <a:pt x="3" y="570"/>
                  </a:lnTo>
                  <a:lnTo>
                    <a:pt x="5" y="578"/>
                  </a:lnTo>
                  <a:lnTo>
                    <a:pt x="7" y="585"/>
                  </a:lnTo>
                  <a:lnTo>
                    <a:pt x="11" y="591"/>
                  </a:lnTo>
                  <a:lnTo>
                    <a:pt x="14" y="596"/>
                  </a:lnTo>
                  <a:lnTo>
                    <a:pt x="19" y="601"/>
                  </a:lnTo>
                  <a:lnTo>
                    <a:pt x="23" y="604"/>
                  </a:lnTo>
                  <a:lnTo>
                    <a:pt x="29" y="607"/>
                  </a:lnTo>
                  <a:lnTo>
                    <a:pt x="34" y="609"/>
                  </a:lnTo>
                  <a:lnTo>
                    <a:pt x="40" y="610"/>
                  </a:lnTo>
                  <a:lnTo>
                    <a:pt x="47" y="611"/>
                  </a:lnTo>
                  <a:lnTo>
                    <a:pt x="54" y="611"/>
                  </a:lnTo>
                  <a:lnTo>
                    <a:pt x="61" y="610"/>
                  </a:lnTo>
                  <a:lnTo>
                    <a:pt x="68" y="609"/>
                  </a:lnTo>
                  <a:lnTo>
                    <a:pt x="76" y="608"/>
                  </a:lnTo>
                  <a:lnTo>
                    <a:pt x="93" y="603"/>
                  </a:lnTo>
                  <a:lnTo>
                    <a:pt x="110" y="598"/>
                  </a:lnTo>
                  <a:lnTo>
                    <a:pt x="129" y="591"/>
                  </a:lnTo>
                  <a:lnTo>
                    <a:pt x="148" y="583"/>
                  </a:lnTo>
                  <a:lnTo>
                    <a:pt x="187" y="5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400" b="1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716276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IGMA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4A964C8F-A1F2-4783-B732-23D92F8E387F}"/>
              </a:ext>
            </a:extLst>
          </p:cNvPr>
          <p:cNvSpPr/>
          <p:nvPr/>
        </p:nvSpPr>
        <p:spPr>
          <a:xfrm>
            <a:off x="464821" y="986497"/>
            <a:ext cx="1201420" cy="92497"/>
          </a:xfrm>
          <a:prstGeom prst="rect">
            <a:avLst/>
          </a:prstGeom>
          <a:solidFill>
            <a:srgbClr val="EC544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240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43570" y="1280778"/>
            <a:ext cx="8696801" cy="458658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FFCB06"/>
              </a:buClr>
              <a:defRPr sz="2133"/>
            </a:lvl1pPr>
            <a:lvl2pPr>
              <a:buClr>
                <a:srgbClr val="FFCB06"/>
              </a:buClr>
              <a:defRPr sz="2133"/>
            </a:lvl2pPr>
            <a:lvl3pPr>
              <a:buClr>
                <a:srgbClr val="FFCB06"/>
              </a:buClr>
              <a:defRPr sz="2133"/>
            </a:lvl3pPr>
            <a:lvl4pPr>
              <a:buClr>
                <a:srgbClr val="FFCB06"/>
              </a:buClr>
              <a:defRPr sz="2133"/>
            </a:lvl4pPr>
            <a:lvl5pPr>
              <a:buClr>
                <a:srgbClr val="FFCB06"/>
              </a:buClr>
              <a:defRPr sz="2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_tradnl"/>
          </a:p>
        </p:txBody>
      </p:sp>
      <p:sp>
        <p:nvSpPr>
          <p:cNvPr id="63" name="Rectangle 62"/>
          <p:cNvSpPr/>
          <p:nvPr/>
        </p:nvSpPr>
        <p:spPr>
          <a:xfrm>
            <a:off x="467577" y="990641"/>
            <a:ext cx="1199984" cy="93953"/>
          </a:xfrm>
          <a:prstGeom prst="rect">
            <a:avLst/>
          </a:prstGeom>
          <a:solidFill>
            <a:srgbClr val="D50032"/>
          </a:solidFill>
          <a:ln w="2857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26" name="Slide Number Placeholder 4">
            <a:extLst>
              <a:ext uri="{FF2B5EF4-FFF2-40B4-BE49-F238E27FC236}">
                <a16:creationId xmlns:a16="http://schemas.microsoft.com/office/drawing/2014/main" id="{317F6F16-46C5-413D-B326-B98D80FAA38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671421" y="1"/>
            <a:ext cx="520579" cy="366183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</a:defRPr>
            </a:lvl1pPr>
          </a:lstStyle>
          <a:p>
            <a:fld id="{95E63616-A2E2-49CD-8B48-1F006743AC2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CF9FAC31-D933-442E-A096-02C59500BF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392" y="132618"/>
            <a:ext cx="9255584" cy="853879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ES_tradnl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9A6B635-BAC6-41B8-AA68-E9C8EB5A95FC}"/>
              </a:ext>
            </a:extLst>
          </p:cNvPr>
          <p:cNvGrpSpPr>
            <a:grpSpLocks noChangeAspect="1"/>
          </p:cNvGrpSpPr>
          <p:nvPr/>
        </p:nvGrpSpPr>
        <p:grpSpPr>
          <a:xfrm>
            <a:off x="11440371" y="5993641"/>
            <a:ext cx="589936" cy="336000"/>
            <a:chOff x="1188944" y="2513316"/>
            <a:chExt cx="1814513" cy="1033463"/>
          </a:xfrm>
          <a:solidFill>
            <a:schemeClr val="bg1"/>
          </a:solidFill>
        </p:grpSpPr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723CFE09-9F2F-4F12-8CAD-E22F925A05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54942" y="2833656"/>
              <a:ext cx="1448515" cy="713123"/>
            </a:xfrm>
            <a:custGeom>
              <a:avLst/>
              <a:gdLst>
                <a:gd name="T0" fmla="*/ 2937 w 3463"/>
                <a:gd name="T1" fmla="*/ 123 h 1703"/>
                <a:gd name="T2" fmla="*/ 2655 w 3463"/>
                <a:gd name="T3" fmla="*/ 476 h 1703"/>
                <a:gd name="T4" fmla="*/ 2529 w 3463"/>
                <a:gd name="T5" fmla="*/ 752 h 1703"/>
                <a:gd name="T6" fmla="*/ 2571 w 3463"/>
                <a:gd name="T7" fmla="*/ 266 h 1703"/>
                <a:gd name="T8" fmla="*/ 2529 w 3463"/>
                <a:gd name="T9" fmla="*/ 44 h 1703"/>
                <a:gd name="T10" fmla="*/ 2296 w 3463"/>
                <a:gd name="T11" fmla="*/ 64 h 1703"/>
                <a:gd name="T12" fmla="*/ 2102 w 3463"/>
                <a:gd name="T13" fmla="*/ 101 h 1703"/>
                <a:gd name="T14" fmla="*/ 1962 w 3463"/>
                <a:gd name="T15" fmla="*/ 15 h 1703"/>
                <a:gd name="T16" fmla="*/ 1673 w 3463"/>
                <a:gd name="T17" fmla="*/ 210 h 1703"/>
                <a:gd name="T18" fmla="*/ 1605 w 3463"/>
                <a:gd name="T19" fmla="*/ 37 h 1703"/>
                <a:gd name="T20" fmla="*/ 1447 w 3463"/>
                <a:gd name="T21" fmla="*/ 60 h 1703"/>
                <a:gd name="T22" fmla="*/ 1235 w 3463"/>
                <a:gd name="T23" fmla="*/ 79 h 1703"/>
                <a:gd name="T24" fmla="*/ 1019 w 3463"/>
                <a:gd name="T25" fmla="*/ 31 h 1703"/>
                <a:gd name="T26" fmla="*/ 703 w 3463"/>
                <a:gd name="T27" fmla="*/ 139 h 1703"/>
                <a:gd name="T28" fmla="*/ 437 w 3463"/>
                <a:gd name="T29" fmla="*/ 471 h 1703"/>
                <a:gd name="T30" fmla="*/ 271 w 3463"/>
                <a:gd name="T31" fmla="*/ 734 h 1703"/>
                <a:gd name="T32" fmla="*/ 307 w 3463"/>
                <a:gd name="T33" fmla="*/ 221 h 1703"/>
                <a:gd name="T34" fmla="*/ 261 w 3463"/>
                <a:gd name="T35" fmla="*/ 17 h 1703"/>
                <a:gd name="T36" fmla="*/ 105 w 3463"/>
                <a:gd name="T37" fmla="*/ 30 h 1703"/>
                <a:gd name="T38" fmla="*/ 21 w 3463"/>
                <a:gd name="T39" fmla="*/ 927 h 1703"/>
                <a:gd name="T40" fmla="*/ 185 w 3463"/>
                <a:gd name="T41" fmla="*/ 961 h 1703"/>
                <a:gd name="T42" fmla="*/ 393 w 3463"/>
                <a:gd name="T43" fmla="*/ 839 h 1703"/>
                <a:gd name="T44" fmla="*/ 223 w 3463"/>
                <a:gd name="T45" fmla="*/ 1153 h 1703"/>
                <a:gd name="T46" fmla="*/ 140 w 3463"/>
                <a:gd name="T47" fmla="*/ 1447 h 1703"/>
                <a:gd name="T48" fmla="*/ 283 w 3463"/>
                <a:gd name="T49" fmla="*/ 1659 h 1703"/>
                <a:gd name="T50" fmla="*/ 629 w 3463"/>
                <a:gd name="T51" fmla="*/ 1676 h 1703"/>
                <a:gd name="T52" fmla="*/ 963 w 3463"/>
                <a:gd name="T53" fmla="*/ 1455 h 1703"/>
                <a:gd name="T54" fmla="*/ 1128 w 3463"/>
                <a:gd name="T55" fmla="*/ 1112 h 1703"/>
                <a:gd name="T56" fmla="*/ 1403 w 3463"/>
                <a:gd name="T57" fmla="*/ 251 h 1703"/>
                <a:gd name="T58" fmla="*/ 1401 w 3463"/>
                <a:gd name="T59" fmla="*/ 955 h 1703"/>
                <a:gd name="T60" fmla="*/ 1556 w 3463"/>
                <a:gd name="T61" fmla="*/ 963 h 1703"/>
                <a:gd name="T62" fmla="*/ 1633 w 3463"/>
                <a:gd name="T63" fmla="*/ 552 h 1703"/>
                <a:gd name="T64" fmla="*/ 1846 w 3463"/>
                <a:gd name="T65" fmla="*/ 233 h 1703"/>
                <a:gd name="T66" fmla="*/ 1874 w 3463"/>
                <a:gd name="T67" fmla="*/ 338 h 1703"/>
                <a:gd name="T68" fmla="*/ 1867 w 3463"/>
                <a:gd name="T69" fmla="*/ 962 h 1703"/>
                <a:gd name="T70" fmla="*/ 2040 w 3463"/>
                <a:gd name="T71" fmla="*/ 947 h 1703"/>
                <a:gd name="T72" fmla="*/ 2125 w 3463"/>
                <a:gd name="T73" fmla="*/ 476 h 1703"/>
                <a:gd name="T74" fmla="*/ 2330 w 3463"/>
                <a:gd name="T75" fmla="*/ 229 h 1703"/>
                <a:gd name="T76" fmla="*/ 2278 w 3463"/>
                <a:gd name="T77" fmla="*/ 756 h 1703"/>
                <a:gd name="T78" fmla="*/ 2335 w 3463"/>
                <a:gd name="T79" fmla="*/ 975 h 1703"/>
                <a:gd name="T80" fmla="*/ 2562 w 3463"/>
                <a:gd name="T81" fmla="*/ 909 h 1703"/>
                <a:gd name="T82" fmla="*/ 2691 w 3463"/>
                <a:gd name="T83" fmla="*/ 966 h 1703"/>
                <a:gd name="T84" fmla="*/ 2940 w 3463"/>
                <a:gd name="T85" fmla="*/ 936 h 1703"/>
                <a:gd name="T86" fmla="*/ 3135 w 3463"/>
                <a:gd name="T87" fmla="*/ 907 h 1703"/>
                <a:gd name="T88" fmla="*/ 3243 w 3463"/>
                <a:gd name="T89" fmla="*/ 991 h 1703"/>
                <a:gd name="T90" fmla="*/ 3351 w 3463"/>
                <a:gd name="T91" fmla="*/ 889 h 1703"/>
                <a:gd name="T92" fmla="*/ 3452 w 3463"/>
                <a:gd name="T93" fmla="*/ 82 h 1703"/>
                <a:gd name="T94" fmla="*/ 917 w 3463"/>
                <a:gd name="T95" fmla="*/ 950 h 1703"/>
                <a:gd name="T96" fmla="*/ 791 w 3463"/>
                <a:gd name="T97" fmla="*/ 1460 h 1703"/>
                <a:gd name="T98" fmla="*/ 565 w 3463"/>
                <a:gd name="T99" fmla="*/ 1554 h 1703"/>
                <a:gd name="T100" fmla="*/ 373 w 3463"/>
                <a:gd name="T101" fmla="*/ 1411 h 1703"/>
                <a:gd name="T102" fmla="*/ 461 w 3463"/>
                <a:gd name="T103" fmla="*/ 1066 h 1703"/>
                <a:gd name="T104" fmla="*/ 738 w 3463"/>
                <a:gd name="T105" fmla="*/ 916 h 1703"/>
                <a:gd name="T106" fmla="*/ 950 w 3463"/>
                <a:gd name="T107" fmla="*/ 445 h 1703"/>
                <a:gd name="T108" fmla="*/ 703 w 3463"/>
                <a:gd name="T109" fmla="*/ 743 h 1703"/>
                <a:gd name="T110" fmla="*/ 630 w 3463"/>
                <a:gd name="T111" fmla="*/ 641 h 1703"/>
                <a:gd name="T112" fmla="*/ 748 w 3463"/>
                <a:gd name="T113" fmla="*/ 291 h 1703"/>
                <a:gd name="T114" fmla="*/ 998 w 3463"/>
                <a:gd name="T115" fmla="*/ 229 h 1703"/>
                <a:gd name="T116" fmla="*/ 3056 w 3463"/>
                <a:gd name="T117" fmla="*/ 628 h 1703"/>
                <a:gd name="T118" fmla="*/ 2862 w 3463"/>
                <a:gd name="T119" fmla="*/ 759 h 1703"/>
                <a:gd name="T120" fmla="*/ 2896 w 3463"/>
                <a:gd name="T121" fmla="*/ 416 h 1703"/>
                <a:gd name="T122" fmla="*/ 3071 w 3463"/>
                <a:gd name="T123" fmla="*/ 214 h 1703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463"/>
                <a:gd name="T187" fmla="*/ 0 h 1703"/>
                <a:gd name="T188" fmla="*/ 3463 w 3463"/>
                <a:gd name="T189" fmla="*/ 1703 h 1703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463" h="1703">
                  <a:moveTo>
                    <a:pt x="3244" y="27"/>
                  </a:moveTo>
                  <a:lnTo>
                    <a:pt x="3228" y="28"/>
                  </a:lnTo>
                  <a:lnTo>
                    <a:pt x="3212" y="29"/>
                  </a:lnTo>
                  <a:lnTo>
                    <a:pt x="3197" y="30"/>
                  </a:lnTo>
                  <a:lnTo>
                    <a:pt x="3181" y="32"/>
                  </a:lnTo>
                  <a:lnTo>
                    <a:pt x="3166" y="34"/>
                  </a:lnTo>
                  <a:lnTo>
                    <a:pt x="3151" y="37"/>
                  </a:lnTo>
                  <a:lnTo>
                    <a:pt x="3135" y="40"/>
                  </a:lnTo>
                  <a:lnTo>
                    <a:pt x="3120" y="43"/>
                  </a:lnTo>
                  <a:lnTo>
                    <a:pt x="3106" y="47"/>
                  </a:lnTo>
                  <a:lnTo>
                    <a:pt x="3091" y="51"/>
                  </a:lnTo>
                  <a:lnTo>
                    <a:pt x="3076" y="55"/>
                  </a:lnTo>
                  <a:lnTo>
                    <a:pt x="3062" y="60"/>
                  </a:lnTo>
                  <a:lnTo>
                    <a:pt x="3033" y="71"/>
                  </a:lnTo>
                  <a:lnTo>
                    <a:pt x="3019" y="78"/>
                  </a:lnTo>
                  <a:lnTo>
                    <a:pt x="3005" y="84"/>
                  </a:lnTo>
                  <a:lnTo>
                    <a:pt x="2991" y="91"/>
                  </a:lnTo>
                  <a:lnTo>
                    <a:pt x="2977" y="98"/>
                  </a:lnTo>
                  <a:lnTo>
                    <a:pt x="2950" y="114"/>
                  </a:lnTo>
                  <a:lnTo>
                    <a:pt x="2937" y="123"/>
                  </a:lnTo>
                  <a:lnTo>
                    <a:pt x="2924" y="132"/>
                  </a:lnTo>
                  <a:lnTo>
                    <a:pt x="2911" y="141"/>
                  </a:lnTo>
                  <a:lnTo>
                    <a:pt x="2898" y="150"/>
                  </a:lnTo>
                  <a:lnTo>
                    <a:pt x="2885" y="160"/>
                  </a:lnTo>
                  <a:lnTo>
                    <a:pt x="2873" y="171"/>
                  </a:lnTo>
                  <a:lnTo>
                    <a:pt x="2848" y="193"/>
                  </a:lnTo>
                  <a:lnTo>
                    <a:pt x="2836" y="205"/>
                  </a:lnTo>
                  <a:lnTo>
                    <a:pt x="2824" y="217"/>
                  </a:lnTo>
                  <a:lnTo>
                    <a:pt x="2800" y="242"/>
                  </a:lnTo>
                  <a:lnTo>
                    <a:pt x="2783" y="261"/>
                  </a:lnTo>
                  <a:lnTo>
                    <a:pt x="2767" y="281"/>
                  </a:lnTo>
                  <a:lnTo>
                    <a:pt x="2751" y="302"/>
                  </a:lnTo>
                  <a:lnTo>
                    <a:pt x="2737" y="322"/>
                  </a:lnTo>
                  <a:lnTo>
                    <a:pt x="2722" y="343"/>
                  </a:lnTo>
                  <a:lnTo>
                    <a:pt x="2709" y="364"/>
                  </a:lnTo>
                  <a:lnTo>
                    <a:pt x="2696" y="386"/>
                  </a:lnTo>
                  <a:lnTo>
                    <a:pt x="2685" y="408"/>
                  </a:lnTo>
                  <a:lnTo>
                    <a:pt x="2674" y="430"/>
                  </a:lnTo>
                  <a:lnTo>
                    <a:pt x="2664" y="453"/>
                  </a:lnTo>
                  <a:lnTo>
                    <a:pt x="2655" y="476"/>
                  </a:lnTo>
                  <a:lnTo>
                    <a:pt x="2647" y="499"/>
                  </a:lnTo>
                  <a:lnTo>
                    <a:pt x="2643" y="511"/>
                  </a:lnTo>
                  <a:lnTo>
                    <a:pt x="2639" y="523"/>
                  </a:lnTo>
                  <a:lnTo>
                    <a:pt x="2632" y="547"/>
                  </a:lnTo>
                  <a:lnTo>
                    <a:pt x="2627" y="571"/>
                  </a:lnTo>
                  <a:lnTo>
                    <a:pt x="2621" y="596"/>
                  </a:lnTo>
                  <a:lnTo>
                    <a:pt x="2618" y="608"/>
                  </a:lnTo>
                  <a:lnTo>
                    <a:pt x="2612" y="625"/>
                  </a:lnTo>
                  <a:lnTo>
                    <a:pt x="2604" y="645"/>
                  </a:lnTo>
                  <a:lnTo>
                    <a:pt x="2600" y="656"/>
                  </a:lnTo>
                  <a:lnTo>
                    <a:pt x="2594" y="667"/>
                  </a:lnTo>
                  <a:lnTo>
                    <a:pt x="2588" y="678"/>
                  </a:lnTo>
                  <a:lnTo>
                    <a:pt x="2582" y="690"/>
                  </a:lnTo>
                  <a:lnTo>
                    <a:pt x="2575" y="701"/>
                  </a:lnTo>
                  <a:lnTo>
                    <a:pt x="2567" y="712"/>
                  </a:lnTo>
                  <a:lnTo>
                    <a:pt x="2558" y="723"/>
                  </a:lnTo>
                  <a:lnTo>
                    <a:pt x="2549" y="734"/>
                  </a:lnTo>
                  <a:lnTo>
                    <a:pt x="2544" y="739"/>
                  </a:lnTo>
                  <a:lnTo>
                    <a:pt x="2539" y="743"/>
                  </a:lnTo>
                  <a:lnTo>
                    <a:pt x="2529" y="752"/>
                  </a:lnTo>
                  <a:lnTo>
                    <a:pt x="2525" y="755"/>
                  </a:lnTo>
                  <a:lnTo>
                    <a:pt x="2522" y="757"/>
                  </a:lnTo>
                  <a:lnTo>
                    <a:pt x="2520" y="758"/>
                  </a:lnTo>
                  <a:lnTo>
                    <a:pt x="2517" y="759"/>
                  </a:lnTo>
                  <a:lnTo>
                    <a:pt x="2515" y="759"/>
                  </a:lnTo>
                  <a:lnTo>
                    <a:pt x="2513" y="759"/>
                  </a:lnTo>
                  <a:lnTo>
                    <a:pt x="2512" y="759"/>
                  </a:lnTo>
                  <a:lnTo>
                    <a:pt x="2510" y="758"/>
                  </a:lnTo>
                  <a:lnTo>
                    <a:pt x="2508" y="756"/>
                  </a:lnTo>
                  <a:lnTo>
                    <a:pt x="2507" y="754"/>
                  </a:lnTo>
                  <a:lnTo>
                    <a:pt x="2506" y="751"/>
                  </a:lnTo>
                  <a:lnTo>
                    <a:pt x="2506" y="748"/>
                  </a:lnTo>
                  <a:lnTo>
                    <a:pt x="2505" y="738"/>
                  </a:lnTo>
                  <a:lnTo>
                    <a:pt x="2506" y="729"/>
                  </a:lnTo>
                  <a:lnTo>
                    <a:pt x="2509" y="711"/>
                  </a:lnTo>
                  <a:lnTo>
                    <a:pt x="2516" y="658"/>
                  </a:lnTo>
                  <a:lnTo>
                    <a:pt x="2537" y="508"/>
                  </a:lnTo>
                  <a:lnTo>
                    <a:pt x="2566" y="300"/>
                  </a:lnTo>
                  <a:lnTo>
                    <a:pt x="2569" y="283"/>
                  </a:lnTo>
                  <a:lnTo>
                    <a:pt x="2571" y="266"/>
                  </a:lnTo>
                  <a:lnTo>
                    <a:pt x="2574" y="234"/>
                  </a:lnTo>
                  <a:lnTo>
                    <a:pt x="2576" y="218"/>
                  </a:lnTo>
                  <a:lnTo>
                    <a:pt x="2576" y="204"/>
                  </a:lnTo>
                  <a:lnTo>
                    <a:pt x="2577" y="176"/>
                  </a:lnTo>
                  <a:lnTo>
                    <a:pt x="2577" y="163"/>
                  </a:lnTo>
                  <a:lnTo>
                    <a:pt x="2576" y="150"/>
                  </a:lnTo>
                  <a:lnTo>
                    <a:pt x="2575" y="138"/>
                  </a:lnTo>
                  <a:lnTo>
                    <a:pt x="2573" y="127"/>
                  </a:lnTo>
                  <a:lnTo>
                    <a:pt x="2571" y="117"/>
                  </a:lnTo>
                  <a:lnTo>
                    <a:pt x="2568" y="107"/>
                  </a:lnTo>
                  <a:lnTo>
                    <a:pt x="2565" y="98"/>
                  </a:lnTo>
                  <a:lnTo>
                    <a:pt x="2562" y="89"/>
                  </a:lnTo>
                  <a:lnTo>
                    <a:pt x="2558" y="81"/>
                  </a:lnTo>
                  <a:lnTo>
                    <a:pt x="2554" y="74"/>
                  </a:lnTo>
                  <a:lnTo>
                    <a:pt x="2551" y="70"/>
                  </a:lnTo>
                  <a:lnTo>
                    <a:pt x="2549" y="67"/>
                  </a:lnTo>
                  <a:lnTo>
                    <a:pt x="2545" y="60"/>
                  </a:lnTo>
                  <a:lnTo>
                    <a:pt x="2540" y="55"/>
                  </a:lnTo>
                  <a:lnTo>
                    <a:pt x="2535" y="49"/>
                  </a:lnTo>
                  <a:lnTo>
                    <a:pt x="2529" y="44"/>
                  </a:lnTo>
                  <a:lnTo>
                    <a:pt x="2524" y="40"/>
                  </a:lnTo>
                  <a:lnTo>
                    <a:pt x="2513" y="33"/>
                  </a:lnTo>
                  <a:lnTo>
                    <a:pt x="2507" y="29"/>
                  </a:lnTo>
                  <a:lnTo>
                    <a:pt x="2502" y="27"/>
                  </a:lnTo>
                  <a:lnTo>
                    <a:pt x="2490" y="22"/>
                  </a:lnTo>
                  <a:lnTo>
                    <a:pt x="2479" y="19"/>
                  </a:lnTo>
                  <a:lnTo>
                    <a:pt x="2468" y="16"/>
                  </a:lnTo>
                  <a:lnTo>
                    <a:pt x="2458" y="15"/>
                  </a:lnTo>
                  <a:lnTo>
                    <a:pt x="2448" y="14"/>
                  </a:lnTo>
                  <a:lnTo>
                    <a:pt x="2440" y="14"/>
                  </a:lnTo>
                  <a:lnTo>
                    <a:pt x="2426" y="14"/>
                  </a:lnTo>
                  <a:lnTo>
                    <a:pt x="2412" y="16"/>
                  </a:lnTo>
                  <a:lnTo>
                    <a:pt x="2398" y="18"/>
                  </a:lnTo>
                  <a:lnTo>
                    <a:pt x="2384" y="22"/>
                  </a:lnTo>
                  <a:lnTo>
                    <a:pt x="2370" y="26"/>
                  </a:lnTo>
                  <a:lnTo>
                    <a:pt x="2355" y="32"/>
                  </a:lnTo>
                  <a:lnTo>
                    <a:pt x="2340" y="38"/>
                  </a:lnTo>
                  <a:lnTo>
                    <a:pt x="2326" y="46"/>
                  </a:lnTo>
                  <a:lnTo>
                    <a:pt x="2311" y="54"/>
                  </a:lnTo>
                  <a:lnTo>
                    <a:pt x="2296" y="64"/>
                  </a:lnTo>
                  <a:lnTo>
                    <a:pt x="2280" y="74"/>
                  </a:lnTo>
                  <a:lnTo>
                    <a:pt x="2265" y="86"/>
                  </a:lnTo>
                  <a:lnTo>
                    <a:pt x="2249" y="98"/>
                  </a:lnTo>
                  <a:lnTo>
                    <a:pt x="2234" y="112"/>
                  </a:lnTo>
                  <a:lnTo>
                    <a:pt x="2218" y="126"/>
                  </a:lnTo>
                  <a:lnTo>
                    <a:pt x="2202" y="142"/>
                  </a:lnTo>
                  <a:lnTo>
                    <a:pt x="2189" y="155"/>
                  </a:lnTo>
                  <a:lnTo>
                    <a:pt x="2177" y="168"/>
                  </a:lnTo>
                  <a:lnTo>
                    <a:pt x="2165" y="181"/>
                  </a:lnTo>
                  <a:lnTo>
                    <a:pt x="2153" y="195"/>
                  </a:lnTo>
                  <a:lnTo>
                    <a:pt x="2130" y="224"/>
                  </a:lnTo>
                  <a:lnTo>
                    <a:pt x="2108" y="253"/>
                  </a:lnTo>
                  <a:lnTo>
                    <a:pt x="2113" y="182"/>
                  </a:lnTo>
                  <a:lnTo>
                    <a:pt x="2113" y="168"/>
                  </a:lnTo>
                  <a:lnTo>
                    <a:pt x="2112" y="155"/>
                  </a:lnTo>
                  <a:lnTo>
                    <a:pt x="2111" y="143"/>
                  </a:lnTo>
                  <a:lnTo>
                    <a:pt x="2109" y="131"/>
                  </a:lnTo>
                  <a:lnTo>
                    <a:pt x="2107" y="120"/>
                  </a:lnTo>
                  <a:lnTo>
                    <a:pt x="2105" y="110"/>
                  </a:lnTo>
                  <a:lnTo>
                    <a:pt x="2102" y="101"/>
                  </a:lnTo>
                  <a:lnTo>
                    <a:pt x="2098" y="92"/>
                  </a:lnTo>
                  <a:lnTo>
                    <a:pt x="2095" y="83"/>
                  </a:lnTo>
                  <a:lnTo>
                    <a:pt x="2091" y="76"/>
                  </a:lnTo>
                  <a:lnTo>
                    <a:pt x="2087" y="69"/>
                  </a:lnTo>
                  <a:lnTo>
                    <a:pt x="2082" y="62"/>
                  </a:lnTo>
                  <a:lnTo>
                    <a:pt x="2078" y="56"/>
                  </a:lnTo>
                  <a:lnTo>
                    <a:pt x="2073" y="51"/>
                  </a:lnTo>
                  <a:lnTo>
                    <a:pt x="2068" y="46"/>
                  </a:lnTo>
                  <a:lnTo>
                    <a:pt x="2062" y="41"/>
                  </a:lnTo>
                  <a:lnTo>
                    <a:pt x="2057" y="37"/>
                  </a:lnTo>
                  <a:lnTo>
                    <a:pt x="2052" y="33"/>
                  </a:lnTo>
                  <a:lnTo>
                    <a:pt x="2041" y="27"/>
                  </a:lnTo>
                  <a:lnTo>
                    <a:pt x="2035" y="24"/>
                  </a:lnTo>
                  <a:lnTo>
                    <a:pt x="2030" y="22"/>
                  </a:lnTo>
                  <a:lnTo>
                    <a:pt x="2019" y="19"/>
                  </a:lnTo>
                  <a:lnTo>
                    <a:pt x="2009" y="16"/>
                  </a:lnTo>
                  <a:lnTo>
                    <a:pt x="1999" y="15"/>
                  </a:lnTo>
                  <a:lnTo>
                    <a:pt x="1990" y="14"/>
                  </a:lnTo>
                  <a:lnTo>
                    <a:pt x="1982" y="14"/>
                  </a:lnTo>
                  <a:lnTo>
                    <a:pt x="1962" y="15"/>
                  </a:lnTo>
                  <a:lnTo>
                    <a:pt x="1952" y="16"/>
                  </a:lnTo>
                  <a:lnTo>
                    <a:pt x="1941" y="17"/>
                  </a:lnTo>
                  <a:lnTo>
                    <a:pt x="1931" y="19"/>
                  </a:lnTo>
                  <a:lnTo>
                    <a:pt x="1921" y="22"/>
                  </a:lnTo>
                  <a:lnTo>
                    <a:pt x="1901" y="28"/>
                  </a:lnTo>
                  <a:lnTo>
                    <a:pt x="1891" y="31"/>
                  </a:lnTo>
                  <a:lnTo>
                    <a:pt x="1880" y="36"/>
                  </a:lnTo>
                  <a:lnTo>
                    <a:pt x="1870" y="40"/>
                  </a:lnTo>
                  <a:lnTo>
                    <a:pt x="1860" y="45"/>
                  </a:lnTo>
                  <a:lnTo>
                    <a:pt x="1839" y="57"/>
                  </a:lnTo>
                  <a:lnTo>
                    <a:pt x="1819" y="70"/>
                  </a:lnTo>
                  <a:lnTo>
                    <a:pt x="1798" y="85"/>
                  </a:lnTo>
                  <a:lnTo>
                    <a:pt x="1778" y="101"/>
                  </a:lnTo>
                  <a:lnTo>
                    <a:pt x="1767" y="110"/>
                  </a:lnTo>
                  <a:lnTo>
                    <a:pt x="1757" y="119"/>
                  </a:lnTo>
                  <a:lnTo>
                    <a:pt x="1746" y="129"/>
                  </a:lnTo>
                  <a:lnTo>
                    <a:pt x="1736" y="140"/>
                  </a:lnTo>
                  <a:lnTo>
                    <a:pt x="1715" y="161"/>
                  </a:lnTo>
                  <a:lnTo>
                    <a:pt x="1694" y="185"/>
                  </a:lnTo>
                  <a:lnTo>
                    <a:pt x="1673" y="210"/>
                  </a:lnTo>
                  <a:lnTo>
                    <a:pt x="1662" y="224"/>
                  </a:lnTo>
                  <a:lnTo>
                    <a:pt x="1651" y="238"/>
                  </a:lnTo>
                  <a:lnTo>
                    <a:pt x="1652" y="232"/>
                  </a:lnTo>
                  <a:lnTo>
                    <a:pt x="1657" y="160"/>
                  </a:lnTo>
                  <a:lnTo>
                    <a:pt x="1656" y="148"/>
                  </a:lnTo>
                  <a:lnTo>
                    <a:pt x="1656" y="136"/>
                  </a:lnTo>
                  <a:lnTo>
                    <a:pt x="1654" y="125"/>
                  </a:lnTo>
                  <a:lnTo>
                    <a:pt x="1653" y="115"/>
                  </a:lnTo>
                  <a:lnTo>
                    <a:pt x="1650" y="105"/>
                  </a:lnTo>
                  <a:lnTo>
                    <a:pt x="1648" y="96"/>
                  </a:lnTo>
                  <a:lnTo>
                    <a:pt x="1645" y="88"/>
                  </a:lnTo>
                  <a:lnTo>
                    <a:pt x="1641" y="80"/>
                  </a:lnTo>
                  <a:lnTo>
                    <a:pt x="1638" y="73"/>
                  </a:lnTo>
                  <a:lnTo>
                    <a:pt x="1634" y="66"/>
                  </a:lnTo>
                  <a:lnTo>
                    <a:pt x="1629" y="60"/>
                  </a:lnTo>
                  <a:lnTo>
                    <a:pt x="1625" y="55"/>
                  </a:lnTo>
                  <a:lnTo>
                    <a:pt x="1620" y="49"/>
                  </a:lnTo>
                  <a:lnTo>
                    <a:pt x="1615" y="45"/>
                  </a:lnTo>
                  <a:lnTo>
                    <a:pt x="1610" y="41"/>
                  </a:lnTo>
                  <a:lnTo>
                    <a:pt x="1605" y="37"/>
                  </a:lnTo>
                  <a:lnTo>
                    <a:pt x="1600" y="33"/>
                  </a:lnTo>
                  <a:lnTo>
                    <a:pt x="1595" y="30"/>
                  </a:lnTo>
                  <a:lnTo>
                    <a:pt x="1589" y="28"/>
                  </a:lnTo>
                  <a:lnTo>
                    <a:pt x="1584" y="25"/>
                  </a:lnTo>
                  <a:lnTo>
                    <a:pt x="1574" y="22"/>
                  </a:lnTo>
                  <a:lnTo>
                    <a:pt x="1568" y="20"/>
                  </a:lnTo>
                  <a:lnTo>
                    <a:pt x="1563" y="19"/>
                  </a:lnTo>
                  <a:lnTo>
                    <a:pt x="1554" y="17"/>
                  </a:lnTo>
                  <a:lnTo>
                    <a:pt x="1545" y="17"/>
                  </a:lnTo>
                  <a:lnTo>
                    <a:pt x="1531" y="16"/>
                  </a:lnTo>
                  <a:lnTo>
                    <a:pt x="1526" y="17"/>
                  </a:lnTo>
                  <a:lnTo>
                    <a:pt x="1520" y="19"/>
                  </a:lnTo>
                  <a:lnTo>
                    <a:pt x="1514" y="21"/>
                  </a:lnTo>
                  <a:lnTo>
                    <a:pt x="1507" y="24"/>
                  </a:lnTo>
                  <a:lnTo>
                    <a:pt x="1500" y="27"/>
                  </a:lnTo>
                  <a:lnTo>
                    <a:pt x="1492" y="31"/>
                  </a:lnTo>
                  <a:lnTo>
                    <a:pt x="1475" y="41"/>
                  </a:lnTo>
                  <a:lnTo>
                    <a:pt x="1466" y="47"/>
                  </a:lnTo>
                  <a:lnTo>
                    <a:pt x="1456" y="53"/>
                  </a:lnTo>
                  <a:lnTo>
                    <a:pt x="1447" y="60"/>
                  </a:lnTo>
                  <a:lnTo>
                    <a:pt x="1436" y="67"/>
                  </a:lnTo>
                  <a:lnTo>
                    <a:pt x="1416" y="83"/>
                  </a:lnTo>
                  <a:lnTo>
                    <a:pt x="1394" y="100"/>
                  </a:lnTo>
                  <a:lnTo>
                    <a:pt x="1372" y="118"/>
                  </a:lnTo>
                  <a:lnTo>
                    <a:pt x="1349" y="137"/>
                  </a:lnTo>
                  <a:lnTo>
                    <a:pt x="1305" y="177"/>
                  </a:lnTo>
                  <a:lnTo>
                    <a:pt x="1282" y="197"/>
                  </a:lnTo>
                  <a:lnTo>
                    <a:pt x="1261" y="217"/>
                  </a:lnTo>
                  <a:lnTo>
                    <a:pt x="1241" y="236"/>
                  </a:lnTo>
                  <a:lnTo>
                    <a:pt x="1222" y="255"/>
                  </a:lnTo>
                  <a:lnTo>
                    <a:pt x="1239" y="130"/>
                  </a:lnTo>
                  <a:lnTo>
                    <a:pt x="1240" y="123"/>
                  </a:lnTo>
                  <a:lnTo>
                    <a:pt x="1241" y="117"/>
                  </a:lnTo>
                  <a:lnTo>
                    <a:pt x="1241" y="111"/>
                  </a:lnTo>
                  <a:lnTo>
                    <a:pt x="1241" y="105"/>
                  </a:lnTo>
                  <a:lnTo>
                    <a:pt x="1241" y="99"/>
                  </a:lnTo>
                  <a:lnTo>
                    <a:pt x="1240" y="94"/>
                  </a:lnTo>
                  <a:lnTo>
                    <a:pt x="1239" y="89"/>
                  </a:lnTo>
                  <a:lnTo>
                    <a:pt x="1237" y="84"/>
                  </a:lnTo>
                  <a:lnTo>
                    <a:pt x="1235" y="79"/>
                  </a:lnTo>
                  <a:lnTo>
                    <a:pt x="1233" y="75"/>
                  </a:lnTo>
                  <a:lnTo>
                    <a:pt x="1230" y="70"/>
                  </a:lnTo>
                  <a:lnTo>
                    <a:pt x="1226" y="66"/>
                  </a:lnTo>
                  <a:lnTo>
                    <a:pt x="1223" y="62"/>
                  </a:lnTo>
                  <a:lnTo>
                    <a:pt x="1218" y="59"/>
                  </a:lnTo>
                  <a:lnTo>
                    <a:pt x="1213" y="55"/>
                  </a:lnTo>
                  <a:lnTo>
                    <a:pt x="1208" y="52"/>
                  </a:lnTo>
                  <a:lnTo>
                    <a:pt x="1196" y="47"/>
                  </a:lnTo>
                  <a:lnTo>
                    <a:pt x="1190" y="44"/>
                  </a:lnTo>
                  <a:lnTo>
                    <a:pt x="1182" y="42"/>
                  </a:lnTo>
                  <a:lnTo>
                    <a:pt x="1166" y="38"/>
                  </a:lnTo>
                  <a:lnTo>
                    <a:pt x="1148" y="35"/>
                  </a:lnTo>
                  <a:lnTo>
                    <a:pt x="1128" y="32"/>
                  </a:lnTo>
                  <a:lnTo>
                    <a:pt x="1117" y="31"/>
                  </a:lnTo>
                  <a:lnTo>
                    <a:pt x="1105" y="31"/>
                  </a:lnTo>
                  <a:lnTo>
                    <a:pt x="1093" y="30"/>
                  </a:lnTo>
                  <a:lnTo>
                    <a:pt x="1080" y="30"/>
                  </a:lnTo>
                  <a:lnTo>
                    <a:pt x="1052" y="30"/>
                  </a:lnTo>
                  <a:lnTo>
                    <a:pt x="1036" y="30"/>
                  </a:lnTo>
                  <a:lnTo>
                    <a:pt x="1019" y="31"/>
                  </a:lnTo>
                  <a:lnTo>
                    <a:pt x="1003" y="32"/>
                  </a:lnTo>
                  <a:lnTo>
                    <a:pt x="987" y="33"/>
                  </a:lnTo>
                  <a:lnTo>
                    <a:pt x="971" y="35"/>
                  </a:lnTo>
                  <a:lnTo>
                    <a:pt x="955" y="38"/>
                  </a:lnTo>
                  <a:lnTo>
                    <a:pt x="923" y="44"/>
                  </a:lnTo>
                  <a:lnTo>
                    <a:pt x="908" y="47"/>
                  </a:lnTo>
                  <a:lnTo>
                    <a:pt x="892" y="51"/>
                  </a:lnTo>
                  <a:lnTo>
                    <a:pt x="877" y="55"/>
                  </a:lnTo>
                  <a:lnTo>
                    <a:pt x="862" y="60"/>
                  </a:lnTo>
                  <a:lnTo>
                    <a:pt x="847" y="65"/>
                  </a:lnTo>
                  <a:lnTo>
                    <a:pt x="832" y="71"/>
                  </a:lnTo>
                  <a:lnTo>
                    <a:pt x="817" y="77"/>
                  </a:lnTo>
                  <a:lnTo>
                    <a:pt x="802" y="83"/>
                  </a:lnTo>
                  <a:lnTo>
                    <a:pt x="788" y="90"/>
                  </a:lnTo>
                  <a:lnTo>
                    <a:pt x="773" y="97"/>
                  </a:lnTo>
                  <a:lnTo>
                    <a:pt x="759" y="105"/>
                  </a:lnTo>
                  <a:lnTo>
                    <a:pt x="745" y="113"/>
                  </a:lnTo>
                  <a:lnTo>
                    <a:pt x="731" y="121"/>
                  </a:lnTo>
                  <a:lnTo>
                    <a:pt x="717" y="130"/>
                  </a:lnTo>
                  <a:lnTo>
                    <a:pt x="703" y="139"/>
                  </a:lnTo>
                  <a:lnTo>
                    <a:pt x="690" y="149"/>
                  </a:lnTo>
                  <a:lnTo>
                    <a:pt x="676" y="159"/>
                  </a:lnTo>
                  <a:lnTo>
                    <a:pt x="663" y="170"/>
                  </a:lnTo>
                  <a:lnTo>
                    <a:pt x="637" y="192"/>
                  </a:lnTo>
                  <a:lnTo>
                    <a:pt x="624" y="204"/>
                  </a:lnTo>
                  <a:lnTo>
                    <a:pt x="611" y="216"/>
                  </a:lnTo>
                  <a:lnTo>
                    <a:pt x="598" y="228"/>
                  </a:lnTo>
                  <a:lnTo>
                    <a:pt x="586" y="241"/>
                  </a:lnTo>
                  <a:lnTo>
                    <a:pt x="570" y="259"/>
                  </a:lnTo>
                  <a:lnTo>
                    <a:pt x="555" y="277"/>
                  </a:lnTo>
                  <a:lnTo>
                    <a:pt x="540" y="295"/>
                  </a:lnTo>
                  <a:lnTo>
                    <a:pt x="526" y="314"/>
                  </a:lnTo>
                  <a:lnTo>
                    <a:pt x="512" y="332"/>
                  </a:lnTo>
                  <a:lnTo>
                    <a:pt x="500" y="351"/>
                  </a:lnTo>
                  <a:lnTo>
                    <a:pt x="488" y="371"/>
                  </a:lnTo>
                  <a:lnTo>
                    <a:pt x="476" y="390"/>
                  </a:lnTo>
                  <a:lnTo>
                    <a:pt x="465" y="410"/>
                  </a:lnTo>
                  <a:lnTo>
                    <a:pt x="455" y="430"/>
                  </a:lnTo>
                  <a:lnTo>
                    <a:pt x="446" y="451"/>
                  </a:lnTo>
                  <a:lnTo>
                    <a:pt x="437" y="471"/>
                  </a:lnTo>
                  <a:lnTo>
                    <a:pt x="429" y="492"/>
                  </a:lnTo>
                  <a:lnTo>
                    <a:pt x="421" y="513"/>
                  </a:lnTo>
                  <a:lnTo>
                    <a:pt x="418" y="524"/>
                  </a:lnTo>
                  <a:lnTo>
                    <a:pt x="415" y="535"/>
                  </a:lnTo>
                  <a:lnTo>
                    <a:pt x="408" y="557"/>
                  </a:lnTo>
                  <a:lnTo>
                    <a:pt x="397" y="580"/>
                  </a:lnTo>
                  <a:lnTo>
                    <a:pt x="383" y="606"/>
                  </a:lnTo>
                  <a:lnTo>
                    <a:pt x="375" y="619"/>
                  </a:lnTo>
                  <a:lnTo>
                    <a:pt x="367" y="632"/>
                  </a:lnTo>
                  <a:lnTo>
                    <a:pt x="358" y="645"/>
                  </a:lnTo>
                  <a:lnTo>
                    <a:pt x="349" y="658"/>
                  </a:lnTo>
                  <a:lnTo>
                    <a:pt x="340" y="670"/>
                  </a:lnTo>
                  <a:lnTo>
                    <a:pt x="329" y="683"/>
                  </a:lnTo>
                  <a:lnTo>
                    <a:pt x="319" y="694"/>
                  </a:lnTo>
                  <a:lnTo>
                    <a:pt x="313" y="700"/>
                  </a:lnTo>
                  <a:lnTo>
                    <a:pt x="308" y="705"/>
                  </a:lnTo>
                  <a:lnTo>
                    <a:pt x="296" y="716"/>
                  </a:lnTo>
                  <a:lnTo>
                    <a:pt x="284" y="725"/>
                  </a:lnTo>
                  <a:lnTo>
                    <a:pt x="278" y="730"/>
                  </a:lnTo>
                  <a:lnTo>
                    <a:pt x="271" y="734"/>
                  </a:lnTo>
                  <a:lnTo>
                    <a:pt x="265" y="738"/>
                  </a:lnTo>
                  <a:lnTo>
                    <a:pt x="258" y="741"/>
                  </a:lnTo>
                  <a:lnTo>
                    <a:pt x="255" y="743"/>
                  </a:lnTo>
                  <a:lnTo>
                    <a:pt x="251" y="743"/>
                  </a:lnTo>
                  <a:lnTo>
                    <a:pt x="248" y="743"/>
                  </a:lnTo>
                  <a:lnTo>
                    <a:pt x="246" y="742"/>
                  </a:lnTo>
                  <a:lnTo>
                    <a:pt x="244" y="741"/>
                  </a:lnTo>
                  <a:lnTo>
                    <a:pt x="242" y="740"/>
                  </a:lnTo>
                  <a:lnTo>
                    <a:pt x="241" y="738"/>
                  </a:lnTo>
                  <a:lnTo>
                    <a:pt x="240" y="736"/>
                  </a:lnTo>
                  <a:lnTo>
                    <a:pt x="239" y="733"/>
                  </a:lnTo>
                  <a:lnTo>
                    <a:pt x="238" y="729"/>
                  </a:lnTo>
                  <a:lnTo>
                    <a:pt x="238" y="725"/>
                  </a:lnTo>
                  <a:lnTo>
                    <a:pt x="238" y="719"/>
                  </a:lnTo>
                  <a:lnTo>
                    <a:pt x="239" y="714"/>
                  </a:lnTo>
                  <a:lnTo>
                    <a:pt x="259" y="575"/>
                  </a:lnTo>
                  <a:lnTo>
                    <a:pt x="286" y="391"/>
                  </a:lnTo>
                  <a:lnTo>
                    <a:pt x="298" y="301"/>
                  </a:lnTo>
                  <a:lnTo>
                    <a:pt x="303" y="259"/>
                  </a:lnTo>
                  <a:lnTo>
                    <a:pt x="307" y="221"/>
                  </a:lnTo>
                  <a:lnTo>
                    <a:pt x="311" y="188"/>
                  </a:lnTo>
                  <a:lnTo>
                    <a:pt x="313" y="161"/>
                  </a:lnTo>
                  <a:lnTo>
                    <a:pt x="314" y="149"/>
                  </a:lnTo>
                  <a:lnTo>
                    <a:pt x="314" y="140"/>
                  </a:lnTo>
                  <a:lnTo>
                    <a:pt x="314" y="132"/>
                  </a:lnTo>
                  <a:lnTo>
                    <a:pt x="314" y="127"/>
                  </a:lnTo>
                  <a:lnTo>
                    <a:pt x="312" y="114"/>
                  </a:lnTo>
                  <a:lnTo>
                    <a:pt x="310" y="98"/>
                  </a:lnTo>
                  <a:lnTo>
                    <a:pt x="305" y="79"/>
                  </a:lnTo>
                  <a:lnTo>
                    <a:pt x="302" y="69"/>
                  </a:lnTo>
                  <a:lnTo>
                    <a:pt x="300" y="65"/>
                  </a:lnTo>
                  <a:lnTo>
                    <a:pt x="298" y="60"/>
                  </a:lnTo>
                  <a:lnTo>
                    <a:pt x="293" y="50"/>
                  </a:lnTo>
                  <a:lnTo>
                    <a:pt x="287" y="41"/>
                  </a:lnTo>
                  <a:lnTo>
                    <a:pt x="283" y="37"/>
                  </a:lnTo>
                  <a:lnTo>
                    <a:pt x="279" y="32"/>
                  </a:lnTo>
                  <a:lnTo>
                    <a:pt x="275" y="28"/>
                  </a:lnTo>
                  <a:lnTo>
                    <a:pt x="271" y="24"/>
                  </a:lnTo>
                  <a:lnTo>
                    <a:pt x="266" y="21"/>
                  </a:lnTo>
                  <a:lnTo>
                    <a:pt x="261" y="17"/>
                  </a:lnTo>
                  <a:lnTo>
                    <a:pt x="256" y="14"/>
                  </a:lnTo>
                  <a:lnTo>
                    <a:pt x="250" y="11"/>
                  </a:lnTo>
                  <a:lnTo>
                    <a:pt x="243" y="9"/>
                  </a:lnTo>
                  <a:lnTo>
                    <a:pt x="237" y="6"/>
                  </a:lnTo>
                  <a:lnTo>
                    <a:pt x="230" y="4"/>
                  </a:lnTo>
                  <a:lnTo>
                    <a:pt x="222" y="3"/>
                  </a:lnTo>
                  <a:lnTo>
                    <a:pt x="212" y="1"/>
                  </a:lnTo>
                  <a:lnTo>
                    <a:pt x="203" y="1"/>
                  </a:lnTo>
                  <a:lnTo>
                    <a:pt x="193" y="0"/>
                  </a:lnTo>
                  <a:lnTo>
                    <a:pt x="184" y="1"/>
                  </a:lnTo>
                  <a:lnTo>
                    <a:pt x="175" y="2"/>
                  </a:lnTo>
                  <a:lnTo>
                    <a:pt x="167" y="3"/>
                  </a:lnTo>
                  <a:lnTo>
                    <a:pt x="159" y="5"/>
                  </a:lnTo>
                  <a:lnTo>
                    <a:pt x="151" y="7"/>
                  </a:lnTo>
                  <a:lnTo>
                    <a:pt x="137" y="12"/>
                  </a:lnTo>
                  <a:lnTo>
                    <a:pt x="130" y="15"/>
                  </a:lnTo>
                  <a:lnTo>
                    <a:pt x="124" y="18"/>
                  </a:lnTo>
                  <a:lnTo>
                    <a:pt x="118" y="21"/>
                  </a:lnTo>
                  <a:lnTo>
                    <a:pt x="113" y="24"/>
                  </a:lnTo>
                  <a:lnTo>
                    <a:pt x="105" y="30"/>
                  </a:lnTo>
                  <a:lnTo>
                    <a:pt x="105" y="35"/>
                  </a:lnTo>
                  <a:lnTo>
                    <a:pt x="105" y="44"/>
                  </a:lnTo>
                  <a:lnTo>
                    <a:pt x="103" y="72"/>
                  </a:lnTo>
                  <a:lnTo>
                    <a:pt x="99" y="113"/>
                  </a:lnTo>
                  <a:lnTo>
                    <a:pt x="93" y="165"/>
                  </a:lnTo>
                  <a:lnTo>
                    <a:pt x="76" y="293"/>
                  </a:lnTo>
                  <a:lnTo>
                    <a:pt x="56" y="439"/>
                  </a:lnTo>
                  <a:lnTo>
                    <a:pt x="18" y="710"/>
                  </a:lnTo>
                  <a:lnTo>
                    <a:pt x="5" y="801"/>
                  </a:lnTo>
                  <a:lnTo>
                    <a:pt x="1" y="829"/>
                  </a:lnTo>
                  <a:lnTo>
                    <a:pt x="0" y="840"/>
                  </a:lnTo>
                  <a:lnTo>
                    <a:pt x="0" y="852"/>
                  </a:lnTo>
                  <a:lnTo>
                    <a:pt x="1" y="862"/>
                  </a:lnTo>
                  <a:lnTo>
                    <a:pt x="2" y="872"/>
                  </a:lnTo>
                  <a:lnTo>
                    <a:pt x="4" y="882"/>
                  </a:lnTo>
                  <a:lnTo>
                    <a:pt x="6" y="891"/>
                  </a:lnTo>
                  <a:lnTo>
                    <a:pt x="8" y="899"/>
                  </a:lnTo>
                  <a:lnTo>
                    <a:pt x="14" y="914"/>
                  </a:lnTo>
                  <a:lnTo>
                    <a:pt x="17" y="921"/>
                  </a:lnTo>
                  <a:lnTo>
                    <a:pt x="21" y="927"/>
                  </a:lnTo>
                  <a:lnTo>
                    <a:pt x="25" y="933"/>
                  </a:lnTo>
                  <a:lnTo>
                    <a:pt x="29" y="938"/>
                  </a:lnTo>
                  <a:lnTo>
                    <a:pt x="33" y="943"/>
                  </a:lnTo>
                  <a:lnTo>
                    <a:pt x="37" y="947"/>
                  </a:lnTo>
                  <a:lnTo>
                    <a:pt x="42" y="951"/>
                  </a:lnTo>
                  <a:lnTo>
                    <a:pt x="47" y="955"/>
                  </a:lnTo>
                  <a:lnTo>
                    <a:pt x="56" y="961"/>
                  </a:lnTo>
                  <a:lnTo>
                    <a:pt x="66" y="965"/>
                  </a:lnTo>
                  <a:lnTo>
                    <a:pt x="71" y="967"/>
                  </a:lnTo>
                  <a:lnTo>
                    <a:pt x="75" y="969"/>
                  </a:lnTo>
                  <a:lnTo>
                    <a:pt x="80" y="970"/>
                  </a:lnTo>
                  <a:lnTo>
                    <a:pt x="84" y="972"/>
                  </a:lnTo>
                  <a:lnTo>
                    <a:pt x="93" y="973"/>
                  </a:lnTo>
                  <a:lnTo>
                    <a:pt x="101" y="974"/>
                  </a:lnTo>
                  <a:lnTo>
                    <a:pt x="113" y="975"/>
                  </a:lnTo>
                  <a:lnTo>
                    <a:pt x="128" y="974"/>
                  </a:lnTo>
                  <a:lnTo>
                    <a:pt x="142" y="973"/>
                  </a:lnTo>
                  <a:lnTo>
                    <a:pt x="156" y="970"/>
                  </a:lnTo>
                  <a:lnTo>
                    <a:pt x="171" y="966"/>
                  </a:lnTo>
                  <a:lnTo>
                    <a:pt x="185" y="961"/>
                  </a:lnTo>
                  <a:lnTo>
                    <a:pt x="199" y="955"/>
                  </a:lnTo>
                  <a:lnTo>
                    <a:pt x="214" y="947"/>
                  </a:lnTo>
                  <a:lnTo>
                    <a:pt x="228" y="939"/>
                  </a:lnTo>
                  <a:lnTo>
                    <a:pt x="242" y="929"/>
                  </a:lnTo>
                  <a:lnTo>
                    <a:pt x="250" y="924"/>
                  </a:lnTo>
                  <a:lnTo>
                    <a:pt x="257" y="918"/>
                  </a:lnTo>
                  <a:lnTo>
                    <a:pt x="272" y="906"/>
                  </a:lnTo>
                  <a:lnTo>
                    <a:pt x="286" y="893"/>
                  </a:lnTo>
                  <a:lnTo>
                    <a:pt x="294" y="886"/>
                  </a:lnTo>
                  <a:lnTo>
                    <a:pt x="301" y="878"/>
                  </a:lnTo>
                  <a:lnTo>
                    <a:pt x="316" y="863"/>
                  </a:lnTo>
                  <a:lnTo>
                    <a:pt x="331" y="846"/>
                  </a:lnTo>
                  <a:lnTo>
                    <a:pt x="346" y="828"/>
                  </a:lnTo>
                  <a:lnTo>
                    <a:pt x="367" y="802"/>
                  </a:lnTo>
                  <a:lnTo>
                    <a:pt x="384" y="780"/>
                  </a:lnTo>
                  <a:lnTo>
                    <a:pt x="386" y="800"/>
                  </a:lnTo>
                  <a:lnTo>
                    <a:pt x="387" y="810"/>
                  </a:lnTo>
                  <a:lnTo>
                    <a:pt x="389" y="820"/>
                  </a:lnTo>
                  <a:lnTo>
                    <a:pt x="391" y="829"/>
                  </a:lnTo>
                  <a:lnTo>
                    <a:pt x="393" y="839"/>
                  </a:lnTo>
                  <a:lnTo>
                    <a:pt x="396" y="848"/>
                  </a:lnTo>
                  <a:lnTo>
                    <a:pt x="400" y="858"/>
                  </a:lnTo>
                  <a:lnTo>
                    <a:pt x="403" y="867"/>
                  </a:lnTo>
                  <a:lnTo>
                    <a:pt x="408" y="877"/>
                  </a:lnTo>
                  <a:lnTo>
                    <a:pt x="413" y="886"/>
                  </a:lnTo>
                  <a:lnTo>
                    <a:pt x="418" y="895"/>
                  </a:lnTo>
                  <a:lnTo>
                    <a:pt x="425" y="904"/>
                  </a:lnTo>
                  <a:lnTo>
                    <a:pt x="432" y="913"/>
                  </a:lnTo>
                  <a:lnTo>
                    <a:pt x="439" y="921"/>
                  </a:lnTo>
                  <a:lnTo>
                    <a:pt x="447" y="930"/>
                  </a:lnTo>
                  <a:lnTo>
                    <a:pt x="413" y="959"/>
                  </a:lnTo>
                  <a:lnTo>
                    <a:pt x="380" y="987"/>
                  </a:lnTo>
                  <a:lnTo>
                    <a:pt x="349" y="1015"/>
                  </a:lnTo>
                  <a:lnTo>
                    <a:pt x="320" y="1042"/>
                  </a:lnTo>
                  <a:lnTo>
                    <a:pt x="293" y="1070"/>
                  </a:lnTo>
                  <a:lnTo>
                    <a:pt x="267" y="1098"/>
                  </a:lnTo>
                  <a:lnTo>
                    <a:pt x="255" y="1112"/>
                  </a:lnTo>
                  <a:lnTo>
                    <a:pt x="244" y="1125"/>
                  </a:lnTo>
                  <a:lnTo>
                    <a:pt x="233" y="1139"/>
                  </a:lnTo>
                  <a:lnTo>
                    <a:pt x="223" y="1153"/>
                  </a:lnTo>
                  <a:lnTo>
                    <a:pt x="213" y="1167"/>
                  </a:lnTo>
                  <a:lnTo>
                    <a:pt x="203" y="1180"/>
                  </a:lnTo>
                  <a:lnTo>
                    <a:pt x="194" y="1194"/>
                  </a:lnTo>
                  <a:lnTo>
                    <a:pt x="186" y="1208"/>
                  </a:lnTo>
                  <a:lnTo>
                    <a:pt x="179" y="1222"/>
                  </a:lnTo>
                  <a:lnTo>
                    <a:pt x="171" y="1236"/>
                  </a:lnTo>
                  <a:lnTo>
                    <a:pt x="165" y="1250"/>
                  </a:lnTo>
                  <a:lnTo>
                    <a:pt x="159" y="1264"/>
                  </a:lnTo>
                  <a:lnTo>
                    <a:pt x="154" y="1278"/>
                  </a:lnTo>
                  <a:lnTo>
                    <a:pt x="149" y="1293"/>
                  </a:lnTo>
                  <a:lnTo>
                    <a:pt x="145" y="1307"/>
                  </a:lnTo>
                  <a:lnTo>
                    <a:pt x="142" y="1322"/>
                  </a:lnTo>
                  <a:lnTo>
                    <a:pt x="139" y="1336"/>
                  </a:lnTo>
                  <a:lnTo>
                    <a:pt x="137" y="1351"/>
                  </a:lnTo>
                  <a:lnTo>
                    <a:pt x="136" y="1366"/>
                  </a:lnTo>
                  <a:lnTo>
                    <a:pt x="135" y="1381"/>
                  </a:lnTo>
                  <a:lnTo>
                    <a:pt x="135" y="1398"/>
                  </a:lnTo>
                  <a:lnTo>
                    <a:pt x="136" y="1415"/>
                  </a:lnTo>
                  <a:lnTo>
                    <a:pt x="137" y="1431"/>
                  </a:lnTo>
                  <a:lnTo>
                    <a:pt x="140" y="1447"/>
                  </a:lnTo>
                  <a:lnTo>
                    <a:pt x="141" y="1454"/>
                  </a:lnTo>
                  <a:lnTo>
                    <a:pt x="143" y="1462"/>
                  </a:lnTo>
                  <a:lnTo>
                    <a:pt x="146" y="1477"/>
                  </a:lnTo>
                  <a:lnTo>
                    <a:pt x="151" y="1492"/>
                  </a:lnTo>
                  <a:lnTo>
                    <a:pt x="156" y="1507"/>
                  </a:lnTo>
                  <a:lnTo>
                    <a:pt x="161" y="1521"/>
                  </a:lnTo>
                  <a:lnTo>
                    <a:pt x="168" y="1534"/>
                  </a:lnTo>
                  <a:lnTo>
                    <a:pt x="175" y="1548"/>
                  </a:lnTo>
                  <a:lnTo>
                    <a:pt x="183" y="1561"/>
                  </a:lnTo>
                  <a:lnTo>
                    <a:pt x="192" y="1574"/>
                  </a:lnTo>
                  <a:lnTo>
                    <a:pt x="201" y="1586"/>
                  </a:lnTo>
                  <a:lnTo>
                    <a:pt x="211" y="1598"/>
                  </a:lnTo>
                  <a:lnTo>
                    <a:pt x="222" y="1610"/>
                  </a:lnTo>
                  <a:lnTo>
                    <a:pt x="234" y="1621"/>
                  </a:lnTo>
                  <a:lnTo>
                    <a:pt x="245" y="1631"/>
                  </a:lnTo>
                  <a:lnTo>
                    <a:pt x="251" y="1636"/>
                  </a:lnTo>
                  <a:lnTo>
                    <a:pt x="258" y="1641"/>
                  </a:lnTo>
                  <a:lnTo>
                    <a:pt x="270" y="1650"/>
                  </a:lnTo>
                  <a:lnTo>
                    <a:pt x="277" y="1654"/>
                  </a:lnTo>
                  <a:lnTo>
                    <a:pt x="283" y="1659"/>
                  </a:lnTo>
                  <a:lnTo>
                    <a:pt x="297" y="1666"/>
                  </a:lnTo>
                  <a:lnTo>
                    <a:pt x="310" y="1673"/>
                  </a:lnTo>
                  <a:lnTo>
                    <a:pt x="324" y="1679"/>
                  </a:lnTo>
                  <a:lnTo>
                    <a:pt x="339" y="1685"/>
                  </a:lnTo>
                  <a:lnTo>
                    <a:pt x="354" y="1690"/>
                  </a:lnTo>
                  <a:lnTo>
                    <a:pt x="369" y="1694"/>
                  </a:lnTo>
                  <a:lnTo>
                    <a:pt x="385" y="1697"/>
                  </a:lnTo>
                  <a:lnTo>
                    <a:pt x="401" y="1700"/>
                  </a:lnTo>
                  <a:lnTo>
                    <a:pt x="417" y="1702"/>
                  </a:lnTo>
                  <a:lnTo>
                    <a:pt x="434" y="1703"/>
                  </a:lnTo>
                  <a:lnTo>
                    <a:pt x="451" y="1703"/>
                  </a:lnTo>
                  <a:lnTo>
                    <a:pt x="483" y="1702"/>
                  </a:lnTo>
                  <a:lnTo>
                    <a:pt x="500" y="1701"/>
                  </a:lnTo>
                  <a:lnTo>
                    <a:pt x="516" y="1700"/>
                  </a:lnTo>
                  <a:lnTo>
                    <a:pt x="548" y="1695"/>
                  </a:lnTo>
                  <a:lnTo>
                    <a:pt x="565" y="1692"/>
                  </a:lnTo>
                  <a:lnTo>
                    <a:pt x="581" y="1689"/>
                  </a:lnTo>
                  <a:lnTo>
                    <a:pt x="597" y="1685"/>
                  </a:lnTo>
                  <a:lnTo>
                    <a:pt x="613" y="1681"/>
                  </a:lnTo>
                  <a:lnTo>
                    <a:pt x="629" y="1676"/>
                  </a:lnTo>
                  <a:lnTo>
                    <a:pt x="645" y="1671"/>
                  </a:lnTo>
                  <a:lnTo>
                    <a:pt x="676" y="1659"/>
                  </a:lnTo>
                  <a:lnTo>
                    <a:pt x="692" y="1652"/>
                  </a:lnTo>
                  <a:lnTo>
                    <a:pt x="708" y="1645"/>
                  </a:lnTo>
                  <a:lnTo>
                    <a:pt x="723" y="1637"/>
                  </a:lnTo>
                  <a:lnTo>
                    <a:pt x="739" y="1629"/>
                  </a:lnTo>
                  <a:lnTo>
                    <a:pt x="754" y="1621"/>
                  </a:lnTo>
                  <a:lnTo>
                    <a:pt x="770" y="1612"/>
                  </a:lnTo>
                  <a:lnTo>
                    <a:pt x="785" y="1602"/>
                  </a:lnTo>
                  <a:lnTo>
                    <a:pt x="800" y="1592"/>
                  </a:lnTo>
                  <a:lnTo>
                    <a:pt x="816" y="1582"/>
                  </a:lnTo>
                  <a:lnTo>
                    <a:pt x="831" y="1571"/>
                  </a:lnTo>
                  <a:lnTo>
                    <a:pt x="846" y="1560"/>
                  </a:lnTo>
                  <a:lnTo>
                    <a:pt x="861" y="1548"/>
                  </a:lnTo>
                  <a:lnTo>
                    <a:pt x="891" y="1523"/>
                  </a:lnTo>
                  <a:lnTo>
                    <a:pt x="906" y="1510"/>
                  </a:lnTo>
                  <a:lnTo>
                    <a:pt x="921" y="1497"/>
                  </a:lnTo>
                  <a:lnTo>
                    <a:pt x="935" y="1483"/>
                  </a:lnTo>
                  <a:lnTo>
                    <a:pt x="950" y="1468"/>
                  </a:lnTo>
                  <a:lnTo>
                    <a:pt x="963" y="1455"/>
                  </a:lnTo>
                  <a:lnTo>
                    <a:pt x="975" y="1442"/>
                  </a:lnTo>
                  <a:lnTo>
                    <a:pt x="986" y="1428"/>
                  </a:lnTo>
                  <a:lnTo>
                    <a:pt x="998" y="1414"/>
                  </a:lnTo>
                  <a:lnTo>
                    <a:pt x="1008" y="1400"/>
                  </a:lnTo>
                  <a:lnTo>
                    <a:pt x="1018" y="1385"/>
                  </a:lnTo>
                  <a:lnTo>
                    <a:pt x="1028" y="1371"/>
                  </a:lnTo>
                  <a:lnTo>
                    <a:pt x="1037" y="1356"/>
                  </a:lnTo>
                  <a:lnTo>
                    <a:pt x="1046" y="1341"/>
                  </a:lnTo>
                  <a:lnTo>
                    <a:pt x="1055" y="1325"/>
                  </a:lnTo>
                  <a:lnTo>
                    <a:pt x="1063" y="1310"/>
                  </a:lnTo>
                  <a:lnTo>
                    <a:pt x="1070" y="1294"/>
                  </a:lnTo>
                  <a:lnTo>
                    <a:pt x="1078" y="1278"/>
                  </a:lnTo>
                  <a:lnTo>
                    <a:pt x="1085" y="1262"/>
                  </a:lnTo>
                  <a:lnTo>
                    <a:pt x="1098" y="1230"/>
                  </a:lnTo>
                  <a:lnTo>
                    <a:pt x="1103" y="1213"/>
                  </a:lnTo>
                  <a:lnTo>
                    <a:pt x="1109" y="1195"/>
                  </a:lnTo>
                  <a:lnTo>
                    <a:pt x="1114" y="1176"/>
                  </a:lnTo>
                  <a:lnTo>
                    <a:pt x="1119" y="1156"/>
                  </a:lnTo>
                  <a:lnTo>
                    <a:pt x="1123" y="1135"/>
                  </a:lnTo>
                  <a:lnTo>
                    <a:pt x="1128" y="1112"/>
                  </a:lnTo>
                  <a:lnTo>
                    <a:pt x="1135" y="1064"/>
                  </a:lnTo>
                  <a:lnTo>
                    <a:pt x="1142" y="1014"/>
                  </a:lnTo>
                  <a:lnTo>
                    <a:pt x="1149" y="961"/>
                  </a:lnTo>
                  <a:lnTo>
                    <a:pt x="1155" y="905"/>
                  </a:lnTo>
                  <a:lnTo>
                    <a:pt x="1161" y="849"/>
                  </a:lnTo>
                  <a:lnTo>
                    <a:pt x="1168" y="768"/>
                  </a:lnTo>
                  <a:lnTo>
                    <a:pt x="1174" y="692"/>
                  </a:lnTo>
                  <a:lnTo>
                    <a:pt x="1186" y="561"/>
                  </a:lnTo>
                  <a:lnTo>
                    <a:pt x="1194" y="471"/>
                  </a:lnTo>
                  <a:lnTo>
                    <a:pt x="1198" y="438"/>
                  </a:lnTo>
                  <a:lnTo>
                    <a:pt x="1213" y="419"/>
                  </a:lnTo>
                  <a:lnTo>
                    <a:pt x="1222" y="409"/>
                  </a:lnTo>
                  <a:lnTo>
                    <a:pt x="1231" y="399"/>
                  </a:lnTo>
                  <a:lnTo>
                    <a:pt x="1253" y="377"/>
                  </a:lnTo>
                  <a:lnTo>
                    <a:pt x="1279" y="352"/>
                  </a:lnTo>
                  <a:lnTo>
                    <a:pt x="1294" y="339"/>
                  </a:lnTo>
                  <a:lnTo>
                    <a:pt x="1310" y="326"/>
                  </a:lnTo>
                  <a:lnTo>
                    <a:pt x="1343" y="298"/>
                  </a:lnTo>
                  <a:lnTo>
                    <a:pt x="1382" y="267"/>
                  </a:lnTo>
                  <a:lnTo>
                    <a:pt x="1403" y="251"/>
                  </a:lnTo>
                  <a:lnTo>
                    <a:pt x="1425" y="235"/>
                  </a:lnTo>
                  <a:lnTo>
                    <a:pt x="1426" y="235"/>
                  </a:lnTo>
                  <a:lnTo>
                    <a:pt x="1420" y="320"/>
                  </a:lnTo>
                  <a:lnTo>
                    <a:pt x="1414" y="367"/>
                  </a:lnTo>
                  <a:lnTo>
                    <a:pt x="1368" y="781"/>
                  </a:lnTo>
                  <a:lnTo>
                    <a:pt x="1364" y="825"/>
                  </a:lnTo>
                  <a:lnTo>
                    <a:pt x="1363" y="843"/>
                  </a:lnTo>
                  <a:lnTo>
                    <a:pt x="1363" y="856"/>
                  </a:lnTo>
                  <a:lnTo>
                    <a:pt x="1363" y="869"/>
                  </a:lnTo>
                  <a:lnTo>
                    <a:pt x="1364" y="877"/>
                  </a:lnTo>
                  <a:lnTo>
                    <a:pt x="1365" y="885"/>
                  </a:lnTo>
                  <a:lnTo>
                    <a:pt x="1367" y="894"/>
                  </a:lnTo>
                  <a:lnTo>
                    <a:pt x="1370" y="904"/>
                  </a:lnTo>
                  <a:lnTo>
                    <a:pt x="1371" y="909"/>
                  </a:lnTo>
                  <a:lnTo>
                    <a:pt x="1373" y="914"/>
                  </a:lnTo>
                  <a:lnTo>
                    <a:pt x="1378" y="923"/>
                  </a:lnTo>
                  <a:lnTo>
                    <a:pt x="1383" y="933"/>
                  </a:lnTo>
                  <a:lnTo>
                    <a:pt x="1389" y="942"/>
                  </a:lnTo>
                  <a:lnTo>
                    <a:pt x="1396" y="950"/>
                  </a:lnTo>
                  <a:lnTo>
                    <a:pt x="1401" y="955"/>
                  </a:lnTo>
                  <a:lnTo>
                    <a:pt x="1405" y="958"/>
                  </a:lnTo>
                  <a:lnTo>
                    <a:pt x="1410" y="962"/>
                  </a:lnTo>
                  <a:lnTo>
                    <a:pt x="1415" y="966"/>
                  </a:lnTo>
                  <a:lnTo>
                    <a:pt x="1421" y="969"/>
                  </a:lnTo>
                  <a:lnTo>
                    <a:pt x="1427" y="972"/>
                  </a:lnTo>
                  <a:lnTo>
                    <a:pt x="1433" y="974"/>
                  </a:lnTo>
                  <a:lnTo>
                    <a:pt x="1439" y="976"/>
                  </a:lnTo>
                  <a:lnTo>
                    <a:pt x="1447" y="978"/>
                  </a:lnTo>
                  <a:lnTo>
                    <a:pt x="1454" y="980"/>
                  </a:lnTo>
                  <a:lnTo>
                    <a:pt x="1464" y="981"/>
                  </a:lnTo>
                  <a:lnTo>
                    <a:pt x="1474" y="982"/>
                  </a:lnTo>
                  <a:lnTo>
                    <a:pt x="1484" y="982"/>
                  </a:lnTo>
                  <a:lnTo>
                    <a:pt x="1494" y="981"/>
                  </a:lnTo>
                  <a:lnTo>
                    <a:pt x="1503" y="980"/>
                  </a:lnTo>
                  <a:lnTo>
                    <a:pt x="1512" y="978"/>
                  </a:lnTo>
                  <a:lnTo>
                    <a:pt x="1520" y="976"/>
                  </a:lnTo>
                  <a:lnTo>
                    <a:pt x="1529" y="974"/>
                  </a:lnTo>
                  <a:lnTo>
                    <a:pt x="1536" y="971"/>
                  </a:lnTo>
                  <a:lnTo>
                    <a:pt x="1543" y="968"/>
                  </a:lnTo>
                  <a:lnTo>
                    <a:pt x="1556" y="963"/>
                  </a:lnTo>
                  <a:lnTo>
                    <a:pt x="1565" y="957"/>
                  </a:lnTo>
                  <a:lnTo>
                    <a:pt x="1572" y="952"/>
                  </a:lnTo>
                  <a:lnTo>
                    <a:pt x="1571" y="950"/>
                  </a:lnTo>
                  <a:lnTo>
                    <a:pt x="1571" y="947"/>
                  </a:lnTo>
                  <a:lnTo>
                    <a:pt x="1571" y="936"/>
                  </a:lnTo>
                  <a:lnTo>
                    <a:pt x="1571" y="922"/>
                  </a:lnTo>
                  <a:lnTo>
                    <a:pt x="1573" y="904"/>
                  </a:lnTo>
                  <a:lnTo>
                    <a:pt x="1575" y="883"/>
                  </a:lnTo>
                  <a:lnTo>
                    <a:pt x="1578" y="860"/>
                  </a:lnTo>
                  <a:lnTo>
                    <a:pt x="1584" y="810"/>
                  </a:lnTo>
                  <a:lnTo>
                    <a:pt x="1590" y="761"/>
                  </a:lnTo>
                  <a:lnTo>
                    <a:pt x="1596" y="719"/>
                  </a:lnTo>
                  <a:lnTo>
                    <a:pt x="1602" y="679"/>
                  </a:lnTo>
                  <a:lnTo>
                    <a:pt x="1604" y="661"/>
                  </a:lnTo>
                  <a:lnTo>
                    <a:pt x="1607" y="643"/>
                  </a:lnTo>
                  <a:lnTo>
                    <a:pt x="1611" y="625"/>
                  </a:lnTo>
                  <a:lnTo>
                    <a:pt x="1616" y="607"/>
                  </a:lnTo>
                  <a:lnTo>
                    <a:pt x="1621" y="589"/>
                  </a:lnTo>
                  <a:lnTo>
                    <a:pt x="1626" y="570"/>
                  </a:lnTo>
                  <a:lnTo>
                    <a:pt x="1633" y="552"/>
                  </a:lnTo>
                  <a:lnTo>
                    <a:pt x="1640" y="533"/>
                  </a:lnTo>
                  <a:lnTo>
                    <a:pt x="1648" y="514"/>
                  </a:lnTo>
                  <a:lnTo>
                    <a:pt x="1656" y="495"/>
                  </a:lnTo>
                  <a:lnTo>
                    <a:pt x="1665" y="476"/>
                  </a:lnTo>
                  <a:lnTo>
                    <a:pt x="1675" y="457"/>
                  </a:lnTo>
                  <a:lnTo>
                    <a:pt x="1686" y="438"/>
                  </a:lnTo>
                  <a:lnTo>
                    <a:pt x="1697" y="418"/>
                  </a:lnTo>
                  <a:lnTo>
                    <a:pt x="1709" y="398"/>
                  </a:lnTo>
                  <a:lnTo>
                    <a:pt x="1722" y="379"/>
                  </a:lnTo>
                  <a:lnTo>
                    <a:pt x="1737" y="355"/>
                  </a:lnTo>
                  <a:lnTo>
                    <a:pt x="1752" y="334"/>
                  </a:lnTo>
                  <a:lnTo>
                    <a:pt x="1766" y="315"/>
                  </a:lnTo>
                  <a:lnTo>
                    <a:pt x="1779" y="298"/>
                  </a:lnTo>
                  <a:lnTo>
                    <a:pt x="1792" y="283"/>
                  </a:lnTo>
                  <a:lnTo>
                    <a:pt x="1804" y="269"/>
                  </a:lnTo>
                  <a:lnTo>
                    <a:pt x="1814" y="258"/>
                  </a:lnTo>
                  <a:lnTo>
                    <a:pt x="1824" y="249"/>
                  </a:lnTo>
                  <a:lnTo>
                    <a:pt x="1833" y="241"/>
                  </a:lnTo>
                  <a:lnTo>
                    <a:pt x="1842" y="235"/>
                  </a:lnTo>
                  <a:lnTo>
                    <a:pt x="1846" y="233"/>
                  </a:lnTo>
                  <a:lnTo>
                    <a:pt x="1849" y="231"/>
                  </a:lnTo>
                  <a:lnTo>
                    <a:pt x="1856" y="228"/>
                  </a:lnTo>
                  <a:lnTo>
                    <a:pt x="1859" y="227"/>
                  </a:lnTo>
                  <a:lnTo>
                    <a:pt x="1861" y="227"/>
                  </a:lnTo>
                  <a:lnTo>
                    <a:pt x="1864" y="227"/>
                  </a:lnTo>
                  <a:lnTo>
                    <a:pt x="1866" y="227"/>
                  </a:lnTo>
                  <a:lnTo>
                    <a:pt x="1868" y="228"/>
                  </a:lnTo>
                  <a:lnTo>
                    <a:pt x="1870" y="229"/>
                  </a:lnTo>
                  <a:lnTo>
                    <a:pt x="1872" y="230"/>
                  </a:lnTo>
                  <a:lnTo>
                    <a:pt x="1873" y="232"/>
                  </a:lnTo>
                  <a:lnTo>
                    <a:pt x="1874" y="234"/>
                  </a:lnTo>
                  <a:lnTo>
                    <a:pt x="1875" y="237"/>
                  </a:lnTo>
                  <a:lnTo>
                    <a:pt x="1877" y="244"/>
                  </a:lnTo>
                  <a:lnTo>
                    <a:pt x="1877" y="248"/>
                  </a:lnTo>
                  <a:lnTo>
                    <a:pt x="1878" y="253"/>
                  </a:lnTo>
                  <a:lnTo>
                    <a:pt x="1878" y="263"/>
                  </a:lnTo>
                  <a:lnTo>
                    <a:pt x="1878" y="275"/>
                  </a:lnTo>
                  <a:lnTo>
                    <a:pt x="1878" y="287"/>
                  </a:lnTo>
                  <a:lnTo>
                    <a:pt x="1876" y="313"/>
                  </a:lnTo>
                  <a:lnTo>
                    <a:pt x="1874" y="338"/>
                  </a:lnTo>
                  <a:lnTo>
                    <a:pt x="1872" y="360"/>
                  </a:lnTo>
                  <a:lnTo>
                    <a:pt x="1870" y="380"/>
                  </a:lnTo>
                  <a:lnTo>
                    <a:pt x="1825" y="784"/>
                  </a:lnTo>
                  <a:lnTo>
                    <a:pt x="1823" y="811"/>
                  </a:lnTo>
                  <a:lnTo>
                    <a:pt x="1821" y="837"/>
                  </a:lnTo>
                  <a:lnTo>
                    <a:pt x="1820" y="856"/>
                  </a:lnTo>
                  <a:lnTo>
                    <a:pt x="1821" y="869"/>
                  </a:lnTo>
                  <a:lnTo>
                    <a:pt x="1821" y="877"/>
                  </a:lnTo>
                  <a:lnTo>
                    <a:pt x="1823" y="885"/>
                  </a:lnTo>
                  <a:lnTo>
                    <a:pt x="1825" y="894"/>
                  </a:lnTo>
                  <a:lnTo>
                    <a:pt x="1827" y="904"/>
                  </a:lnTo>
                  <a:lnTo>
                    <a:pt x="1829" y="909"/>
                  </a:lnTo>
                  <a:lnTo>
                    <a:pt x="1831" y="914"/>
                  </a:lnTo>
                  <a:lnTo>
                    <a:pt x="1835" y="923"/>
                  </a:lnTo>
                  <a:lnTo>
                    <a:pt x="1840" y="933"/>
                  </a:lnTo>
                  <a:lnTo>
                    <a:pt x="1846" y="942"/>
                  </a:lnTo>
                  <a:lnTo>
                    <a:pt x="1854" y="950"/>
                  </a:lnTo>
                  <a:lnTo>
                    <a:pt x="1858" y="955"/>
                  </a:lnTo>
                  <a:lnTo>
                    <a:pt x="1863" y="958"/>
                  </a:lnTo>
                  <a:lnTo>
                    <a:pt x="1867" y="962"/>
                  </a:lnTo>
                  <a:lnTo>
                    <a:pt x="1873" y="966"/>
                  </a:lnTo>
                  <a:lnTo>
                    <a:pt x="1878" y="969"/>
                  </a:lnTo>
                  <a:lnTo>
                    <a:pt x="1884" y="972"/>
                  </a:lnTo>
                  <a:lnTo>
                    <a:pt x="1890" y="974"/>
                  </a:lnTo>
                  <a:lnTo>
                    <a:pt x="1897" y="976"/>
                  </a:lnTo>
                  <a:lnTo>
                    <a:pt x="1904" y="978"/>
                  </a:lnTo>
                  <a:lnTo>
                    <a:pt x="1911" y="980"/>
                  </a:lnTo>
                  <a:lnTo>
                    <a:pt x="1922" y="981"/>
                  </a:lnTo>
                  <a:lnTo>
                    <a:pt x="1932" y="982"/>
                  </a:lnTo>
                  <a:lnTo>
                    <a:pt x="1943" y="982"/>
                  </a:lnTo>
                  <a:lnTo>
                    <a:pt x="1953" y="981"/>
                  </a:lnTo>
                  <a:lnTo>
                    <a:pt x="1963" y="979"/>
                  </a:lnTo>
                  <a:lnTo>
                    <a:pt x="1973" y="977"/>
                  </a:lnTo>
                  <a:lnTo>
                    <a:pt x="1982" y="975"/>
                  </a:lnTo>
                  <a:lnTo>
                    <a:pt x="1991" y="972"/>
                  </a:lnTo>
                  <a:lnTo>
                    <a:pt x="2007" y="966"/>
                  </a:lnTo>
                  <a:lnTo>
                    <a:pt x="2021" y="959"/>
                  </a:lnTo>
                  <a:lnTo>
                    <a:pt x="2032" y="953"/>
                  </a:lnTo>
                  <a:lnTo>
                    <a:pt x="2036" y="950"/>
                  </a:lnTo>
                  <a:lnTo>
                    <a:pt x="2040" y="947"/>
                  </a:lnTo>
                  <a:lnTo>
                    <a:pt x="2038" y="940"/>
                  </a:lnTo>
                  <a:lnTo>
                    <a:pt x="2038" y="928"/>
                  </a:lnTo>
                  <a:lnTo>
                    <a:pt x="2038" y="913"/>
                  </a:lnTo>
                  <a:lnTo>
                    <a:pt x="2039" y="895"/>
                  </a:lnTo>
                  <a:lnTo>
                    <a:pt x="2042" y="851"/>
                  </a:lnTo>
                  <a:lnTo>
                    <a:pt x="2047" y="804"/>
                  </a:lnTo>
                  <a:lnTo>
                    <a:pt x="2052" y="757"/>
                  </a:lnTo>
                  <a:lnTo>
                    <a:pt x="2056" y="717"/>
                  </a:lnTo>
                  <a:lnTo>
                    <a:pt x="2061" y="679"/>
                  </a:lnTo>
                  <a:lnTo>
                    <a:pt x="2063" y="661"/>
                  </a:lnTo>
                  <a:lnTo>
                    <a:pt x="2066" y="643"/>
                  </a:lnTo>
                  <a:lnTo>
                    <a:pt x="2070" y="625"/>
                  </a:lnTo>
                  <a:lnTo>
                    <a:pt x="2074" y="607"/>
                  </a:lnTo>
                  <a:lnTo>
                    <a:pt x="2080" y="589"/>
                  </a:lnTo>
                  <a:lnTo>
                    <a:pt x="2085" y="571"/>
                  </a:lnTo>
                  <a:lnTo>
                    <a:pt x="2092" y="552"/>
                  </a:lnTo>
                  <a:lnTo>
                    <a:pt x="2099" y="533"/>
                  </a:lnTo>
                  <a:lnTo>
                    <a:pt x="2107" y="515"/>
                  </a:lnTo>
                  <a:lnTo>
                    <a:pt x="2116" y="496"/>
                  </a:lnTo>
                  <a:lnTo>
                    <a:pt x="2125" y="476"/>
                  </a:lnTo>
                  <a:lnTo>
                    <a:pt x="2135" y="457"/>
                  </a:lnTo>
                  <a:lnTo>
                    <a:pt x="2146" y="438"/>
                  </a:lnTo>
                  <a:lnTo>
                    <a:pt x="2158" y="418"/>
                  </a:lnTo>
                  <a:lnTo>
                    <a:pt x="2170" y="399"/>
                  </a:lnTo>
                  <a:lnTo>
                    <a:pt x="2182" y="379"/>
                  </a:lnTo>
                  <a:lnTo>
                    <a:pt x="2198" y="356"/>
                  </a:lnTo>
                  <a:lnTo>
                    <a:pt x="2213" y="335"/>
                  </a:lnTo>
                  <a:lnTo>
                    <a:pt x="2228" y="316"/>
                  </a:lnTo>
                  <a:lnTo>
                    <a:pt x="2241" y="299"/>
                  </a:lnTo>
                  <a:lnTo>
                    <a:pt x="2254" y="284"/>
                  </a:lnTo>
                  <a:lnTo>
                    <a:pt x="2266" y="271"/>
                  </a:lnTo>
                  <a:lnTo>
                    <a:pt x="2276" y="260"/>
                  </a:lnTo>
                  <a:lnTo>
                    <a:pt x="2287" y="251"/>
                  </a:lnTo>
                  <a:lnTo>
                    <a:pt x="2296" y="244"/>
                  </a:lnTo>
                  <a:lnTo>
                    <a:pt x="2305" y="238"/>
                  </a:lnTo>
                  <a:lnTo>
                    <a:pt x="2308" y="235"/>
                  </a:lnTo>
                  <a:lnTo>
                    <a:pt x="2312" y="233"/>
                  </a:lnTo>
                  <a:lnTo>
                    <a:pt x="2319" y="231"/>
                  </a:lnTo>
                  <a:lnTo>
                    <a:pt x="2325" y="229"/>
                  </a:lnTo>
                  <a:lnTo>
                    <a:pt x="2330" y="229"/>
                  </a:lnTo>
                  <a:lnTo>
                    <a:pt x="2335" y="230"/>
                  </a:lnTo>
                  <a:lnTo>
                    <a:pt x="2337" y="231"/>
                  </a:lnTo>
                  <a:lnTo>
                    <a:pt x="2338" y="232"/>
                  </a:lnTo>
                  <a:lnTo>
                    <a:pt x="2340" y="234"/>
                  </a:lnTo>
                  <a:lnTo>
                    <a:pt x="2341" y="236"/>
                  </a:lnTo>
                  <a:lnTo>
                    <a:pt x="2342" y="240"/>
                  </a:lnTo>
                  <a:lnTo>
                    <a:pt x="2342" y="244"/>
                  </a:lnTo>
                  <a:lnTo>
                    <a:pt x="2343" y="254"/>
                  </a:lnTo>
                  <a:lnTo>
                    <a:pt x="2343" y="267"/>
                  </a:lnTo>
                  <a:lnTo>
                    <a:pt x="2342" y="281"/>
                  </a:lnTo>
                  <a:lnTo>
                    <a:pt x="2341" y="297"/>
                  </a:lnTo>
                  <a:lnTo>
                    <a:pt x="2338" y="330"/>
                  </a:lnTo>
                  <a:lnTo>
                    <a:pt x="2334" y="363"/>
                  </a:lnTo>
                  <a:lnTo>
                    <a:pt x="2330" y="391"/>
                  </a:lnTo>
                  <a:lnTo>
                    <a:pt x="2326" y="418"/>
                  </a:lnTo>
                  <a:lnTo>
                    <a:pt x="2293" y="634"/>
                  </a:lnTo>
                  <a:lnTo>
                    <a:pt x="2289" y="668"/>
                  </a:lnTo>
                  <a:lnTo>
                    <a:pt x="2284" y="700"/>
                  </a:lnTo>
                  <a:lnTo>
                    <a:pt x="2281" y="729"/>
                  </a:lnTo>
                  <a:lnTo>
                    <a:pt x="2278" y="756"/>
                  </a:lnTo>
                  <a:lnTo>
                    <a:pt x="2276" y="780"/>
                  </a:lnTo>
                  <a:lnTo>
                    <a:pt x="2274" y="803"/>
                  </a:lnTo>
                  <a:lnTo>
                    <a:pt x="2273" y="823"/>
                  </a:lnTo>
                  <a:lnTo>
                    <a:pt x="2273" y="841"/>
                  </a:lnTo>
                  <a:lnTo>
                    <a:pt x="2273" y="854"/>
                  </a:lnTo>
                  <a:lnTo>
                    <a:pt x="2274" y="866"/>
                  </a:lnTo>
                  <a:lnTo>
                    <a:pt x="2275" y="877"/>
                  </a:lnTo>
                  <a:lnTo>
                    <a:pt x="2277" y="888"/>
                  </a:lnTo>
                  <a:lnTo>
                    <a:pt x="2279" y="898"/>
                  </a:lnTo>
                  <a:lnTo>
                    <a:pt x="2282" y="907"/>
                  </a:lnTo>
                  <a:lnTo>
                    <a:pt x="2288" y="923"/>
                  </a:lnTo>
                  <a:lnTo>
                    <a:pt x="2292" y="931"/>
                  </a:lnTo>
                  <a:lnTo>
                    <a:pt x="2296" y="938"/>
                  </a:lnTo>
                  <a:lnTo>
                    <a:pt x="2300" y="944"/>
                  </a:lnTo>
                  <a:lnTo>
                    <a:pt x="2305" y="950"/>
                  </a:lnTo>
                  <a:lnTo>
                    <a:pt x="2307" y="953"/>
                  </a:lnTo>
                  <a:lnTo>
                    <a:pt x="2309" y="955"/>
                  </a:lnTo>
                  <a:lnTo>
                    <a:pt x="2314" y="960"/>
                  </a:lnTo>
                  <a:lnTo>
                    <a:pt x="2324" y="969"/>
                  </a:lnTo>
                  <a:lnTo>
                    <a:pt x="2335" y="975"/>
                  </a:lnTo>
                  <a:lnTo>
                    <a:pt x="2345" y="981"/>
                  </a:lnTo>
                  <a:lnTo>
                    <a:pt x="2356" y="985"/>
                  </a:lnTo>
                  <a:lnTo>
                    <a:pt x="2366" y="988"/>
                  </a:lnTo>
                  <a:lnTo>
                    <a:pt x="2375" y="989"/>
                  </a:lnTo>
                  <a:lnTo>
                    <a:pt x="2384" y="991"/>
                  </a:lnTo>
                  <a:lnTo>
                    <a:pt x="2398" y="991"/>
                  </a:lnTo>
                  <a:lnTo>
                    <a:pt x="2408" y="991"/>
                  </a:lnTo>
                  <a:lnTo>
                    <a:pt x="2418" y="990"/>
                  </a:lnTo>
                  <a:lnTo>
                    <a:pt x="2429" y="988"/>
                  </a:lnTo>
                  <a:lnTo>
                    <a:pt x="2439" y="985"/>
                  </a:lnTo>
                  <a:lnTo>
                    <a:pt x="2450" y="981"/>
                  </a:lnTo>
                  <a:lnTo>
                    <a:pt x="2462" y="977"/>
                  </a:lnTo>
                  <a:lnTo>
                    <a:pt x="2473" y="971"/>
                  </a:lnTo>
                  <a:lnTo>
                    <a:pt x="2485" y="965"/>
                  </a:lnTo>
                  <a:lnTo>
                    <a:pt x="2497" y="958"/>
                  </a:lnTo>
                  <a:lnTo>
                    <a:pt x="2509" y="950"/>
                  </a:lnTo>
                  <a:lnTo>
                    <a:pt x="2522" y="941"/>
                  </a:lnTo>
                  <a:lnTo>
                    <a:pt x="2535" y="931"/>
                  </a:lnTo>
                  <a:lnTo>
                    <a:pt x="2548" y="921"/>
                  </a:lnTo>
                  <a:lnTo>
                    <a:pt x="2562" y="909"/>
                  </a:lnTo>
                  <a:lnTo>
                    <a:pt x="2576" y="897"/>
                  </a:lnTo>
                  <a:lnTo>
                    <a:pt x="2590" y="883"/>
                  </a:lnTo>
                  <a:lnTo>
                    <a:pt x="2606" y="868"/>
                  </a:lnTo>
                  <a:lnTo>
                    <a:pt x="2620" y="854"/>
                  </a:lnTo>
                  <a:lnTo>
                    <a:pt x="2622" y="865"/>
                  </a:lnTo>
                  <a:lnTo>
                    <a:pt x="2626" y="875"/>
                  </a:lnTo>
                  <a:lnTo>
                    <a:pt x="2629" y="884"/>
                  </a:lnTo>
                  <a:lnTo>
                    <a:pt x="2633" y="893"/>
                  </a:lnTo>
                  <a:lnTo>
                    <a:pt x="2637" y="902"/>
                  </a:lnTo>
                  <a:lnTo>
                    <a:pt x="2641" y="910"/>
                  </a:lnTo>
                  <a:lnTo>
                    <a:pt x="2645" y="918"/>
                  </a:lnTo>
                  <a:lnTo>
                    <a:pt x="2650" y="925"/>
                  </a:lnTo>
                  <a:lnTo>
                    <a:pt x="2654" y="931"/>
                  </a:lnTo>
                  <a:lnTo>
                    <a:pt x="2659" y="938"/>
                  </a:lnTo>
                  <a:lnTo>
                    <a:pt x="2664" y="943"/>
                  </a:lnTo>
                  <a:lnTo>
                    <a:pt x="2669" y="949"/>
                  </a:lnTo>
                  <a:lnTo>
                    <a:pt x="2675" y="954"/>
                  </a:lnTo>
                  <a:lnTo>
                    <a:pt x="2680" y="958"/>
                  </a:lnTo>
                  <a:lnTo>
                    <a:pt x="2686" y="963"/>
                  </a:lnTo>
                  <a:lnTo>
                    <a:pt x="2691" y="966"/>
                  </a:lnTo>
                  <a:lnTo>
                    <a:pt x="2702" y="973"/>
                  </a:lnTo>
                  <a:lnTo>
                    <a:pt x="2714" y="979"/>
                  </a:lnTo>
                  <a:lnTo>
                    <a:pt x="2719" y="981"/>
                  </a:lnTo>
                  <a:lnTo>
                    <a:pt x="2725" y="983"/>
                  </a:lnTo>
                  <a:lnTo>
                    <a:pt x="2737" y="986"/>
                  </a:lnTo>
                  <a:lnTo>
                    <a:pt x="2748" y="989"/>
                  </a:lnTo>
                  <a:lnTo>
                    <a:pt x="2759" y="990"/>
                  </a:lnTo>
                  <a:lnTo>
                    <a:pt x="2770" y="991"/>
                  </a:lnTo>
                  <a:lnTo>
                    <a:pt x="2779" y="991"/>
                  </a:lnTo>
                  <a:lnTo>
                    <a:pt x="2793" y="991"/>
                  </a:lnTo>
                  <a:lnTo>
                    <a:pt x="2807" y="990"/>
                  </a:lnTo>
                  <a:lnTo>
                    <a:pt x="2821" y="987"/>
                  </a:lnTo>
                  <a:lnTo>
                    <a:pt x="2835" y="984"/>
                  </a:lnTo>
                  <a:lnTo>
                    <a:pt x="2850" y="980"/>
                  </a:lnTo>
                  <a:lnTo>
                    <a:pt x="2864" y="975"/>
                  </a:lnTo>
                  <a:lnTo>
                    <a:pt x="2879" y="969"/>
                  </a:lnTo>
                  <a:lnTo>
                    <a:pt x="2894" y="962"/>
                  </a:lnTo>
                  <a:lnTo>
                    <a:pt x="2909" y="954"/>
                  </a:lnTo>
                  <a:lnTo>
                    <a:pt x="2925" y="946"/>
                  </a:lnTo>
                  <a:lnTo>
                    <a:pt x="2940" y="936"/>
                  </a:lnTo>
                  <a:lnTo>
                    <a:pt x="2956" y="925"/>
                  </a:lnTo>
                  <a:lnTo>
                    <a:pt x="2973" y="914"/>
                  </a:lnTo>
                  <a:lnTo>
                    <a:pt x="2989" y="901"/>
                  </a:lnTo>
                  <a:lnTo>
                    <a:pt x="3006" y="888"/>
                  </a:lnTo>
                  <a:lnTo>
                    <a:pt x="3023" y="873"/>
                  </a:lnTo>
                  <a:lnTo>
                    <a:pt x="3038" y="860"/>
                  </a:lnTo>
                  <a:lnTo>
                    <a:pt x="3053" y="846"/>
                  </a:lnTo>
                  <a:lnTo>
                    <a:pt x="3067" y="832"/>
                  </a:lnTo>
                  <a:lnTo>
                    <a:pt x="3082" y="817"/>
                  </a:lnTo>
                  <a:lnTo>
                    <a:pt x="3096" y="801"/>
                  </a:lnTo>
                  <a:lnTo>
                    <a:pt x="3111" y="786"/>
                  </a:lnTo>
                  <a:lnTo>
                    <a:pt x="3125" y="769"/>
                  </a:lnTo>
                  <a:lnTo>
                    <a:pt x="3139" y="753"/>
                  </a:lnTo>
                  <a:lnTo>
                    <a:pt x="3136" y="775"/>
                  </a:lnTo>
                  <a:lnTo>
                    <a:pt x="3130" y="856"/>
                  </a:lnTo>
                  <a:lnTo>
                    <a:pt x="3130" y="867"/>
                  </a:lnTo>
                  <a:lnTo>
                    <a:pt x="3131" y="878"/>
                  </a:lnTo>
                  <a:lnTo>
                    <a:pt x="3132" y="888"/>
                  </a:lnTo>
                  <a:lnTo>
                    <a:pt x="3133" y="898"/>
                  </a:lnTo>
                  <a:lnTo>
                    <a:pt x="3135" y="907"/>
                  </a:lnTo>
                  <a:lnTo>
                    <a:pt x="3138" y="915"/>
                  </a:lnTo>
                  <a:lnTo>
                    <a:pt x="3140" y="923"/>
                  </a:lnTo>
                  <a:lnTo>
                    <a:pt x="3144" y="930"/>
                  </a:lnTo>
                  <a:lnTo>
                    <a:pt x="3147" y="937"/>
                  </a:lnTo>
                  <a:lnTo>
                    <a:pt x="3150" y="943"/>
                  </a:lnTo>
                  <a:lnTo>
                    <a:pt x="3154" y="949"/>
                  </a:lnTo>
                  <a:lnTo>
                    <a:pt x="3158" y="954"/>
                  </a:lnTo>
                  <a:lnTo>
                    <a:pt x="3163" y="959"/>
                  </a:lnTo>
                  <a:lnTo>
                    <a:pt x="3167" y="963"/>
                  </a:lnTo>
                  <a:lnTo>
                    <a:pt x="3172" y="967"/>
                  </a:lnTo>
                  <a:lnTo>
                    <a:pt x="3176" y="971"/>
                  </a:lnTo>
                  <a:lnTo>
                    <a:pt x="3186" y="977"/>
                  </a:lnTo>
                  <a:lnTo>
                    <a:pt x="3195" y="982"/>
                  </a:lnTo>
                  <a:lnTo>
                    <a:pt x="3200" y="984"/>
                  </a:lnTo>
                  <a:lnTo>
                    <a:pt x="3205" y="985"/>
                  </a:lnTo>
                  <a:lnTo>
                    <a:pt x="3209" y="987"/>
                  </a:lnTo>
                  <a:lnTo>
                    <a:pt x="3214" y="988"/>
                  </a:lnTo>
                  <a:lnTo>
                    <a:pt x="3223" y="990"/>
                  </a:lnTo>
                  <a:lnTo>
                    <a:pt x="3230" y="991"/>
                  </a:lnTo>
                  <a:lnTo>
                    <a:pt x="3243" y="991"/>
                  </a:lnTo>
                  <a:lnTo>
                    <a:pt x="3257" y="991"/>
                  </a:lnTo>
                  <a:lnTo>
                    <a:pt x="3272" y="989"/>
                  </a:lnTo>
                  <a:lnTo>
                    <a:pt x="3279" y="987"/>
                  </a:lnTo>
                  <a:lnTo>
                    <a:pt x="3286" y="985"/>
                  </a:lnTo>
                  <a:lnTo>
                    <a:pt x="3293" y="983"/>
                  </a:lnTo>
                  <a:lnTo>
                    <a:pt x="3300" y="980"/>
                  </a:lnTo>
                  <a:lnTo>
                    <a:pt x="3314" y="974"/>
                  </a:lnTo>
                  <a:lnTo>
                    <a:pt x="3321" y="971"/>
                  </a:lnTo>
                  <a:lnTo>
                    <a:pt x="3328" y="967"/>
                  </a:lnTo>
                  <a:lnTo>
                    <a:pt x="3335" y="963"/>
                  </a:lnTo>
                  <a:lnTo>
                    <a:pt x="3342" y="959"/>
                  </a:lnTo>
                  <a:lnTo>
                    <a:pt x="3357" y="949"/>
                  </a:lnTo>
                  <a:lnTo>
                    <a:pt x="3356" y="948"/>
                  </a:lnTo>
                  <a:lnTo>
                    <a:pt x="3354" y="946"/>
                  </a:lnTo>
                  <a:lnTo>
                    <a:pt x="3353" y="944"/>
                  </a:lnTo>
                  <a:lnTo>
                    <a:pt x="3352" y="940"/>
                  </a:lnTo>
                  <a:lnTo>
                    <a:pt x="3351" y="936"/>
                  </a:lnTo>
                  <a:lnTo>
                    <a:pt x="3350" y="924"/>
                  </a:lnTo>
                  <a:lnTo>
                    <a:pt x="3350" y="908"/>
                  </a:lnTo>
                  <a:lnTo>
                    <a:pt x="3351" y="889"/>
                  </a:lnTo>
                  <a:lnTo>
                    <a:pt x="3352" y="866"/>
                  </a:lnTo>
                  <a:lnTo>
                    <a:pt x="3357" y="813"/>
                  </a:lnTo>
                  <a:lnTo>
                    <a:pt x="3361" y="783"/>
                  </a:lnTo>
                  <a:lnTo>
                    <a:pt x="3365" y="751"/>
                  </a:lnTo>
                  <a:lnTo>
                    <a:pt x="3374" y="682"/>
                  </a:lnTo>
                  <a:lnTo>
                    <a:pt x="3384" y="608"/>
                  </a:lnTo>
                  <a:lnTo>
                    <a:pt x="3395" y="532"/>
                  </a:lnTo>
                  <a:lnTo>
                    <a:pt x="3419" y="383"/>
                  </a:lnTo>
                  <a:lnTo>
                    <a:pt x="3440" y="254"/>
                  </a:lnTo>
                  <a:lnTo>
                    <a:pt x="3461" y="128"/>
                  </a:lnTo>
                  <a:lnTo>
                    <a:pt x="3462" y="127"/>
                  </a:lnTo>
                  <a:lnTo>
                    <a:pt x="3462" y="122"/>
                  </a:lnTo>
                  <a:lnTo>
                    <a:pt x="3463" y="118"/>
                  </a:lnTo>
                  <a:lnTo>
                    <a:pt x="3463" y="110"/>
                  </a:lnTo>
                  <a:lnTo>
                    <a:pt x="3462" y="106"/>
                  </a:lnTo>
                  <a:lnTo>
                    <a:pt x="3461" y="102"/>
                  </a:lnTo>
                  <a:lnTo>
                    <a:pt x="3461" y="98"/>
                  </a:lnTo>
                  <a:lnTo>
                    <a:pt x="3459" y="95"/>
                  </a:lnTo>
                  <a:lnTo>
                    <a:pt x="3456" y="88"/>
                  </a:lnTo>
                  <a:lnTo>
                    <a:pt x="3452" y="82"/>
                  </a:lnTo>
                  <a:lnTo>
                    <a:pt x="3447" y="76"/>
                  </a:lnTo>
                  <a:lnTo>
                    <a:pt x="3441" y="70"/>
                  </a:lnTo>
                  <a:lnTo>
                    <a:pt x="3435" y="65"/>
                  </a:lnTo>
                  <a:lnTo>
                    <a:pt x="3432" y="63"/>
                  </a:lnTo>
                  <a:lnTo>
                    <a:pt x="3428" y="61"/>
                  </a:lnTo>
                  <a:lnTo>
                    <a:pt x="3420" y="57"/>
                  </a:lnTo>
                  <a:lnTo>
                    <a:pt x="3412" y="53"/>
                  </a:lnTo>
                  <a:lnTo>
                    <a:pt x="3404" y="49"/>
                  </a:lnTo>
                  <a:lnTo>
                    <a:pt x="3395" y="46"/>
                  </a:lnTo>
                  <a:lnTo>
                    <a:pt x="3376" y="41"/>
                  </a:lnTo>
                  <a:lnTo>
                    <a:pt x="3357" y="36"/>
                  </a:lnTo>
                  <a:lnTo>
                    <a:pt x="3337" y="33"/>
                  </a:lnTo>
                  <a:lnTo>
                    <a:pt x="3317" y="30"/>
                  </a:lnTo>
                  <a:lnTo>
                    <a:pt x="3299" y="29"/>
                  </a:lnTo>
                  <a:lnTo>
                    <a:pt x="3282" y="28"/>
                  </a:lnTo>
                  <a:lnTo>
                    <a:pt x="3267" y="27"/>
                  </a:lnTo>
                  <a:lnTo>
                    <a:pt x="3244" y="27"/>
                  </a:lnTo>
                  <a:close/>
                  <a:moveTo>
                    <a:pt x="929" y="821"/>
                  </a:moveTo>
                  <a:lnTo>
                    <a:pt x="923" y="888"/>
                  </a:lnTo>
                  <a:lnTo>
                    <a:pt x="917" y="950"/>
                  </a:lnTo>
                  <a:lnTo>
                    <a:pt x="910" y="1009"/>
                  </a:lnTo>
                  <a:lnTo>
                    <a:pt x="904" y="1063"/>
                  </a:lnTo>
                  <a:lnTo>
                    <a:pt x="897" y="1114"/>
                  </a:lnTo>
                  <a:lnTo>
                    <a:pt x="890" y="1160"/>
                  </a:lnTo>
                  <a:lnTo>
                    <a:pt x="882" y="1202"/>
                  </a:lnTo>
                  <a:lnTo>
                    <a:pt x="875" y="1240"/>
                  </a:lnTo>
                  <a:lnTo>
                    <a:pt x="868" y="1275"/>
                  </a:lnTo>
                  <a:lnTo>
                    <a:pt x="861" y="1306"/>
                  </a:lnTo>
                  <a:lnTo>
                    <a:pt x="854" y="1333"/>
                  </a:lnTo>
                  <a:lnTo>
                    <a:pt x="847" y="1357"/>
                  </a:lnTo>
                  <a:lnTo>
                    <a:pt x="843" y="1368"/>
                  </a:lnTo>
                  <a:lnTo>
                    <a:pt x="840" y="1378"/>
                  </a:lnTo>
                  <a:lnTo>
                    <a:pt x="833" y="1395"/>
                  </a:lnTo>
                  <a:lnTo>
                    <a:pt x="830" y="1403"/>
                  </a:lnTo>
                  <a:lnTo>
                    <a:pt x="826" y="1410"/>
                  </a:lnTo>
                  <a:lnTo>
                    <a:pt x="823" y="1415"/>
                  </a:lnTo>
                  <a:lnTo>
                    <a:pt x="820" y="1421"/>
                  </a:lnTo>
                  <a:lnTo>
                    <a:pt x="809" y="1437"/>
                  </a:lnTo>
                  <a:lnTo>
                    <a:pt x="798" y="1452"/>
                  </a:lnTo>
                  <a:lnTo>
                    <a:pt x="791" y="1460"/>
                  </a:lnTo>
                  <a:lnTo>
                    <a:pt x="785" y="1467"/>
                  </a:lnTo>
                  <a:lnTo>
                    <a:pt x="779" y="1473"/>
                  </a:lnTo>
                  <a:lnTo>
                    <a:pt x="773" y="1480"/>
                  </a:lnTo>
                  <a:lnTo>
                    <a:pt x="766" y="1486"/>
                  </a:lnTo>
                  <a:lnTo>
                    <a:pt x="760" y="1492"/>
                  </a:lnTo>
                  <a:lnTo>
                    <a:pt x="746" y="1503"/>
                  </a:lnTo>
                  <a:lnTo>
                    <a:pt x="732" y="1513"/>
                  </a:lnTo>
                  <a:lnTo>
                    <a:pt x="724" y="1517"/>
                  </a:lnTo>
                  <a:lnTo>
                    <a:pt x="717" y="1522"/>
                  </a:lnTo>
                  <a:lnTo>
                    <a:pt x="701" y="1529"/>
                  </a:lnTo>
                  <a:lnTo>
                    <a:pt x="694" y="1533"/>
                  </a:lnTo>
                  <a:lnTo>
                    <a:pt x="686" y="1536"/>
                  </a:lnTo>
                  <a:lnTo>
                    <a:pt x="669" y="1542"/>
                  </a:lnTo>
                  <a:lnTo>
                    <a:pt x="661" y="1544"/>
                  </a:lnTo>
                  <a:lnTo>
                    <a:pt x="652" y="1546"/>
                  </a:lnTo>
                  <a:lnTo>
                    <a:pt x="635" y="1550"/>
                  </a:lnTo>
                  <a:lnTo>
                    <a:pt x="616" y="1552"/>
                  </a:lnTo>
                  <a:lnTo>
                    <a:pt x="598" y="1554"/>
                  </a:lnTo>
                  <a:lnTo>
                    <a:pt x="578" y="1554"/>
                  </a:lnTo>
                  <a:lnTo>
                    <a:pt x="565" y="1554"/>
                  </a:lnTo>
                  <a:lnTo>
                    <a:pt x="549" y="1552"/>
                  </a:lnTo>
                  <a:lnTo>
                    <a:pt x="541" y="1550"/>
                  </a:lnTo>
                  <a:lnTo>
                    <a:pt x="533" y="1548"/>
                  </a:lnTo>
                  <a:lnTo>
                    <a:pt x="515" y="1543"/>
                  </a:lnTo>
                  <a:lnTo>
                    <a:pt x="506" y="1540"/>
                  </a:lnTo>
                  <a:lnTo>
                    <a:pt x="496" y="1536"/>
                  </a:lnTo>
                  <a:lnTo>
                    <a:pt x="478" y="1527"/>
                  </a:lnTo>
                  <a:lnTo>
                    <a:pt x="468" y="1522"/>
                  </a:lnTo>
                  <a:lnTo>
                    <a:pt x="459" y="1516"/>
                  </a:lnTo>
                  <a:lnTo>
                    <a:pt x="450" y="1509"/>
                  </a:lnTo>
                  <a:lnTo>
                    <a:pt x="441" y="1503"/>
                  </a:lnTo>
                  <a:lnTo>
                    <a:pt x="432" y="1495"/>
                  </a:lnTo>
                  <a:lnTo>
                    <a:pt x="423" y="1487"/>
                  </a:lnTo>
                  <a:lnTo>
                    <a:pt x="415" y="1478"/>
                  </a:lnTo>
                  <a:lnTo>
                    <a:pt x="407" y="1469"/>
                  </a:lnTo>
                  <a:lnTo>
                    <a:pt x="399" y="1459"/>
                  </a:lnTo>
                  <a:lnTo>
                    <a:pt x="392" y="1448"/>
                  </a:lnTo>
                  <a:lnTo>
                    <a:pt x="385" y="1436"/>
                  </a:lnTo>
                  <a:lnTo>
                    <a:pt x="379" y="1424"/>
                  </a:lnTo>
                  <a:lnTo>
                    <a:pt x="373" y="1411"/>
                  </a:lnTo>
                  <a:lnTo>
                    <a:pt x="368" y="1398"/>
                  </a:lnTo>
                  <a:lnTo>
                    <a:pt x="364" y="1383"/>
                  </a:lnTo>
                  <a:lnTo>
                    <a:pt x="360" y="1368"/>
                  </a:lnTo>
                  <a:lnTo>
                    <a:pt x="357" y="1352"/>
                  </a:lnTo>
                  <a:lnTo>
                    <a:pt x="355" y="1335"/>
                  </a:lnTo>
                  <a:lnTo>
                    <a:pt x="353" y="1317"/>
                  </a:lnTo>
                  <a:lnTo>
                    <a:pt x="353" y="1299"/>
                  </a:lnTo>
                  <a:lnTo>
                    <a:pt x="354" y="1281"/>
                  </a:lnTo>
                  <a:lnTo>
                    <a:pt x="356" y="1264"/>
                  </a:lnTo>
                  <a:lnTo>
                    <a:pt x="360" y="1246"/>
                  </a:lnTo>
                  <a:lnTo>
                    <a:pt x="365" y="1227"/>
                  </a:lnTo>
                  <a:lnTo>
                    <a:pt x="372" y="1209"/>
                  </a:lnTo>
                  <a:lnTo>
                    <a:pt x="380" y="1189"/>
                  </a:lnTo>
                  <a:lnTo>
                    <a:pt x="390" y="1170"/>
                  </a:lnTo>
                  <a:lnTo>
                    <a:pt x="401" y="1150"/>
                  </a:lnTo>
                  <a:lnTo>
                    <a:pt x="414" y="1130"/>
                  </a:lnTo>
                  <a:lnTo>
                    <a:pt x="428" y="1109"/>
                  </a:lnTo>
                  <a:lnTo>
                    <a:pt x="444" y="1088"/>
                  </a:lnTo>
                  <a:lnTo>
                    <a:pt x="452" y="1077"/>
                  </a:lnTo>
                  <a:lnTo>
                    <a:pt x="461" y="1066"/>
                  </a:lnTo>
                  <a:lnTo>
                    <a:pt x="470" y="1055"/>
                  </a:lnTo>
                  <a:lnTo>
                    <a:pt x="479" y="1044"/>
                  </a:lnTo>
                  <a:lnTo>
                    <a:pt x="499" y="1022"/>
                  </a:lnTo>
                  <a:lnTo>
                    <a:pt x="520" y="1000"/>
                  </a:lnTo>
                  <a:lnTo>
                    <a:pt x="542" y="977"/>
                  </a:lnTo>
                  <a:lnTo>
                    <a:pt x="551" y="978"/>
                  </a:lnTo>
                  <a:lnTo>
                    <a:pt x="573" y="977"/>
                  </a:lnTo>
                  <a:lnTo>
                    <a:pt x="585" y="976"/>
                  </a:lnTo>
                  <a:lnTo>
                    <a:pt x="596" y="974"/>
                  </a:lnTo>
                  <a:lnTo>
                    <a:pt x="608" y="972"/>
                  </a:lnTo>
                  <a:lnTo>
                    <a:pt x="619" y="970"/>
                  </a:lnTo>
                  <a:lnTo>
                    <a:pt x="643" y="963"/>
                  </a:lnTo>
                  <a:lnTo>
                    <a:pt x="654" y="959"/>
                  </a:lnTo>
                  <a:lnTo>
                    <a:pt x="666" y="954"/>
                  </a:lnTo>
                  <a:lnTo>
                    <a:pt x="678" y="949"/>
                  </a:lnTo>
                  <a:lnTo>
                    <a:pt x="690" y="944"/>
                  </a:lnTo>
                  <a:lnTo>
                    <a:pt x="702" y="937"/>
                  </a:lnTo>
                  <a:lnTo>
                    <a:pt x="714" y="931"/>
                  </a:lnTo>
                  <a:lnTo>
                    <a:pt x="726" y="924"/>
                  </a:lnTo>
                  <a:lnTo>
                    <a:pt x="738" y="916"/>
                  </a:lnTo>
                  <a:lnTo>
                    <a:pt x="762" y="900"/>
                  </a:lnTo>
                  <a:lnTo>
                    <a:pt x="786" y="881"/>
                  </a:lnTo>
                  <a:lnTo>
                    <a:pt x="799" y="871"/>
                  </a:lnTo>
                  <a:lnTo>
                    <a:pt x="811" y="861"/>
                  </a:lnTo>
                  <a:lnTo>
                    <a:pt x="836" y="839"/>
                  </a:lnTo>
                  <a:lnTo>
                    <a:pt x="861" y="814"/>
                  </a:lnTo>
                  <a:lnTo>
                    <a:pt x="886" y="788"/>
                  </a:lnTo>
                  <a:lnTo>
                    <a:pt x="899" y="774"/>
                  </a:lnTo>
                  <a:lnTo>
                    <a:pt x="912" y="760"/>
                  </a:lnTo>
                  <a:lnTo>
                    <a:pt x="925" y="745"/>
                  </a:lnTo>
                  <a:lnTo>
                    <a:pt x="938" y="729"/>
                  </a:lnTo>
                  <a:lnTo>
                    <a:pt x="929" y="821"/>
                  </a:lnTo>
                  <a:close/>
                  <a:moveTo>
                    <a:pt x="987" y="304"/>
                  </a:moveTo>
                  <a:lnTo>
                    <a:pt x="986" y="316"/>
                  </a:lnTo>
                  <a:lnTo>
                    <a:pt x="984" y="328"/>
                  </a:lnTo>
                  <a:lnTo>
                    <a:pt x="979" y="352"/>
                  </a:lnTo>
                  <a:lnTo>
                    <a:pt x="973" y="376"/>
                  </a:lnTo>
                  <a:lnTo>
                    <a:pt x="967" y="399"/>
                  </a:lnTo>
                  <a:lnTo>
                    <a:pt x="959" y="423"/>
                  </a:lnTo>
                  <a:lnTo>
                    <a:pt x="950" y="445"/>
                  </a:lnTo>
                  <a:lnTo>
                    <a:pt x="941" y="468"/>
                  </a:lnTo>
                  <a:lnTo>
                    <a:pt x="930" y="490"/>
                  </a:lnTo>
                  <a:lnTo>
                    <a:pt x="924" y="501"/>
                  </a:lnTo>
                  <a:lnTo>
                    <a:pt x="918" y="512"/>
                  </a:lnTo>
                  <a:lnTo>
                    <a:pt x="906" y="534"/>
                  </a:lnTo>
                  <a:lnTo>
                    <a:pt x="899" y="544"/>
                  </a:lnTo>
                  <a:lnTo>
                    <a:pt x="892" y="555"/>
                  </a:lnTo>
                  <a:lnTo>
                    <a:pt x="877" y="576"/>
                  </a:lnTo>
                  <a:lnTo>
                    <a:pt x="862" y="596"/>
                  </a:lnTo>
                  <a:lnTo>
                    <a:pt x="845" y="616"/>
                  </a:lnTo>
                  <a:lnTo>
                    <a:pt x="828" y="636"/>
                  </a:lnTo>
                  <a:lnTo>
                    <a:pt x="810" y="656"/>
                  </a:lnTo>
                  <a:lnTo>
                    <a:pt x="793" y="672"/>
                  </a:lnTo>
                  <a:lnTo>
                    <a:pt x="778" y="687"/>
                  </a:lnTo>
                  <a:lnTo>
                    <a:pt x="763" y="699"/>
                  </a:lnTo>
                  <a:lnTo>
                    <a:pt x="750" y="711"/>
                  </a:lnTo>
                  <a:lnTo>
                    <a:pt x="737" y="721"/>
                  </a:lnTo>
                  <a:lnTo>
                    <a:pt x="725" y="729"/>
                  </a:lnTo>
                  <a:lnTo>
                    <a:pt x="714" y="736"/>
                  </a:lnTo>
                  <a:lnTo>
                    <a:pt x="703" y="743"/>
                  </a:lnTo>
                  <a:lnTo>
                    <a:pt x="694" y="748"/>
                  </a:lnTo>
                  <a:lnTo>
                    <a:pt x="685" y="752"/>
                  </a:lnTo>
                  <a:lnTo>
                    <a:pt x="677" y="755"/>
                  </a:lnTo>
                  <a:lnTo>
                    <a:pt x="670" y="757"/>
                  </a:lnTo>
                  <a:lnTo>
                    <a:pt x="663" y="759"/>
                  </a:lnTo>
                  <a:lnTo>
                    <a:pt x="657" y="760"/>
                  </a:lnTo>
                  <a:lnTo>
                    <a:pt x="648" y="761"/>
                  </a:lnTo>
                  <a:lnTo>
                    <a:pt x="644" y="760"/>
                  </a:lnTo>
                  <a:lnTo>
                    <a:pt x="641" y="759"/>
                  </a:lnTo>
                  <a:lnTo>
                    <a:pt x="639" y="756"/>
                  </a:lnTo>
                  <a:lnTo>
                    <a:pt x="636" y="753"/>
                  </a:lnTo>
                  <a:lnTo>
                    <a:pt x="634" y="749"/>
                  </a:lnTo>
                  <a:lnTo>
                    <a:pt x="633" y="744"/>
                  </a:lnTo>
                  <a:lnTo>
                    <a:pt x="630" y="734"/>
                  </a:lnTo>
                  <a:lnTo>
                    <a:pt x="629" y="729"/>
                  </a:lnTo>
                  <a:lnTo>
                    <a:pt x="629" y="723"/>
                  </a:lnTo>
                  <a:lnTo>
                    <a:pt x="628" y="712"/>
                  </a:lnTo>
                  <a:lnTo>
                    <a:pt x="628" y="692"/>
                  </a:lnTo>
                  <a:lnTo>
                    <a:pt x="629" y="667"/>
                  </a:lnTo>
                  <a:lnTo>
                    <a:pt x="630" y="641"/>
                  </a:lnTo>
                  <a:lnTo>
                    <a:pt x="632" y="616"/>
                  </a:lnTo>
                  <a:lnTo>
                    <a:pt x="635" y="592"/>
                  </a:lnTo>
                  <a:lnTo>
                    <a:pt x="638" y="568"/>
                  </a:lnTo>
                  <a:lnTo>
                    <a:pt x="642" y="545"/>
                  </a:lnTo>
                  <a:lnTo>
                    <a:pt x="647" y="522"/>
                  </a:lnTo>
                  <a:lnTo>
                    <a:pt x="649" y="510"/>
                  </a:lnTo>
                  <a:lnTo>
                    <a:pt x="652" y="499"/>
                  </a:lnTo>
                  <a:lnTo>
                    <a:pt x="657" y="478"/>
                  </a:lnTo>
                  <a:lnTo>
                    <a:pt x="664" y="456"/>
                  </a:lnTo>
                  <a:lnTo>
                    <a:pt x="671" y="436"/>
                  </a:lnTo>
                  <a:lnTo>
                    <a:pt x="678" y="415"/>
                  </a:lnTo>
                  <a:lnTo>
                    <a:pt x="682" y="406"/>
                  </a:lnTo>
                  <a:lnTo>
                    <a:pt x="687" y="396"/>
                  </a:lnTo>
                  <a:lnTo>
                    <a:pt x="695" y="377"/>
                  </a:lnTo>
                  <a:lnTo>
                    <a:pt x="705" y="358"/>
                  </a:lnTo>
                  <a:lnTo>
                    <a:pt x="715" y="341"/>
                  </a:lnTo>
                  <a:lnTo>
                    <a:pt x="724" y="325"/>
                  </a:lnTo>
                  <a:lnTo>
                    <a:pt x="734" y="311"/>
                  </a:lnTo>
                  <a:lnTo>
                    <a:pt x="744" y="297"/>
                  </a:lnTo>
                  <a:lnTo>
                    <a:pt x="748" y="291"/>
                  </a:lnTo>
                  <a:lnTo>
                    <a:pt x="753" y="285"/>
                  </a:lnTo>
                  <a:lnTo>
                    <a:pt x="763" y="274"/>
                  </a:lnTo>
                  <a:lnTo>
                    <a:pt x="774" y="263"/>
                  </a:lnTo>
                  <a:lnTo>
                    <a:pt x="784" y="254"/>
                  </a:lnTo>
                  <a:lnTo>
                    <a:pt x="795" y="246"/>
                  </a:lnTo>
                  <a:lnTo>
                    <a:pt x="805" y="238"/>
                  </a:lnTo>
                  <a:lnTo>
                    <a:pt x="816" y="232"/>
                  </a:lnTo>
                  <a:lnTo>
                    <a:pt x="827" y="227"/>
                  </a:lnTo>
                  <a:lnTo>
                    <a:pt x="838" y="222"/>
                  </a:lnTo>
                  <a:lnTo>
                    <a:pt x="850" y="219"/>
                  </a:lnTo>
                  <a:lnTo>
                    <a:pt x="861" y="216"/>
                  </a:lnTo>
                  <a:lnTo>
                    <a:pt x="873" y="214"/>
                  </a:lnTo>
                  <a:lnTo>
                    <a:pt x="885" y="213"/>
                  </a:lnTo>
                  <a:lnTo>
                    <a:pt x="901" y="213"/>
                  </a:lnTo>
                  <a:lnTo>
                    <a:pt x="917" y="214"/>
                  </a:lnTo>
                  <a:lnTo>
                    <a:pt x="933" y="215"/>
                  </a:lnTo>
                  <a:lnTo>
                    <a:pt x="948" y="217"/>
                  </a:lnTo>
                  <a:lnTo>
                    <a:pt x="962" y="220"/>
                  </a:lnTo>
                  <a:lnTo>
                    <a:pt x="975" y="223"/>
                  </a:lnTo>
                  <a:lnTo>
                    <a:pt x="998" y="229"/>
                  </a:lnTo>
                  <a:lnTo>
                    <a:pt x="991" y="277"/>
                  </a:lnTo>
                  <a:lnTo>
                    <a:pt x="987" y="304"/>
                  </a:lnTo>
                  <a:close/>
                  <a:moveTo>
                    <a:pt x="3204" y="299"/>
                  </a:moveTo>
                  <a:lnTo>
                    <a:pt x="3200" y="325"/>
                  </a:lnTo>
                  <a:lnTo>
                    <a:pt x="3195" y="350"/>
                  </a:lnTo>
                  <a:lnTo>
                    <a:pt x="3192" y="362"/>
                  </a:lnTo>
                  <a:lnTo>
                    <a:pt x="3189" y="374"/>
                  </a:lnTo>
                  <a:lnTo>
                    <a:pt x="3182" y="399"/>
                  </a:lnTo>
                  <a:lnTo>
                    <a:pt x="3174" y="422"/>
                  </a:lnTo>
                  <a:lnTo>
                    <a:pt x="3165" y="446"/>
                  </a:lnTo>
                  <a:lnTo>
                    <a:pt x="3156" y="469"/>
                  </a:lnTo>
                  <a:lnTo>
                    <a:pt x="3145" y="491"/>
                  </a:lnTo>
                  <a:lnTo>
                    <a:pt x="3134" y="513"/>
                  </a:lnTo>
                  <a:lnTo>
                    <a:pt x="3122" y="535"/>
                  </a:lnTo>
                  <a:lnTo>
                    <a:pt x="3109" y="557"/>
                  </a:lnTo>
                  <a:lnTo>
                    <a:pt x="3095" y="577"/>
                  </a:lnTo>
                  <a:lnTo>
                    <a:pt x="3080" y="598"/>
                  </a:lnTo>
                  <a:lnTo>
                    <a:pt x="3072" y="608"/>
                  </a:lnTo>
                  <a:lnTo>
                    <a:pt x="3064" y="618"/>
                  </a:lnTo>
                  <a:lnTo>
                    <a:pt x="3056" y="628"/>
                  </a:lnTo>
                  <a:lnTo>
                    <a:pt x="3048" y="638"/>
                  </a:lnTo>
                  <a:lnTo>
                    <a:pt x="3031" y="657"/>
                  </a:lnTo>
                  <a:lnTo>
                    <a:pt x="3015" y="673"/>
                  </a:lnTo>
                  <a:lnTo>
                    <a:pt x="3000" y="688"/>
                  </a:lnTo>
                  <a:lnTo>
                    <a:pt x="2986" y="701"/>
                  </a:lnTo>
                  <a:lnTo>
                    <a:pt x="2972" y="712"/>
                  </a:lnTo>
                  <a:lnTo>
                    <a:pt x="2960" y="722"/>
                  </a:lnTo>
                  <a:lnTo>
                    <a:pt x="2948" y="731"/>
                  </a:lnTo>
                  <a:lnTo>
                    <a:pt x="2937" y="738"/>
                  </a:lnTo>
                  <a:lnTo>
                    <a:pt x="2927" y="744"/>
                  </a:lnTo>
                  <a:lnTo>
                    <a:pt x="2917" y="749"/>
                  </a:lnTo>
                  <a:lnTo>
                    <a:pt x="2909" y="754"/>
                  </a:lnTo>
                  <a:lnTo>
                    <a:pt x="2901" y="757"/>
                  </a:lnTo>
                  <a:lnTo>
                    <a:pt x="2893" y="759"/>
                  </a:lnTo>
                  <a:lnTo>
                    <a:pt x="2887" y="761"/>
                  </a:lnTo>
                  <a:lnTo>
                    <a:pt x="2881" y="762"/>
                  </a:lnTo>
                  <a:lnTo>
                    <a:pt x="2871" y="763"/>
                  </a:lnTo>
                  <a:lnTo>
                    <a:pt x="2868" y="762"/>
                  </a:lnTo>
                  <a:lnTo>
                    <a:pt x="2865" y="761"/>
                  </a:lnTo>
                  <a:lnTo>
                    <a:pt x="2862" y="759"/>
                  </a:lnTo>
                  <a:lnTo>
                    <a:pt x="2860" y="756"/>
                  </a:lnTo>
                  <a:lnTo>
                    <a:pt x="2858" y="752"/>
                  </a:lnTo>
                  <a:lnTo>
                    <a:pt x="2856" y="748"/>
                  </a:lnTo>
                  <a:lnTo>
                    <a:pt x="2853" y="738"/>
                  </a:lnTo>
                  <a:lnTo>
                    <a:pt x="2852" y="733"/>
                  </a:lnTo>
                  <a:lnTo>
                    <a:pt x="2852" y="727"/>
                  </a:lnTo>
                  <a:lnTo>
                    <a:pt x="2850" y="716"/>
                  </a:lnTo>
                  <a:lnTo>
                    <a:pt x="2850" y="695"/>
                  </a:lnTo>
                  <a:lnTo>
                    <a:pt x="2850" y="669"/>
                  </a:lnTo>
                  <a:lnTo>
                    <a:pt x="2851" y="643"/>
                  </a:lnTo>
                  <a:lnTo>
                    <a:pt x="2853" y="618"/>
                  </a:lnTo>
                  <a:lnTo>
                    <a:pt x="2855" y="593"/>
                  </a:lnTo>
                  <a:lnTo>
                    <a:pt x="2858" y="569"/>
                  </a:lnTo>
                  <a:lnTo>
                    <a:pt x="2862" y="546"/>
                  </a:lnTo>
                  <a:lnTo>
                    <a:pt x="2866" y="523"/>
                  </a:lnTo>
                  <a:lnTo>
                    <a:pt x="2871" y="501"/>
                  </a:lnTo>
                  <a:lnTo>
                    <a:pt x="2876" y="479"/>
                  </a:lnTo>
                  <a:lnTo>
                    <a:pt x="2882" y="457"/>
                  </a:lnTo>
                  <a:lnTo>
                    <a:pt x="2889" y="437"/>
                  </a:lnTo>
                  <a:lnTo>
                    <a:pt x="2896" y="416"/>
                  </a:lnTo>
                  <a:lnTo>
                    <a:pt x="2903" y="397"/>
                  </a:lnTo>
                  <a:lnTo>
                    <a:pt x="2911" y="378"/>
                  </a:lnTo>
                  <a:lnTo>
                    <a:pt x="2920" y="359"/>
                  </a:lnTo>
                  <a:lnTo>
                    <a:pt x="2929" y="341"/>
                  </a:lnTo>
                  <a:lnTo>
                    <a:pt x="2938" y="325"/>
                  </a:lnTo>
                  <a:lnTo>
                    <a:pt x="2942" y="318"/>
                  </a:lnTo>
                  <a:lnTo>
                    <a:pt x="2947" y="311"/>
                  </a:lnTo>
                  <a:lnTo>
                    <a:pt x="2955" y="298"/>
                  </a:lnTo>
                  <a:lnTo>
                    <a:pt x="2965" y="286"/>
                  </a:lnTo>
                  <a:lnTo>
                    <a:pt x="2974" y="276"/>
                  </a:lnTo>
                  <a:lnTo>
                    <a:pt x="2983" y="266"/>
                  </a:lnTo>
                  <a:lnTo>
                    <a:pt x="2993" y="257"/>
                  </a:lnTo>
                  <a:lnTo>
                    <a:pt x="3002" y="249"/>
                  </a:lnTo>
                  <a:lnTo>
                    <a:pt x="3012" y="241"/>
                  </a:lnTo>
                  <a:lnTo>
                    <a:pt x="3022" y="235"/>
                  </a:lnTo>
                  <a:lnTo>
                    <a:pt x="3032" y="230"/>
                  </a:lnTo>
                  <a:lnTo>
                    <a:pt x="3042" y="225"/>
                  </a:lnTo>
                  <a:lnTo>
                    <a:pt x="3052" y="221"/>
                  </a:lnTo>
                  <a:lnTo>
                    <a:pt x="3062" y="217"/>
                  </a:lnTo>
                  <a:lnTo>
                    <a:pt x="3071" y="214"/>
                  </a:lnTo>
                  <a:lnTo>
                    <a:pt x="3081" y="212"/>
                  </a:lnTo>
                  <a:lnTo>
                    <a:pt x="3101" y="209"/>
                  </a:lnTo>
                  <a:lnTo>
                    <a:pt x="3110" y="208"/>
                  </a:lnTo>
                  <a:lnTo>
                    <a:pt x="3120" y="208"/>
                  </a:lnTo>
                  <a:lnTo>
                    <a:pt x="3129" y="208"/>
                  </a:lnTo>
                  <a:lnTo>
                    <a:pt x="3139" y="208"/>
                  </a:lnTo>
                  <a:lnTo>
                    <a:pt x="3156" y="209"/>
                  </a:lnTo>
                  <a:lnTo>
                    <a:pt x="3165" y="210"/>
                  </a:lnTo>
                  <a:lnTo>
                    <a:pt x="3174" y="212"/>
                  </a:lnTo>
                  <a:lnTo>
                    <a:pt x="3190" y="214"/>
                  </a:lnTo>
                  <a:lnTo>
                    <a:pt x="3219" y="219"/>
                  </a:lnTo>
                  <a:lnTo>
                    <a:pt x="3217" y="230"/>
                  </a:lnTo>
                  <a:lnTo>
                    <a:pt x="3215" y="242"/>
                  </a:lnTo>
                  <a:lnTo>
                    <a:pt x="3211" y="268"/>
                  </a:lnTo>
                  <a:lnTo>
                    <a:pt x="3204" y="2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400" b="1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A76F5083-8C5F-421E-9D4D-C9D10F241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8944" y="2705939"/>
              <a:ext cx="376873" cy="533481"/>
            </a:xfrm>
            <a:custGeom>
              <a:avLst/>
              <a:gdLst>
                <a:gd name="T0" fmla="*/ 698 w 901"/>
                <a:gd name="T1" fmla="*/ 227 h 1274"/>
                <a:gd name="T2" fmla="*/ 760 w 901"/>
                <a:gd name="T3" fmla="*/ 277 h 1274"/>
                <a:gd name="T4" fmla="*/ 813 w 901"/>
                <a:gd name="T5" fmla="*/ 288 h 1274"/>
                <a:gd name="T6" fmla="*/ 855 w 901"/>
                <a:gd name="T7" fmla="*/ 274 h 1274"/>
                <a:gd name="T8" fmla="*/ 887 w 901"/>
                <a:gd name="T9" fmla="*/ 234 h 1274"/>
                <a:gd name="T10" fmla="*/ 900 w 901"/>
                <a:gd name="T11" fmla="*/ 154 h 1274"/>
                <a:gd name="T12" fmla="*/ 882 w 901"/>
                <a:gd name="T13" fmla="*/ 97 h 1274"/>
                <a:gd name="T14" fmla="*/ 837 w 901"/>
                <a:gd name="T15" fmla="*/ 54 h 1274"/>
                <a:gd name="T16" fmla="*/ 730 w 901"/>
                <a:gd name="T17" fmla="*/ 14 h 1274"/>
                <a:gd name="T18" fmla="*/ 601 w 901"/>
                <a:gd name="T19" fmla="*/ 0 h 1274"/>
                <a:gd name="T20" fmla="*/ 475 w 901"/>
                <a:gd name="T21" fmla="*/ 15 h 1274"/>
                <a:gd name="T22" fmla="*/ 367 w 901"/>
                <a:gd name="T23" fmla="*/ 57 h 1274"/>
                <a:gd name="T24" fmla="*/ 296 w 901"/>
                <a:gd name="T25" fmla="*/ 107 h 1274"/>
                <a:gd name="T26" fmla="*/ 238 w 901"/>
                <a:gd name="T27" fmla="*/ 171 h 1274"/>
                <a:gd name="T28" fmla="*/ 196 w 901"/>
                <a:gd name="T29" fmla="*/ 251 h 1274"/>
                <a:gd name="T30" fmla="*/ 179 w 901"/>
                <a:gd name="T31" fmla="*/ 341 h 1274"/>
                <a:gd name="T32" fmla="*/ 188 w 901"/>
                <a:gd name="T33" fmla="*/ 433 h 1274"/>
                <a:gd name="T34" fmla="*/ 216 w 901"/>
                <a:gd name="T35" fmla="*/ 499 h 1274"/>
                <a:gd name="T36" fmla="*/ 272 w 901"/>
                <a:gd name="T37" fmla="*/ 569 h 1274"/>
                <a:gd name="T38" fmla="*/ 398 w 901"/>
                <a:gd name="T39" fmla="*/ 682 h 1274"/>
                <a:gd name="T40" fmla="*/ 573 w 901"/>
                <a:gd name="T41" fmla="*/ 835 h 1274"/>
                <a:gd name="T42" fmla="*/ 616 w 901"/>
                <a:gd name="T43" fmla="*/ 905 h 1274"/>
                <a:gd name="T44" fmla="*/ 628 w 901"/>
                <a:gd name="T45" fmla="*/ 985 h 1274"/>
                <a:gd name="T46" fmla="*/ 616 w 901"/>
                <a:gd name="T47" fmla="*/ 1029 h 1274"/>
                <a:gd name="T48" fmla="*/ 578 w 901"/>
                <a:gd name="T49" fmla="*/ 1078 h 1274"/>
                <a:gd name="T50" fmla="*/ 517 w 901"/>
                <a:gd name="T51" fmla="*/ 1113 h 1274"/>
                <a:gd name="T52" fmla="*/ 449 w 901"/>
                <a:gd name="T53" fmla="*/ 1124 h 1274"/>
                <a:gd name="T54" fmla="*/ 371 w 901"/>
                <a:gd name="T55" fmla="*/ 1112 h 1274"/>
                <a:gd name="T56" fmla="*/ 314 w 901"/>
                <a:gd name="T57" fmla="*/ 1079 h 1274"/>
                <a:gd name="T58" fmla="*/ 259 w 901"/>
                <a:gd name="T59" fmla="*/ 1007 h 1274"/>
                <a:gd name="T60" fmla="*/ 219 w 901"/>
                <a:gd name="T61" fmla="*/ 929 h 1274"/>
                <a:gd name="T62" fmla="*/ 184 w 901"/>
                <a:gd name="T63" fmla="*/ 901 h 1274"/>
                <a:gd name="T64" fmla="*/ 131 w 901"/>
                <a:gd name="T65" fmla="*/ 888 h 1274"/>
                <a:gd name="T66" fmla="*/ 83 w 901"/>
                <a:gd name="T67" fmla="*/ 898 h 1274"/>
                <a:gd name="T68" fmla="*/ 37 w 901"/>
                <a:gd name="T69" fmla="*/ 929 h 1274"/>
                <a:gd name="T70" fmla="*/ 6 w 901"/>
                <a:gd name="T71" fmla="*/ 978 h 1274"/>
                <a:gd name="T72" fmla="*/ 3 w 901"/>
                <a:gd name="T73" fmla="*/ 1044 h 1274"/>
                <a:gd name="T74" fmla="*/ 35 w 901"/>
                <a:gd name="T75" fmla="*/ 1119 h 1274"/>
                <a:gd name="T76" fmla="*/ 90 w 901"/>
                <a:gd name="T77" fmla="*/ 1184 h 1274"/>
                <a:gd name="T78" fmla="*/ 176 w 901"/>
                <a:gd name="T79" fmla="*/ 1240 h 1274"/>
                <a:gd name="T80" fmla="*/ 271 w 901"/>
                <a:gd name="T81" fmla="*/ 1268 h 1274"/>
                <a:gd name="T82" fmla="*/ 400 w 901"/>
                <a:gd name="T83" fmla="*/ 1273 h 1274"/>
                <a:gd name="T84" fmla="*/ 539 w 901"/>
                <a:gd name="T85" fmla="*/ 1247 h 1274"/>
                <a:gd name="T86" fmla="*/ 678 w 901"/>
                <a:gd name="T87" fmla="*/ 1178 h 1274"/>
                <a:gd name="T88" fmla="*/ 772 w 901"/>
                <a:gd name="T89" fmla="*/ 1087 h 1274"/>
                <a:gd name="T90" fmla="*/ 817 w 901"/>
                <a:gd name="T91" fmla="*/ 1008 h 1274"/>
                <a:gd name="T92" fmla="*/ 839 w 901"/>
                <a:gd name="T93" fmla="*/ 920 h 1274"/>
                <a:gd name="T94" fmla="*/ 835 w 901"/>
                <a:gd name="T95" fmla="*/ 819 h 1274"/>
                <a:gd name="T96" fmla="*/ 808 w 901"/>
                <a:gd name="T97" fmla="*/ 743 h 1274"/>
                <a:gd name="T98" fmla="*/ 760 w 901"/>
                <a:gd name="T99" fmla="*/ 670 h 1274"/>
                <a:gd name="T100" fmla="*/ 670 w 901"/>
                <a:gd name="T101" fmla="*/ 582 h 1274"/>
                <a:gd name="T102" fmla="*/ 425 w 901"/>
                <a:gd name="T103" fmla="*/ 369 h 1274"/>
                <a:gd name="T104" fmla="*/ 389 w 901"/>
                <a:gd name="T105" fmla="*/ 314 h 1274"/>
                <a:gd name="T106" fmla="*/ 382 w 901"/>
                <a:gd name="T107" fmla="*/ 249 h 1274"/>
                <a:gd name="T108" fmla="*/ 407 w 901"/>
                <a:gd name="T109" fmla="*/ 198 h 1274"/>
                <a:gd name="T110" fmla="*/ 456 w 901"/>
                <a:gd name="T111" fmla="*/ 157 h 1274"/>
                <a:gd name="T112" fmla="*/ 520 w 901"/>
                <a:gd name="T113" fmla="*/ 139 h 1274"/>
                <a:gd name="T114" fmla="*/ 597 w 901"/>
                <a:gd name="T115" fmla="*/ 152 h 127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901"/>
                <a:gd name="T175" fmla="*/ 0 h 1274"/>
                <a:gd name="T176" fmla="*/ 901 w 901"/>
                <a:gd name="T177" fmla="*/ 1274 h 127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901" h="1274">
                  <a:moveTo>
                    <a:pt x="654" y="183"/>
                  </a:moveTo>
                  <a:lnTo>
                    <a:pt x="660" y="188"/>
                  </a:lnTo>
                  <a:lnTo>
                    <a:pt x="665" y="192"/>
                  </a:lnTo>
                  <a:lnTo>
                    <a:pt x="671" y="198"/>
                  </a:lnTo>
                  <a:lnTo>
                    <a:pt x="676" y="203"/>
                  </a:lnTo>
                  <a:lnTo>
                    <a:pt x="687" y="215"/>
                  </a:lnTo>
                  <a:lnTo>
                    <a:pt x="698" y="227"/>
                  </a:lnTo>
                  <a:lnTo>
                    <a:pt x="709" y="239"/>
                  </a:lnTo>
                  <a:lnTo>
                    <a:pt x="720" y="251"/>
                  </a:lnTo>
                  <a:lnTo>
                    <a:pt x="728" y="256"/>
                  </a:lnTo>
                  <a:lnTo>
                    <a:pt x="734" y="261"/>
                  </a:lnTo>
                  <a:lnTo>
                    <a:pt x="741" y="266"/>
                  </a:lnTo>
                  <a:lnTo>
                    <a:pt x="748" y="271"/>
                  </a:lnTo>
                  <a:lnTo>
                    <a:pt x="760" y="277"/>
                  </a:lnTo>
                  <a:lnTo>
                    <a:pt x="771" y="282"/>
                  </a:lnTo>
                  <a:lnTo>
                    <a:pt x="777" y="284"/>
                  </a:lnTo>
                  <a:lnTo>
                    <a:pt x="782" y="285"/>
                  </a:lnTo>
                  <a:lnTo>
                    <a:pt x="787" y="286"/>
                  </a:lnTo>
                  <a:lnTo>
                    <a:pt x="793" y="287"/>
                  </a:lnTo>
                  <a:lnTo>
                    <a:pt x="803" y="288"/>
                  </a:lnTo>
                  <a:lnTo>
                    <a:pt x="813" y="288"/>
                  </a:lnTo>
                  <a:lnTo>
                    <a:pt x="822" y="287"/>
                  </a:lnTo>
                  <a:lnTo>
                    <a:pt x="831" y="285"/>
                  </a:lnTo>
                  <a:lnTo>
                    <a:pt x="835" y="284"/>
                  </a:lnTo>
                  <a:lnTo>
                    <a:pt x="840" y="282"/>
                  </a:lnTo>
                  <a:lnTo>
                    <a:pt x="844" y="280"/>
                  </a:lnTo>
                  <a:lnTo>
                    <a:pt x="848" y="278"/>
                  </a:lnTo>
                  <a:lnTo>
                    <a:pt x="855" y="274"/>
                  </a:lnTo>
                  <a:lnTo>
                    <a:pt x="858" y="272"/>
                  </a:lnTo>
                  <a:lnTo>
                    <a:pt x="862" y="269"/>
                  </a:lnTo>
                  <a:lnTo>
                    <a:pt x="868" y="263"/>
                  </a:lnTo>
                  <a:lnTo>
                    <a:pt x="874" y="257"/>
                  </a:lnTo>
                  <a:lnTo>
                    <a:pt x="879" y="251"/>
                  </a:lnTo>
                  <a:lnTo>
                    <a:pt x="883" y="244"/>
                  </a:lnTo>
                  <a:lnTo>
                    <a:pt x="887" y="234"/>
                  </a:lnTo>
                  <a:lnTo>
                    <a:pt x="892" y="224"/>
                  </a:lnTo>
                  <a:lnTo>
                    <a:pt x="895" y="213"/>
                  </a:lnTo>
                  <a:lnTo>
                    <a:pt x="898" y="202"/>
                  </a:lnTo>
                  <a:lnTo>
                    <a:pt x="900" y="190"/>
                  </a:lnTo>
                  <a:lnTo>
                    <a:pt x="901" y="179"/>
                  </a:lnTo>
                  <a:lnTo>
                    <a:pt x="901" y="167"/>
                  </a:lnTo>
                  <a:lnTo>
                    <a:pt x="900" y="154"/>
                  </a:lnTo>
                  <a:lnTo>
                    <a:pt x="899" y="142"/>
                  </a:lnTo>
                  <a:lnTo>
                    <a:pt x="896" y="130"/>
                  </a:lnTo>
                  <a:lnTo>
                    <a:pt x="892" y="119"/>
                  </a:lnTo>
                  <a:lnTo>
                    <a:pt x="890" y="113"/>
                  </a:lnTo>
                  <a:lnTo>
                    <a:pt x="888" y="108"/>
                  </a:lnTo>
                  <a:lnTo>
                    <a:pt x="885" y="103"/>
                  </a:lnTo>
                  <a:lnTo>
                    <a:pt x="882" y="97"/>
                  </a:lnTo>
                  <a:lnTo>
                    <a:pt x="879" y="92"/>
                  </a:lnTo>
                  <a:lnTo>
                    <a:pt x="876" y="87"/>
                  </a:lnTo>
                  <a:lnTo>
                    <a:pt x="868" y="78"/>
                  </a:lnTo>
                  <a:lnTo>
                    <a:pt x="863" y="73"/>
                  </a:lnTo>
                  <a:lnTo>
                    <a:pt x="859" y="69"/>
                  </a:lnTo>
                  <a:lnTo>
                    <a:pt x="848" y="61"/>
                  </a:lnTo>
                  <a:lnTo>
                    <a:pt x="837" y="54"/>
                  </a:lnTo>
                  <a:lnTo>
                    <a:pt x="824" y="47"/>
                  </a:lnTo>
                  <a:lnTo>
                    <a:pt x="811" y="40"/>
                  </a:lnTo>
                  <a:lnTo>
                    <a:pt x="796" y="34"/>
                  </a:lnTo>
                  <a:lnTo>
                    <a:pt x="780" y="29"/>
                  </a:lnTo>
                  <a:lnTo>
                    <a:pt x="764" y="23"/>
                  </a:lnTo>
                  <a:lnTo>
                    <a:pt x="747" y="19"/>
                  </a:lnTo>
                  <a:lnTo>
                    <a:pt x="730" y="14"/>
                  </a:lnTo>
                  <a:lnTo>
                    <a:pt x="711" y="11"/>
                  </a:lnTo>
                  <a:lnTo>
                    <a:pt x="693" y="7"/>
                  </a:lnTo>
                  <a:lnTo>
                    <a:pt x="674" y="5"/>
                  </a:lnTo>
                  <a:lnTo>
                    <a:pt x="656" y="3"/>
                  </a:lnTo>
                  <a:lnTo>
                    <a:pt x="638" y="1"/>
                  </a:lnTo>
                  <a:lnTo>
                    <a:pt x="619" y="0"/>
                  </a:lnTo>
                  <a:lnTo>
                    <a:pt x="601" y="0"/>
                  </a:lnTo>
                  <a:lnTo>
                    <a:pt x="579" y="0"/>
                  </a:lnTo>
                  <a:lnTo>
                    <a:pt x="557" y="2"/>
                  </a:lnTo>
                  <a:lnTo>
                    <a:pt x="536" y="4"/>
                  </a:lnTo>
                  <a:lnTo>
                    <a:pt x="515" y="6"/>
                  </a:lnTo>
                  <a:lnTo>
                    <a:pt x="495" y="10"/>
                  </a:lnTo>
                  <a:lnTo>
                    <a:pt x="485" y="12"/>
                  </a:lnTo>
                  <a:lnTo>
                    <a:pt x="475" y="15"/>
                  </a:lnTo>
                  <a:lnTo>
                    <a:pt x="466" y="17"/>
                  </a:lnTo>
                  <a:lnTo>
                    <a:pt x="456" y="20"/>
                  </a:lnTo>
                  <a:lnTo>
                    <a:pt x="437" y="26"/>
                  </a:lnTo>
                  <a:lnTo>
                    <a:pt x="419" y="33"/>
                  </a:lnTo>
                  <a:lnTo>
                    <a:pt x="401" y="40"/>
                  </a:lnTo>
                  <a:lnTo>
                    <a:pt x="384" y="48"/>
                  </a:lnTo>
                  <a:lnTo>
                    <a:pt x="367" y="57"/>
                  </a:lnTo>
                  <a:lnTo>
                    <a:pt x="350" y="67"/>
                  </a:lnTo>
                  <a:lnTo>
                    <a:pt x="342" y="72"/>
                  </a:lnTo>
                  <a:lnTo>
                    <a:pt x="334" y="78"/>
                  </a:lnTo>
                  <a:lnTo>
                    <a:pt x="319" y="89"/>
                  </a:lnTo>
                  <a:lnTo>
                    <a:pt x="311" y="95"/>
                  </a:lnTo>
                  <a:lnTo>
                    <a:pt x="303" y="101"/>
                  </a:lnTo>
                  <a:lnTo>
                    <a:pt x="296" y="107"/>
                  </a:lnTo>
                  <a:lnTo>
                    <a:pt x="288" y="114"/>
                  </a:lnTo>
                  <a:lnTo>
                    <a:pt x="281" y="120"/>
                  </a:lnTo>
                  <a:lnTo>
                    <a:pt x="274" y="127"/>
                  </a:lnTo>
                  <a:lnTo>
                    <a:pt x="261" y="141"/>
                  </a:lnTo>
                  <a:lnTo>
                    <a:pt x="249" y="155"/>
                  </a:lnTo>
                  <a:lnTo>
                    <a:pt x="243" y="163"/>
                  </a:lnTo>
                  <a:lnTo>
                    <a:pt x="238" y="171"/>
                  </a:lnTo>
                  <a:lnTo>
                    <a:pt x="227" y="186"/>
                  </a:lnTo>
                  <a:lnTo>
                    <a:pt x="218" y="202"/>
                  </a:lnTo>
                  <a:lnTo>
                    <a:pt x="214" y="210"/>
                  </a:lnTo>
                  <a:lnTo>
                    <a:pt x="210" y="218"/>
                  </a:lnTo>
                  <a:lnTo>
                    <a:pt x="203" y="234"/>
                  </a:lnTo>
                  <a:lnTo>
                    <a:pt x="199" y="242"/>
                  </a:lnTo>
                  <a:lnTo>
                    <a:pt x="196" y="251"/>
                  </a:lnTo>
                  <a:lnTo>
                    <a:pt x="191" y="268"/>
                  </a:lnTo>
                  <a:lnTo>
                    <a:pt x="188" y="277"/>
                  </a:lnTo>
                  <a:lnTo>
                    <a:pt x="186" y="286"/>
                  </a:lnTo>
                  <a:lnTo>
                    <a:pt x="183" y="304"/>
                  </a:lnTo>
                  <a:lnTo>
                    <a:pt x="180" y="323"/>
                  </a:lnTo>
                  <a:lnTo>
                    <a:pt x="180" y="332"/>
                  </a:lnTo>
                  <a:lnTo>
                    <a:pt x="179" y="341"/>
                  </a:lnTo>
                  <a:lnTo>
                    <a:pt x="178" y="361"/>
                  </a:lnTo>
                  <a:lnTo>
                    <a:pt x="179" y="371"/>
                  </a:lnTo>
                  <a:lnTo>
                    <a:pt x="179" y="382"/>
                  </a:lnTo>
                  <a:lnTo>
                    <a:pt x="180" y="392"/>
                  </a:lnTo>
                  <a:lnTo>
                    <a:pt x="182" y="403"/>
                  </a:lnTo>
                  <a:lnTo>
                    <a:pt x="185" y="423"/>
                  </a:lnTo>
                  <a:lnTo>
                    <a:pt x="188" y="433"/>
                  </a:lnTo>
                  <a:lnTo>
                    <a:pt x="191" y="443"/>
                  </a:lnTo>
                  <a:lnTo>
                    <a:pt x="194" y="452"/>
                  </a:lnTo>
                  <a:lnTo>
                    <a:pt x="198" y="462"/>
                  </a:lnTo>
                  <a:lnTo>
                    <a:pt x="202" y="471"/>
                  </a:lnTo>
                  <a:lnTo>
                    <a:pt x="206" y="481"/>
                  </a:lnTo>
                  <a:lnTo>
                    <a:pt x="211" y="490"/>
                  </a:lnTo>
                  <a:lnTo>
                    <a:pt x="216" y="499"/>
                  </a:lnTo>
                  <a:lnTo>
                    <a:pt x="222" y="507"/>
                  </a:lnTo>
                  <a:lnTo>
                    <a:pt x="227" y="516"/>
                  </a:lnTo>
                  <a:lnTo>
                    <a:pt x="233" y="524"/>
                  </a:lnTo>
                  <a:lnTo>
                    <a:pt x="240" y="532"/>
                  </a:lnTo>
                  <a:lnTo>
                    <a:pt x="247" y="541"/>
                  </a:lnTo>
                  <a:lnTo>
                    <a:pt x="255" y="550"/>
                  </a:lnTo>
                  <a:lnTo>
                    <a:pt x="272" y="569"/>
                  </a:lnTo>
                  <a:lnTo>
                    <a:pt x="282" y="579"/>
                  </a:lnTo>
                  <a:lnTo>
                    <a:pt x="292" y="589"/>
                  </a:lnTo>
                  <a:lnTo>
                    <a:pt x="303" y="599"/>
                  </a:lnTo>
                  <a:lnTo>
                    <a:pt x="315" y="610"/>
                  </a:lnTo>
                  <a:lnTo>
                    <a:pt x="340" y="633"/>
                  </a:lnTo>
                  <a:lnTo>
                    <a:pt x="368" y="657"/>
                  </a:lnTo>
                  <a:lnTo>
                    <a:pt x="398" y="682"/>
                  </a:lnTo>
                  <a:lnTo>
                    <a:pt x="499" y="763"/>
                  </a:lnTo>
                  <a:lnTo>
                    <a:pt x="515" y="777"/>
                  </a:lnTo>
                  <a:lnTo>
                    <a:pt x="529" y="790"/>
                  </a:lnTo>
                  <a:lnTo>
                    <a:pt x="543" y="803"/>
                  </a:lnTo>
                  <a:lnTo>
                    <a:pt x="556" y="816"/>
                  </a:lnTo>
                  <a:lnTo>
                    <a:pt x="567" y="829"/>
                  </a:lnTo>
                  <a:lnTo>
                    <a:pt x="573" y="835"/>
                  </a:lnTo>
                  <a:lnTo>
                    <a:pt x="578" y="841"/>
                  </a:lnTo>
                  <a:lnTo>
                    <a:pt x="588" y="854"/>
                  </a:lnTo>
                  <a:lnTo>
                    <a:pt x="596" y="867"/>
                  </a:lnTo>
                  <a:lnTo>
                    <a:pt x="604" y="880"/>
                  </a:lnTo>
                  <a:lnTo>
                    <a:pt x="610" y="893"/>
                  </a:lnTo>
                  <a:lnTo>
                    <a:pt x="613" y="899"/>
                  </a:lnTo>
                  <a:lnTo>
                    <a:pt x="616" y="905"/>
                  </a:lnTo>
                  <a:lnTo>
                    <a:pt x="621" y="918"/>
                  </a:lnTo>
                  <a:lnTo>
                    <a:pt x="624" y="931"/>
                  </a:lnTo>
                  <a:lnTo>
                    <a:pt x="627" y="943"/>
                  </a:lnTo>
                  <a:lnTo>
                    <a:pt x="628" y="956"/>
                  </a:lnTo>
                  <a:lnTo>
                    <a:pt x="629" y="968"/>
                  </a:lnTo>
                  <a:lnTo>
                    <a:pt x="628" y="976"/>
                  </a:lnTo>
                  <a:lnTo>
                    <a:pt x="628" y="985"/>
                  </a:lnTo>
                  <a:lnTo>
                    <a:pt x="627" y="993"/>
                  </a:lnTo>
                  <a:lnTo>
                    <a:pt x="626" y="1000"/>
                  </a:lnTo>
                  <a:lnTo>
                    <a:pt x="624" y="1008"/>
                  </a:lnTo>
                  <a:lnTo>
                    <a:pt x="623" y="1012"/>
                  </a:lnTo>
                  <a:lnTo>
                    <a:pt x="622" y="1015"/>
                  </a:lnTo>
                  <a:lnTo>
                    <a:pt x="619" y="1022"/>
                  </a:lnTo>
                  <a:lnTo>
                    <a:pt x="616" y="1029"/>
                  </a:lnTo>
                  <a:lnTo>
                    <a:pt x="613" y="1036"/>
                  </a:lnTo>
                  <a:lnTo>
                    <a:pt x="609" y="1043"/>
                  </a:lnTo>
                  <a:lnTo>
                    <a:pt x="605" y="1049"/>
                  </a:lnTo>
                  <a:lnTo>
                    <a:pt x="601" y="1055"/>
                  </a:lnTo>
                  <a:lnTo>
                    <a:pt x="596" y="1061"/>
                  </a:lnTo>
                  <a:lnTo>
                    <a:pt x="590" y="1067"/>
                  </a:lnTo>
                  <a:lnTo>
                    <a:pt x="578" y="1078"/>
                  </a:lnTo>
                  <a:lnTo>
                    <a:pt x="572" y="1084"/>
                  </a:lnTo>
                  <a:lnTo>
                    <a:pt x="565" y="1089"/>
                  </a:lnTo>
                  <a:lnTo>
                    <a:pt x="550" y="1098"/>
                  </a:lnTo>
                  <a:lnTo>
                    <a:pt x="542" y="1103"/>
                  </a:lnTo>
                  <a:lnTo>
                    <a:pt x="534" y="1106"/>
                  </a:lnTo>
                  <a:lnTo>
                    <a:pt x="525" y="1110"/>
                  </a:lnTo>
                  <a:lnTo>
                    <a:pt x="517" y="1113"/>
                  </a:lnTo>
                  <a:lnTo>
                    <a:pt x="508" y="1115"/>
                  </a:lnTo>
                  <a:lnTo>
                    <a:pt x="499" y="1118"/>
                  </a:lnTo>
                  <a:lnTo>
                    <a:pt x="489" y="1120"/>
                  </a:lnTo>
                  <a:lnTo>
                    <a:pt x="480" y="1121"/>
                  </a:lnTo>
                  <a:lnTo>
                    <a:pt x="470" y="1122"/>
                  </a:lnTo>
                  <a:lnTo>
                    <a:pt x="459" y="1123"/>
                  </a:lnTo>
                  <a:lnTo>
                    <a:pt x="449" y="1124"/>
                  </a:lnTo>
                  <a:lnTo>
                    <a:pt x="438" y="1124"/>
                  </a:lnTo>
                  <a:lnTo>
                    <a:pt x="426" y="1123"/>
                  </a:lnTo>
                  <a:lnTo>
                    <a:pt x="414" y="1122"/>
                  </a:lnTo>
                  <a:lnTo>
                    <a:pt x="402" y="1120"/>
                  </a:lnTo>
                  <a:lnTo>
                    <a:pt x="391" y="1118"/>
                  </a:lnTo>
                  <a:lnTo>
                    <a:pt x="381" y="1115"/>
                  </a:lnTo>
                  <a:lnTo>
                    <a:pt x="371" y="1112"/>
                  </a:lnTo>
                  <a:lnTo>
                    <a:pt x="361" y="1109"/>
                  </a:lnTo>
                  <a:lnTo>
                    <a:pt x="352" y="1104"/>
                  </a:lnTo>
                  <a:lnTo>
                    <a:pt x="344" y="1100"/>
                  </a:lnTo>
                  <a:lnTo>
                    <a:pt x="336" y="1095"/>
                  </a:lnTo>
                  <a:lnTo>
                    <a:pt x="328" y="1090"/>
                  </a:lnTo>
                  <a:lnTo>
                    <a:pt x="321" y="1085"/>
                  </a:lnTo>
                  <a:lnTo>
                    <a:pt x="314" y="1079"/>
                  </a:lnTo>
                  <a:lnTo>
                    <a:pt x="308" y="1073"/>
                  </a:lnTo>
                  <a:lnTo>
                    <a:pt x="301" y="1067"/>
                  </a:lnTo>
                  <a:lnTo>
                    <a:pt x="296" y="1061"/>
                  </a:lnTo>
                  <a:lnTo>
                    <a:pt x="285" y="1048"/>
                  </a:lnTo>
                  <a:lnTo>
                    <a:pt x="275" y="1034"/>
                  </a:lnTo>
                  <a:lnTo>
                    <a:pt x="267" y="1021"/>
                  </a:lnTo>
                  <a:lnTo>
                    <a:pt x="259" y="1007"/>
                  </a:lnTo>
                  <a:lnTo>
                    <a:pt x="253" y="994"/>
                  </a:lnTo>
                  <a:lnTo>
                    <a:pt x="247" y="981"/>
                  </a:lnTo>
                  <a:lnTo>
                    <a:pt x="236" y="958"/>
                  </a:lnTo>
                  <a:lnTo>
                    <a:pt x="232" y="950"/>
                  </a:lnTo>
                  <a:lnTo>
                    <a:pt x="228" y="943"/>
                  </a:lnTo>
                  <a:lnTo>
                    <a:pt x="223" y="936"/>
                  </a:lnTo>
                  <a:lnTo>
                    <a:pt x="219" y="929"/>
                  </a:lnTo>
                  <a:lnTo>
                    <a:pt x="213" y="923"/>
                  </a:lnTo>
                  <a:lnTo>
                    <a:pt x="211" y="921"/>
                  </a:lnTo>
                  <a:lnTo>
                    <a:pt x="208" y="918"/>
                  </a:lnTo>
                  <a:lnTo>
                    <a:pt x="202" y="913"/>
                  </a:lnTo>
                  <a:lnTo>
                    <a:pt x="197" y="909"/>
                  </a:lnTo>
                  <a:lnTo>
                    <a:pt x="190" y="905"/>
                  </a:lnTo>
                  <a:lnTo>
                    <a:pt x="184" y="901"/>
                  </a:lnTo>
                  <a:lnTo>
                    <a:pt x="178" y="898"/>
                  </a:lnTo>
                  <a:lnTo>
                    <a:pt x="171" y="896"/>
                  </a:lnTo>
                  <a:lnTo>
                    <a:pt x="164" y="893"/>
                  </a:lnTo>
                  <a:lnTo>
                    <a:pt x="158" y="891"/>
                  </a:lnTo>
                  <a:lnTo>
                    <a:pt x="151" y="890"/>
                  </a:lnTo>
                  <a:lnTo>
                    <a:pt x="143" y="889"/>
                  </a:lnTo>
                  <a:lnTo>
                    <a:pt x="131" y="888"/>
                  </a:lnTo>
                  <a:lnTo>
                    <a:pt x="124" y="888"/>
                  </a:lnTo>
                  <a:lnTo>
                    <a:pt x="118" y="889"/>
                  </a:lnTo>
                  <a:lnTo>
                    <a:pt x="111" y="890"/>
                  </a:lnTo>
                  <a:lnTo>
                    <a:pt x="104" y="891"/>
                  </a:lnTo>
                  <a:lnTo>
                    <a:pt x="97" y="893"/>
                  </a:lnTo>
                  <a:lnTo>
                    <a:pt x="90" y="896"/>
                  </a:lnTo>
                  <a:lnTo>
                    <a:pt x="83" y="898"/>
                  </a:lnTo>
                  <a:lnTo>
                    <a:pt x="76" y="902"/>
                  </a:lnTo>
                  <a:lnTo>
                    <a:pt x="69" y="905"/>
                  </a:lnTo>
                  <a:lnTo>
                    <a:pt x="62" y="909"/>
                  </a:lnTo>
                  <a:lnTo>
                    <a:pt x="55" y="914"/>
                  </a:lnTo>
                  <a:lnTo>
                    <a:pt x="49" y="918"/>
                  </a:lnTo>
                  <a:lnTo>
                    <a:pt x="42" y="924"/>
                  </a:lnTo>
                  <a:lnTo>
                    <a:pt x="37" y="929"/>
                  </a:lnTo>
                  <a:lnTo>
                    <a:pt x="31" y="935"/>
                  </a:lnTo>
                  <a:lnTo>
                    <a:pt x="26" y="941"/>
                  </a:lnTo>
                  <a:lnTo>
                    <a:pt x="21" y="948"/>
                  </a:lnTo>
                  <a:lnTo>
                    <a:pt x="16" y="955"/>
                  </a:lnTo>
                  <a:lnTo>
                    <a:pt x="12" y="962"/>
                  </a:lnTo>
                  <a:lnTo>
                    <a:pt x="9" y="970"/>
                  </a:lnTo>
                  <a:lnTo>
                    <a:pt x="6" y="978"/>
                  </a:lnTo>
                  <a:lnTo>
                    <a:pt x="3" y="987"/>
                  </a:lnTo>
                  <a:lnTo>
                    <a:pt x="2" y="995"/>
                  </a:lnTo>
                  <a:lnTo>
                    <a:pt x="1" y="1004"/>
                  </a:lnTo>
                  <a:lnTo>
                    <a:pt x="0" y="1014"/>
                  </a:lnTo>
                  <a:lnTo>
                    <a:pt x="0" y="1024"/>
                  </a:lnTo>
                  <a:lnTo>
                    <a:pt x="1" y="1034"/>
                  </a:lnTo>
                  <a:lnTo>
                    <a:pt x="3" y="1044"/>
                  </a:lnTo>
                  <a:lnTo>
                    <a:pt x="6" y="1055"/>
                  </a:lnTo>
                  <a:lnTo>
                    <a:pt x="10" y="1066"/>
                  </a:lnTo>
                  <a:lnTo>
                    <a:pt x="14" y="1077"/>
                  </a:lnTo>
                  <a:lnTo>
                    <a:pt x="19" y="1088"/>
                  </a:lnTo>
                  <a:lnTo>
                    <a:pt x="24" y="1098"/>
                  </a:lnTo>
                  <a:lnTo>
                    <a:pt x="29" y="1109"/>
                  </a:lnTo>
                  <a:lnTo>
                    <a:pt x="35" y="1119"/>
                  </a:lnTo>
                  <a:lnTo>
                    <a:pt x="42" y="1129"/>
                  </a:lnTo>
                  <a:lnTo>
                    <a:pt x="49" y="1139"/>
                  </a:lnTo>
                  <a:lnTo>
                    <a:pt x="56" y="1148"/>
                  </a:lnTo>
                  <a:lnTo>
                    <a:pt x="64" y="1158"/>
                  </a:lnTo>
                  <a:lnTo>
                    <a:pt x="72" y="1167"/>
                  </a:lnTo>
                  <a:lnTo>
                    <a:pt x="81" y="1175"/>
                  </a:lnTo>
                  <a:lnTo>
                    <a:pt x="90" y="1184"/>
                  </a:lnTo>
                  <a:lnTo>
                    <a:pt x="99" y="1192"/>
                  </a:lnTo>
                  <a:lnTo>
                    <a:pt x="109" y="1200"/>
                  </a:lnTo>
                  <a:lnTo>
                    <a:pt x="130" y="1215"/>
                  </a:lnTo>
                  <a:lnTo>
                    <a:pt x="141" y="1221"/>
                  </a:lnTo>
                  <a:lnTo>
                    <a:pt x="152" y="1228"/>
                  </a:lnTo>
                  <a:lnTo>
                    <a:pt x="164" y="1234"/>
                  </a:lnTo>
                  <a:lnTo>
                    <a:pt x="176" y="1240"/>
                  </a:lnTo>
                  <a:lnTo>
                    <a:pt x="189" y="1245"/>
                  </a:lnTo>
                  <a:lnTo>
                    <a:pt x="202" y="1250"/>
                  </a:lnTo>
                  <a:lnTo>
                    <a:pt x="215" y="1254"/>
                  </a:lnTo>
                  <a:lnTo>
                    <a:pt x="229" y="1258"/>
                  </a:lnTo>
                  <a:lnTo>
                    <a:pt x="243" y="1262"/>
                  </a:lnTo>
                  <a:lnTo>
                    <a:pt x="257" y="1265"/>
                  </a:lnTo>
                  <a:lnTo>
                    <a:pt x="271" y="1268"/>
                  </a:lnTo>
                  <a:lnTo>
                    <a:pt x="286" y="1270"/>
                  </a:lnTo>
                  <a:lnTo>
                    <a:pt x="302" y="1272"/>
                  </a:lnTo>
                  <a:lnTo>
                    <a:pt x="317" y="1273"/>
                  </a:lnTo>
                  <a:lnTo>
                    <a:pt x="333" y="1274"/>
                  </a:lnTo>
                  <a:lnTo>
                    <a:pt x="350" y="1274"/>
                  </a:lnTo>
                  <a:lnTo>
                    <a:pt x="375" y="1274"/>
                  </a:lnTo>
                  <a:lnTo>
                    <a:pt x="400" y="1273"/>
                  </a:lnTo>
                  <a:lnTo>
                    <a:pt x="412" y="1272"/>
                  </a:lnTo>
                  <a:lnTo>
                    <a:pt x="424" y="1270"/>
                  </a:lnTo>
                  <a:lnTo>
                    <a:pt x="448" y="1267"/>
                  </a:lnTo>
                  <a:lnTo>
                    <a:pt x="472" y="1264"/>
                  </a:lnTo>
                  <a:lnTo>
                    <a:pt x="495" y="1259"/>
                  </a:lnTo>
                  <a:lnTo>
                    <a:pt x="517" y="1253"/>
                  </a:lnTo>
                  <a:lnTo>
                    <a:pt x="539" y="1247"/>
                  </a:lnTo>
                  <a:lnTo>
                    <a:pt x="561" y="1239"/>
                  </a:lnTo>
                  <a:lnTo>
                    <a:pt x="581" y="1231"/>
                  </a:lnTo>
                  <a:lnTo>
                    <a:pt x="602" y="1222"/>
                  </a:lnTo>
                  <a:lnTo>
                    <a:pt x="622" y="1212"/>
                  </a:lnTo>
                  <a:lnTo>
                    <a:pt x="641" y="1202"/>
                  </a:lnTo>
                  <a:lnTo>
                    <a:pt x="660" y="1190"/>
                  </a:lnTo>
                  <a:lnTo>
                    <a:pt x="678" y="1178"/>
                  </a:lnTo>
                  <a:lnTo>
                    <a:pt x="695" y="1164"/>
                  </a:lnTo>
                  <a:lnTo>
                    <a:pt x="713" y="1150"/>
                  </a:lnTo>
                  <a:lnTo>
                    <a:pt x="721" y="1143"/>
                  </a:lnTo>
                  <a:lnTo>
                    <a:pt x="730" y="1135"/>
                  </a:lnTo>
                  <a:lnTo>
                    <a:pt x="745" y="1120"/>
                  </a:lnTo>
                  <a:lnTo>
                    <a:pt x="759" y="1104"/>
                  </a:lnTo>
                  <a:lnTo>
                    <a:pt x="772" y="1087"/>
                  </a:lnTo>
                  <a:lnTo>
                    <a:pt x="778" y="1079"/>
                  </a:lnTo>
                  <a:lnTo>
                    <a:pt x="784" y="1071"/>
                  </a:lnTo>
                  <a:lnTo>
                    <a:pt x="795" y="1053"/>
                  </a:lnTo>
                  <a:lnTo>
                    <a:pt x="800" y="1045"/>
                  </a:lnTo>
                  <a:lnTo>
                    <a:pt x="805" y="1036"/>
                  </a:lnTo>
                  <a:lnTo>
                    <a:pt x="813" y="1017"/>
                  </a:lnTo>
                  <a:lnTo>
                    <a:pt x="817" y="1008"/>
                  </a:lnTo>
                  <a:lnTo>
                    <a:pt x="820" y="999"/>
                  </a:lnTo>
                  <a:lnTo>
                    <a:pt x="827" y="980"/>
                  </a:lnTo>
                  <a:lnTo>
                    <a:pt x="829" y="970"/>
                  </a:lnTo>
                  <a:lnTo>
                    <a:pt x="832" y="960"/>
                  </a:lnTo>
                  <a:lnTo>
                    <a:pt x="836" y="940"/>
                  </a:lnTo>
                  <a:lnTo>
                    <a:pt x="837" y="930"/>
                  </a:lnTo>
                  <a:lnTo>
                    <a:pt x="839" y="920"/>
                  </a:lnTo>
                  <a:lnTo>
                    <a:pt x="840" y="899"/>
                  </a:lnTo>
                  <a:lnTo>
                    <a:pt x="841" y="888"/>
                  </a:lnTo>
                  <a:lnTo>
                    <a:pt x="841" y="878"/>
                  </a:lnTo>
                  <a:lnTo>
                    <a:pt x="840" y="858"/>
                  </a:lnTo>
                  <a:lnTo>
                    <a:pt x="839" y="848"/>
                  </a:lnTo>
                  <a:lnTo>
                    <a:pt x="838" y="839"/>
                  </a:lnTo>
                  <a:lnTo>
                    <a:pt x="835" y="819"/>
                  </a:lnTo>
                  <a:lnTo>
                    <a:pt x="833" y="810"/>
                  </a:lnTo>
                  <a:lnTo>
                    <a:pt x="830" y="800"/>
                  </a:lnTo>
                  <a:lnTo>
                    <a:pt x="827" y="790"/>
                  </a:lnTo>
                  <a:lnTo>
                    <a:pt x="824" y="781"/>
                  </a:lnTo>
                  <a:lnTo>
                    <a:pt x="817" y="762"/>
                  </a:lnTo>
                  <a:lnTo>
                    <a:pt x="813" y="753"/>
                  </a:lnTo>
                  <a:lnTo>
                    <a:pt x="808" y="743"/>
                  </a:lnTo>
                  <a:lnTo>
                    <a:pt x="803" y="734"/>
                  </a:lnTo>
                  <a:lnTo>
                    <a:pt x="798" y="725"/>
                  </a:lnTo>
                  <a:lnTo>
                    <a:pt x="787" y="706"/>
                  </a:lnTo>
                  <a:lnTo>
                    <a:pt x="781" y="697"/>
                  </a:lnTo>
                  <a:lnTo>
                    <a:pt x="774" y="688"/>
                  </a:lnTo>
                  <a:lnTo>
                    <a:pt x="767" y="679"/>
                  </a:lnTo>
                  <a:lnTo>
                    <a:pt x="760" y="670"/>
                  </a:lnTo>
                  <a:lnTo>
                    <a:pt x="745" y="652"/>
                  </a:lnTo>
                  <a:lnTo>
                    <a:pt x="737" y="643"/>
                  </a:lnTo>
                  <a:lnTo>
                    <a:pt x="728" y="634"/>
                  </a:lnTo>
                  <a:lnTo>
                    <a:pt x="709" y="616"/>
                  </a:lnTo>
                  <a:lnTo>
                    <a:pt x="700" y="608"/>
                  </a:lnTo>
                  <a:lnTo>
                    <a:pt x="690" y="599"/>
                  </a:lnTo>
                  <a:lnTo>
                    <a:pt x="670" y="582"/>
                  </a:lnTo>
                  <a:lnTo>
                    <a:pt x="589" y="515"/>
                  </a:lnTo>
                  <a:lnTo>
                    <a:pt x="528" y="464"/>
                  </a:lnTo>
                  <a:lnTo>
                    <a:pt x="501" y="442"/>
                  </a:lnTo>
                  <a:lnTo>
                    <a:pt x="478" y="421"/>
                  </a:lnTo>
                  <a:lnTo>
                    <a:pt x="458" y="402"/>
                  </a:lnTo>
                  <a:lnTo>
                    <a:pt x="440" y="384"/>
                  </a:lnTo>
                  <a:lnTo>
                    <a:pt x="425" y="369"/>
                  </a:lnTo>
                  <a:lnTo>
                    <a:pt x="419" y="362"/>
                  </a:lnTo>
                  <a:lnTo>
                    <a:pt x="414" y="356"/>
                  </a:lnTo>
                  <a:lnTo>
                    <a:pt x="406" y="345"/>
                  </a:lnTo>
                  <a:lnTo>
                    <a:pt x="399" y="335"/>
                  </a:lnTo>
                  <a:lnTo>
                    <a:pt x="396" y="330"/>
                  </a:lnTo>
                  <a:lnTo>
                    <a:pt x="394" y="324"/>
                  </a:lnTo>
                  <a:lnTo>
                    <a:pt x="389" y="314"/>
                  </a:lnTo>
                  <a:lnTo>
                    <a:pt x="386" y="303"/>
                  </a:lnTo>
                  <a:lnTo>
                    <a:pt x="383" y="293"/>
                  </a:lnTo>
                  <a:lnTo>
                    <a:pt x="381" y="282"/>
                  </a:lnTo>
                  <a:lnTo>
                    <a:pt x="380" y="272"/>
                  </a:lnTo>
                  <a:lnTo>
                    <a:pt x="380" y="264"/>
                  </a:lnTo>
                  <a:lnTo>
                    <a:pt x="380" y="257"/>
                  </a:lnTo>
                  <a:lnTo>
                    <a:pt x="382" y="249"/>
                  </a:lnTo>
                  <a:lnTo>
                    <a:pt x="384" y="241"/>
                  </a:lnTo>
                  <a:lnTo>
                    <a:pt x="386" y="233"/>
                  </a:lnTo>
                  <a:lnTo>
                    <a:pt x="390" y="225"/>
                  </a:lnTo>
                  <a:lnTo>
                    <a:pt x="394" y="217"/>
                  </a:lnTo>
                  <a:lnTo>
                    <a:pt x="398" y="210"/>
                  </a:lnTo>
                  <a:lnTo>
                    <a:pt x="404" y="202"/>
                  </a:lnTo>
                  <a:lnTo>
                    <a:pt x="407" y="198"/>
                  </a:lnTo>
                  <a:lnTo>
                    <a:pt x="410" y="195"/>
                  </a:lnTo>
                  <a:lnTo>
                    <a:pt x="416" y="188"/>
                  </a:lnTo>
                  <a:lnTo>
                    <a:pt x="423" y="181"/>
                  </a:lnTo>
                  <a:lnTo>
                    <a:pt x="431" y="174"/>
                  </a:lnTo>
                  <a:lnTo>
                    <a:pt x="439" y="168"/>
                  </a:lnTo>
                  <a:lnTo>
                    <a:pt x="447" y="163"/>
                  </a:lnTo>
                  <a:lnTo>
                    <a:pt x="456" y="157"/>
                  </a:lnTo>
                  <a:lnTo>
                    <a:pt x="466" y="152"/>
                  </a:lnTo>
                  <a:lnTo>
                    <a:pt x="476" y="148"/>
                  </a:lnTo>
                  <a:lnTo>
                    <a:pt x="486" y="145"/>
                  </a:lnTo>
                  <a:lnTo>
                    <a:pt x="497" y="142"/>
                  </a:lnTo>
                  <a:lnTo>
                    <a:pt x="509" y="140"/>
                  </a:lnTo>
                  <a:lnTo>
                    <a:pt x="514" y="139"/>
                  </a:lnTo>
                  <a:lnTo>
                    <a:pt x="520" y="139"/>
                  </a:lnTo>
                  <a:lnTo>
                    <a:pt x="532" y="139"/>
                  </a:lnTo>
                  <a:lnTo>
                    <a:pt x="545" y="139"/>
                  </a:lnTo>
                  <a:lnTo>
                    <a:pt x="557" y="141"/>
                  </a:lnTo>
                  <a:lnTo>
                    <a:pt x="570" y="143"/>
                  </a:lnTo>
                  <a:lnTo>
                    <a:pt x="584" y="147"/>
                  </a:lnTo>
                  <a:lnTo>
                    <a:pt x="590" y="149"/>
                  </a:lnTo>
                  <a:lnTo>
                    <a:pt x="597" y="152"/>
                  </a:lnTo>
                  <a:lnTo>
                    <a:pt x="611" y="157"/>
                  </a:lnTo>
                  <a:lnTo>
                    <a:pt x="625" y="165"/>
                  </a:lnTo>
                  <a:lnTo>
                    <a:pt x="639" y="174"/>
                  </a:lnTo>
                  <a:lnTo>
                    <a:pt x="654" y="1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400" b="1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8D3FC1E9-31B4-4A7C-8F12-EF29FC3B76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5554" y="2513316"/>
              <a:ext cx="1136894" cy="255853"/>
            </a:xfrm>
            <a:custGeom>
              <a:avLst/>
              <a:gdLst>
                <a:gd name="T0" fmla="*/ 355 w 2718"/>
                <a:gd name="T1" fmla="*/ 506 h 611"/>
                <a:gd name="T2" fmla="*/ 571 w 2718"/>
                <a:gd name="T3" fmla="*/ 436 h 611"/>
                <a:gd name="T4" fmla="*/ 776 w 2718"/>
                <a:gd name="T5" fmla="*/ 379 h 611"/>
                <a:gd name="T6" fmla="*/ 972 w 2718"/>
                <a:gd name="T7" fmla="*/ 334 h 611"/>
                <a:gd name="T8" fmla="*/ 1141 w 2718"/>
                <a:gd name="T9" fmla="*/ 303 h 611"/>
                <a:gd name="T10" fmla="*/ 1335 w 2718"/>
                <a:gd name="T11" fmla="*/ 278 h 611"/>
                <a:gd name="T12" fmla="*/ 1516 w 2718"/>
                <a:gd name="T13" fmla="*/ 265 h 611"/>
                <a:gd name="T14" fmla="*/ 1718 w 2718"/>
                <a:gd name="T15" fmla="*/ 262 h 611"/>
                <a:gd name="T16" fmla="*/ 1875 w 2718"/>
                <a:gd name="T17" fmla="*/ 270 h 611"/>
                <a:gd name="T18" fmla="*/ 2020 w 2718"/>
                <a:gd name="T19" fmla="*/ 286 h 611"/>
                <a:gd name="T20" fmla="*/ 2153 w 2718"/>
                <a:gd name="T21" fmla="*/ 309 h 611"/>
                <a:gd name="T22" fmla="*/ 2298 w 2718"/>
                <a:gd name="T23" fmla="*/ 345 h 611"/>
                <a:gd name="T24" fmla="*/ 2427 w 2718"/>
                <a:gd name="T25" fmla="*/ 387 h 611"/>
                <a:gd name="T26" fmla="*/ 2540 w 2718"/>
                <a:gd name="T27" fmla="*/ 433 h 611"/>
                <a:gd name="T28" fmla="*/ 2666 w 2718"/>
                <a:gd name="T29" fmla="*/ 500 h 611"/>
                <a:gd name="T30" fmla="*/ 2718 w 2718"/>
                <a:gd name="T31" fmla="*/ 526 h 611"/>
                <a:gd name="T32" fmla="*/ 2713 w 2718"/>
                <a:gd name="T33" fmla="*/ 509 h 611"/>
                <a:gd name="T34" fmla="*/ 2693 w 2718"/>
                <a:gd name="T35" fmla="*/ 478 h 611"/>
                <a:gd name="T36" fmla="*/ 2658 w 2718"/>
                <a:gd name="T37" fmla="*/ 440 h 611"/>
                <a:gd name="T38" fmla="*/ 2589 w 2718"/>
                <a:gd name="T39" fmla="*/ 383 h 611"/>
                <a:gd name="T40" fmla="*/ 2496 w 2718"/>
                <a:gd name="T41" fmla="*/ 323 h 611"/>
                <a:gd name="T42" fmla="*/ 2380 w 2718"/>
                <a:gd name="T43" fmla="*/ 262 h 611"/>
                <a:gd name="T44" fmla="*/ 2242 w 2718"/>
                <a:gd name="T45" fmla="*/ 204 h 611"/>
                <a:gd name="T46" fmla="*/ 2083 w 2718"/>
                <a:gd name="T47" fmla="*/ 153 h 611"/>
                <a:gd name="T48" fmla="*/ 1917 w 2718"/>
                <a:gd name="T49" fmla="*/ 115 h 611"/>
                <a:gd name="T50" fmla="*/ 1784 w 2718"/>
                <a:gd name="T51" fmla="*/ 97 h 611"/>
                <a:gd name="T52" fmla="*/ 1648 w 2718"/>
                <a:gd name="T53" fmla="*/ 87 h 611"/>
                <a:gd name="T54" fmla="*/ 1478 w 2718"/>
                <a:gd name="T55" fmla="*/ 87 h 611"/>
                <a:gd name="T56" fmla="*/ 1343 w 2718"/>
                <a:gd name="T57" fmla="*/ 96 h 611"/>
                <a:gd name="T58" fmla="*/ 1177 w 2718"/>
                <a:gd name="T59" fmla="*/ 114 h 611"/>
                <a:gd name="T60" fmla="*/ 1047 w 2718"/>
                <a:gd name="T61" fmla="*/ 135 h 611"/>
                <a:gd name="T62" fmla="*/ 893 w 2718"/>
                <a:gd name="T63" fmla="*/ 165 h 611"/>
                <a:gd name="T64" fmla="*/ 667 w 2718"/>
                <a:gd name="T65" fmla="*/ 220 h 611"/>
                <a:gd name="T66" fmla="*/ 477 w 2718"/>
                <a:gd name="T67" fmla="*/ 277 h 611"/>
                <a:gd name="T68" fmla="*/ 278 w 2718"/>
                <a:gd name="T69" fmla="*/ 345 h 611"/>
                <a:gd name="T70" fmla="*/ 252 w 2718"/>
                <a:gd name="T71" fmla="*/ 269 h 611"/>
                <a:gd name="T72" fmla="*/ 265 w 2718"/>
                <a:gd name="T73" fmla="*/ 153 h 611"/>
                <a:gd name="T74" fmla="*/ 263 w 2718"/>
                <a:gd name="T75" fmla="*/ 99 h 611"/>
                <a:gd name="T76" fmla="*/ 254 w 2718"/>
                <a:gd name="T77" fmla="*/ 62 h 611"/>
                <a:gd name="T78" fmla="*/ 237 w 2718"/>
                <a:gd name="T79" fmla="*/ 30 h 611"/>
                <a:gd name="T80" fmla="*/ 217 w 2718"/>
                <a:gd name="T81" fmla="*/ 12 h 611"/>
                <a:gd name="T82" fmla="*/ 192 w 2718"/>
                <a:gd name="T83" fmla="*/ 3 h 611"/>
                <a:gd name="T84" fmla="*/ 163 w 2718"/>
                <a:gd name="T85" fmla="*/ 1 h 611"/>
                <a:gd name="T86" fmla="*/ 132 w 2718"/>
                <a:gd name="T87" fmla="*/ 6 h 611"/>
                <a:gd name="T88" fmla="*/ 103 w 2718"/>
                <a:gd name="T89" fmla="*/ 20 h 611"/>
                <a:gd name="T90" fmla="*/ 76 w 2718"/>
                <a:gd name="T91" fmla="*/ 44 h 611"/>
                <a:gd name="T92" fmla="*/ 56 w 2718"/>
                <a:gd name="T93" fmla="*/ 79 h 611"/>
                <a:gd name="T94" fmla="*/ 43 w 2718"/>
                <a:gd name="T95" fmla="*/ 126 h 611"/>
                <a:gd name="T96" fmla="*/ 26 w 2718"/>
                <a:gd name="T97" fmla="*/ 308 h 611"/>
                <a:gd name="T98" fmla="*/ 0 w 2718"/>
                <a:gd name="T99" fmla="*/ 527 h 611"/>
                <a:gd name="T100" fmla="*/ 3 w 2718"/>
                <a:gd name="T101" fmla="*/ 570 h 611"/>
                <a:gd name="T102" fmla="*/ 14 w 2718"/>
                <a:gd name="T103" fmla="*/ 596 h 611"/>
                <a:gd name="T104" fmla="*/ 34 w 2718"/>
                <a:gd name="T105" fmla="*/ 609 h 611"/>
                <a:gd name="T106" fmla="*/ 61 w 2718"/>
                <a:gd name="T107" fmla="*/ 610 h 611"/>
                <a:gd name="T108" fmla="*/ 110 w 2718"/>
                <a:gd name="T109" fmla="*/ 598 h 611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718"/>
                <a:gd name="T166" fmla="*/ 0 h 611"/>
                <a:gd name="T167" fmla="*/ 2718 w 2718"/>
                <a:gd name="T168" fmla="*/ 611 h 611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718" h="611">
                  <a:moveTo>
                    <a:pt x="187" y="568"/>
                  </a:moveTo>
                  <a:lnTo>
                    <a:pt x="244" y="546"/>
                  </a:lnTo>
                  <a:lnTo>
                    <a:pt x="300" y="526"/>
                  </a:lnTo>
                  <a:lnTo>
                    <a:pt x="355" y="506"/>
                  </a:lnTo>
                  <a:lnTo>
                    <a:pt x="410" y="487"/>
                  </a:lnTo>
                  <a:lnTo>
                    <a:pt x="464" y="469"/>
                  </a:lnTo>
                  <a:lnTo>
                    <a:pt x="518" y="452"/>
                  </a:lnTo>
                  <a:lnTo>
                    <a:pt x="571" y="436"/>
                  </a:lnTo>
                  <a:lnTo>
                    <a:pt x="623" y="420"/>
                  </a:lnTo>
                  <a:lnTo>
                    <a:pt x="675" y="406"/>
                  </a:lnTo>
                  <a:lnTo>
                    <a:pt x="726" y="392"/>
                  </a:lnTo>
                  <a:lnTo>
                    <a:pt x="776" y="379"/>
                  </a:lnTo>
                  <a:lnTo>
                    <a:pt x="826" y="366"/>
                  </a:lnTo>
                  <a:lnTo>
                    <a:pt x="876" y="355"/>
                  </a:lnTo>
                  <a:lnTo>
                    <a:pt x="924" y="344"/>
                  </a:lnTo>
                  <a:lnTo>
                    <a:pt x="972" y="334"/>
                  </a:lnTo>
                  <a:lnTo>
                    <a:pt x="1020" y="325"/>
                  </a:lnTo>
                  <a:lnTo>
                    <a:pt x="1061" y="317"/>
                  </a:lnTo>
                  <a:lnTo>
                    <a:pt x="1101" y="310"/>
                  </a:lnTo>
                  <a:lnTo>
                    <a:pt x="1141" y="303"/>
                  </a:lnTo>
                  <a:lnTo>
                    <a:pt x="1181" y="297"/>
                  </a:lnTo>
                  <a:lnTo>
                    <a:pt x="1259" y="287"/>
                  </a:lnTo>
                  <a:lnTo>
                    <a:pt x="1297" y="282"/>
                  </a:lnTo>
                  <a:lnTo>
                    <a:pt x="1335" y="278"/>
                  </a:lnTo>
                  <a:lnTo>
                    <a:pt x="1409" y="271"/>
                  </a:lnTo>
                  <a:lnTo>
                    <a:pt x="1445" y="269"/>
                  </a:lnTo>
                  <a:lnTo>
                    <a:pt x="1481" y="266"/>
                  </a:lnTo>
                  <a:lnTo>
                    <a:pt x="1516" y="265"/>
                  </a:lnTo>
                  <a:lnTo>
                    <a:pt x="1551" y="263"/>
                  </a:lnTo>
                  <a:lnTo>
                    <a:pt x="1619" y="262"/>
                  </a:lnTo>
                  <a:lnTo>
                    <a:pt x="1686" y="261"/>
                  </a:lnTo>
                  <a:lnTo>
                    <a:pt x="1718" y="262"/>
                  </a:lnTo>
                  <a:lnTo>
                    <a:pt x="1751" y="263"/>
                  </a:lnTo>
                  <a:lnTo>
                    <a:pt x="1814" y="266"/>
                  </a:lnTo>
                  <a:lnTo>
                    <a:pt x="1844" y="268"/>
                  </a:lnTo>
                  <a:lnTo>
                    <a:pt x="1875" y="270"/>
                  </a:lnTo>
                  <a:lnTo>
                    <a:pt x="1934" y="276"/>
                  </a:lnTo>
                  <a:lnTo>
                    <a:pt x="1963" y="279"/>
                  </a:lnTo>
                  <a:lnTo>
                    <a:pt x="1992" y="282"/>
                  </a:lnTo>
                  <a:lnTo>
                    <a:pt x="2020" y="286"/>
                  </a:lnTo>
                  <a:lnTo>
                    <a:pt x="2047" y="290"/>
                  </a:lnTo>
                  <a:lnTo>
                    <a:pt x="2074" y="295"/>
                  </a:lnTo>
                  <a:lnTo>
                    <a:pt x="2101" y="299"/>
                  </a:lnTo>
                  <a:lnTo>
                    <a:pt x="2153" y="309"/>
                  </a:lnTo>
                  <a:lnTo>
                    <a:pt x="2203" y="320"/>
                  </a:lnTo>
                  <a:lnTo>
                    <a:pt x="2252" y="332"/>
                  </a:lnTo>
                  <a:lnTo>
                    <a:pt x="2275" y="338"/>
                  </a:lnTo>
                  <a:lnTo>
                    <a:pt x="2298" y="345"/>
                  </a:lnTo>
                  <a:lnTo>
                    <a:pt x="2343" y="358"/>
                  </a:lnTo>
                  <a:lnTo>
                    <a:pt x="2365" y="365"/>
                  </a:lnTo>
                  <a:lnTo>
                    <a:pt x="2386" y="372"/>
                  </a:lnTo>
                  <a:lnTo>
                    <a:pt x="2427" y="387"/>
                  </a:lnTo>
                  <a:lnTo>
                    <a:pt x="2467" y="402"/>
                  </a:lnTo>
                  <a:lnTo>
                    <a:pt x="2504" y="417"/>
                  </a:lnTo>
                  <a:lnTo>
                    <a:pt x="2522" y="425"/>
                  </a:lnTo>
                  <a:lnTo>
                    <a:pt x="2540" y="433"/>
                  </a:lnTo>
                  <a:lnTo>
                    <a:pt x="2574" y="450"/>
                  </a:lnTo>
                  <a:lnTo>
                    <a:pt x="2606" y="466"/>
                  </a:lnTo>
                  <a:lnTo>
                    <a:pt x="2638" y="483"/>
                  </a:lnTo>
                  <a:lnTo>
                    <a:pt x="2666" y="500"/>
                  </a:lnTo>
                  <a:lnTo>
                    <a:pt x="2680" y="508"/>
                  </a:lnTo>
                  <a:lnTo>
                    <a:pt x="2693" y="517"/>
                  </a:lnTo>
                  <a:lnTo>
                    <a:pt x="2718" y="534"/>
                  </a:lnTo>
                  <a:lnTo>
                    <a:pt x="2718" y="526"/>
                  </a:lnTo>
                  <a:lnTo>
                    <a:pt x="2717" y="523"/>
                  </a:lnTo>
                  <a:lnTo>
                    <a:pt x="2716" y="518"/>
                  </a:lnTo>
                  <a:lnTo>
                    <a:pt x="2715" y="514"/>
                  </a:lnTo>
                  <a:lnTo>
                    <a:pt x="2713" y="509"/>
                  </a:lnTo>
                  <a:lnTo>
                    <a:pt x="2710" y="505"/>
                  </a:lnTo>
                  <a:lnTo>
                    <a:pt x="2708" y="499"/>
                  </a:lnTo>
                  <a:lnTo>
                    <a:pt x="2701" y="489"/>
                  </a:lnTo>
                  <a:lnTo>
                    <a:pt x="2693" y="478"/>
                  </a:lnTo>
                  <a:lnTo>
                    <a:pt x="2683" y="466"/>
                  </a:lnTo>
                  <a:lnTo>
                    <a:pt x="2671" y="453"/>
                  </a:lnTo>
                  <a:lnTo>
                    <a:pt x="2665" y="447"/>
                  </a:lnTo>
                  <a:lnTo>
                    <a:pt x="2658" y="440"/>
                  </a:lnTo>
                  <a:lnTo>
                    <a:pt x="2643" y="426"/>
                  </a:lnTo>
                  <a:lnTo>
                    <a:pt x="2627" y="412"/>
                  </a:lnTo>
                  <a:lnTo>
                    <a:pt x="2608" y="398"/>
                  </a:lnTo>
                  <a:lnTo>
                    <a:pt x="2589" y="383"/>
                  </a:lnTo>
                  <a:lnTo>
                    <a:pt x="2568" y="368"/>
                  </a:lnTo>
                  <a:lnTo>
                    <a:pt x="2545" y="353"/>
                  </a:lnTo>
                  <a:lnTo>
                    <a:pt x="2521" y="338"/>
                  </a:lnTo>
                  <a:lnTo>
                    <a:pt x="2496" y="323"/>
                  </a:lnTo>
                  <a:lnTo>
                    <a:pt x="2469" y="307"/>
                  </a:lnTo>
                  <a:lnTo>
                    <a:pt x="2441" y="292"/>
                  </a:lnTo>
                  <a:lnTo>
                    <a:pt x="2411" y="277"/>
                  </a:lnTo>
                  <a:lnTo>
                    <a:pt x="2380" y="262"/>
                  </a:lnTo>
                  <a:lnTo>
                    <a:pt x="2348" y="247"/>
                  </a:lnTo>
                  <a:lnTo>
                    <a:pt x="2314" y="232"/>
                  </a:lnTo>
                  <a:lnTo>
                    <a:pt x="2279" y="218"/>
                  </a:lnTo>
                  <a:lnTo>
                    <a:pt x="2242" y="204"/>
                  </a:lnTo>
                  <a:lnTo>
                    <a:pt x="2204" y="190"/>
                  </a:lnTo>
                  <a:lnTo>
                    <a:pt x="2165" y="177"/>
                  </a:lnTo>
                  <a:lnTo>
                    <a:pt x="2125" y="165"/>
                  </a:lnTo>
                  <a:lnTo>
                    <a:pt x="2083" y="153"/>
                  </a:lnTo>
                  <a:lnTo>
                    <a:pt x="2040" y="142"/>
                  </a:lnTo>
                  <a:lnTo>
                    <a:pt x="1996" y="131"/>
                  </a:lnTo>
                  <a:lnTo>
                    <a:pt x="1950" y="122"/>
                  </a:lnTo>
                  <a:lnTo>
                    <a:pt x="1917" y="115"/>
                  </a:lnTo>
                  <a:lnTo>
                    <a:pt x="1884" y="110"/>
                  </a:lnTo>
                  <a:lnTo>
                    <a:pt x="1851" y="105"/>
                  </a:lnTo>
                  <a:lnTo>
                    <a:pt x="1817" y="100"/>
                  </a:lnTo>
                  <a:lnTo>
                    <a:pt x="1784" y="97"/>
                  </a:lnTo>
                  <a:lnTo>
                    <a:pt x="1750" y="93"/>
                  </a:lnTo>
                  <a:lnTo>
                    <a:pt x="1716" y="91"/>
                  </a:lnTo>
                  <a:lnTo>
                    <a:pt x="1682" y="89"/>
                  </a:lnTo>
                  <a:lnTo>
                    <a:pt x="1648" y="87"/>
                  </a:lnTo>
                  <a:lnTo>
                    <a:pt x="1614" y="86"/>
                  </a:lnTo>
                  <a:lnTo>
                    <a:pt x="1580" y="86"/>
                  </a:lnTo>
                  <a:lnTo>
                    <a:pt x="1546" y="86"/>
                  </a:lnTo>
                  <a:lnTo>
                    <a:pt x="1478" y="87"/>
                  </a:lnTo>
                  <a:lnTo>
                    <a:pt x="1444" y="89"/>
                  </a:lnTo>
                  <a:lnTo>
                    <a:pt x="1410" y="91"/>
                  </a:lnTo>
                  <a:lnTo>
                    <a:pt x="1377" y="93"/>
                  </a:lnTo>
                  <a:lnTo>
                    <a:pt x="1343" y="96"/>
                  </a:lnTo>
                  <a:lnTo>
                    <a:pt x="1309" y="99"/>
                  </a:lnTo>
                  <a:lnTo>
                    <a:pt x="1276" y="102"/>
                  </a:lnTo>
                  <a:lnTo>
                    <a:pt x="1210" y="110"/>
                  </a:lnTo>
                  <a:lnTo>
                    <a:pt x="1177" y="114"/>
                  </a:lnTo>
                  <a:lnTo>
                    <a:pt x="1143" y="119"/>
                  </a:lnTo>
                  <a:lnTo>
                    <a:pt x="1111" y="124"/>
                  </a:lnTo>
                  <a:lnTo>
                    <a:pt x="1079" y="129"/>
                  </a:lnTo>
                  <a:lnTo>
                    <a:pt x="1047" y="135"/>
                  </a:lnTo>
                  <a:lnTo>
                    <a:pt x="1015" y="140"/>
                  </a:lnTo>
                  <a:lnTo>
                    <a:pt x="984" y="146"/>
                  </a:lnTo>
                  <a:lnTo>
                    <a:pt x="953" y="152"/>
                  </a:lnTo>
                  <a:lnTo>
                    <a:pt x="893" y="165"/>
                  </a:lnTo>
                  <a:lnTo>
                    <a:pt x="833" y="178"/>
                  </a:lnTo>
                  <a:lnTo>
                    <a:pt x="776" y="192"/>
                  </a:lnTo>
                  <a:lnTo>
                    <a:pt x="721" y="206"/>
                  </a:lnTo>
                  <a:lnTo>
                    <a:pt x="667" y="220"/>
                  </a:lnTo>
                  <a:lnTo>
                    <a:pt x="616" y="235"/>
                  </a:lnTo>
                  <a:lnTo>
                    <a:pt x="567" y="249"/>
                  </a:lnTo>
                  <a:lnTo>
                    <a:pt x="520" y="263"/>
                  </a:lnTo>
                  <a:lnTo>
                    <a:pt x="477" y="277"/>
                  </a:lnTo>
                  <a:lnTo>
                    <a:pt x="436" y="290"/>
                  </a:lnTo>
                  <a:lnTo>
                    <a:pt x="397" y="303"/>
                  </a:lnTo>
                  <a:lnTo>
                    <a:pt x="331" y="326"/>
                  </a:lnTo>
                  <a:lnTo>
                    <a:pt x="278" y="345"/>
                  </a:lnTo>
                  <a:lnTo>
                    <a:pt x="239" y="360"/>
                  </a:lnTo>
                  <a:lnTo>
                    <a:pt x="242" y="338"/>
                  </a:lnTo>
                  <a:lnTo>
                    <a:pt x="245" y="316"/>
                  </a:lnTo>
                  <a:lnTo>
                    <a:pt x="252" y="269"/>
                  </a:lnTo>
                  <a:lnTo>
                    <a:pt x="259" y="222"/>
                  </a:lnTo>
                  <a:lnTo>
                    <a:pt x="262" y="199"/>
                  </a:lnTo>
                  <a:lnTo>
                    <a:pt x="264" y="175"/>
                  </a:lnTo>
                  <a:lnTo>
                    <a:pt x="265" y="153"/>
                  </a:lnTo>
                  <a:lnTo>
                    <a:pt x="266" y="131"/>
                  </a:lnTo>
                  <a:lnTo>
                    <a:pt x="265" y="120"/>
                  </a:lnTo>
                  <a:lnTo>
                    <a:pt x="264" y="110"/>
                  </a:lnTo>
                  <a:lnTo>
                    <a:pt x="263" y="99"/>
                  </a:lnTo>
                  <a:lnTo>
                    <a:pt x="262" y="89"/>
                  </a:lnTo>
                  <a:lnTo>
                    <a:pt x="260" y="80"/>
                  </a:lnTo>
                  <a:lnTo>
                    <a:pt x="257" y="71"/>
                  </a:lnTo>
                  <a:lnTo>
                    <a:pt x="254" y="62"/>
                  </a:lnTo>
                  <a:lnTo>
                    <a:pt x="251" y="53"/>
                  </a:lnTo>
                  <a:lnTo>
                    <a:pt x="247" y="45"/>
                  </a:lnTo>
                  <a:lnTo>
                    <a:pt x="242" y="37"/>
                  </a:lnTo>
                  <a:lnTo>
                    <a:pt x="237" y="30"/>
                  </a:lnTo>
                  <a:lnTo>
                    <a:pt x="231" y="23"/>
                  </a:lnTo>
                  <a:lnTo>
                    <a:pt x="227" y="19"/>
                  </a:lnTo>
                  <a:lnTo>
                    <a:pt x="222" y="16"/>
                  </a:lnTo>
                  <a:lnTo>
                    <a:pt x="217" y="12"/>
                  </a:lnTo>
                  <a:lnTo>
                    <a:pt x="211" y="9"/>
                  </a:lnTo>
                  <a:lnTo>
                    <a:pt x="205" y="7"/>
                  </a:lnTo>
                  <a:lnTo>
                    <a:pt x="199" y="5"/>
                  </a:lnTo>
                  <a:lnTo>
                    <a:pt x="192" y="3"/>
                  </a:lnTo>
                  <a:lnTo>
                    <a:pt x="185" y="2"/>
                  </a:lnTo>
                  <a:lnTo>
                    <a:pt x="178" y="1"/>
                  </a:lnTo>
                  <a:lnTo>
                    <a:pt x="171" y="0"/>
                  </a:lnTo>
                  <a:lnTo>
                    <a:pt x="163" y="1"/>
                  </a:lnTo>
                  <a:lnTo>
                    <a:pt x="155" y="1"/>
                  </a:lnTo>
                  <a:lnTo>
                    <a:pt x="148" y="2"/>
                  </a:lnTo>
                  <a:lnTo>
                    <a:pt x="140" y="4"/>
                  </a:lnTo>
                  <a:lnTo>
                    <a:pt x="132" y="6"/>
                  </a:lnTo>
                  <a:lnTo>
                    <a:pt x="125" y="9"/>
                  </a:lnTo>
                  <a:lnTo>
                    <a:pt x="117" y="12"/>
                  </a:lnTo>
                  <a:lnTo>
                    <a:pt x="110" y="16"/>
                  </a:lnTo>
                  <a:lnTo>
                    <a:pt x="103" y="20"/>
                  </a:lnTo>
                  <a:lnTo>
                    <a:pt x="96" y="25"/>
                  </a:lnTo>
                  <a:lnTo>
                    <a:pt x="89" y="31"/>
                  </a:lnTo>
                  <a:lnTo>
                    <a:pt x="82" y="37"/>
                  </a:lnTo>
                  <a:lnTo>
                    <a:pt x="76" y="44"/>
                  </a:lnTo>
                  <a:lnTo>
                    <a:pt x="70" y="52"/>
                  </a:lnTo>
                  <a:lnTo>
                    <a:pt x="65" y="60"/>
                  </a:lnTo>
                  <a:lnTo>
                    <a:pt x="60" y="69"/>
                  </a:lnTo>
                  <a:lnTo>
                    <a:pt x="56" y="79"/>
                  </a:lnTo>
                  <a:lnTo>
                    <a:pt x="52" y="89"/>
                  </a:lnTo>
                  <a:lnTo>
                    <a:pt x="48" y="101"/>
                  </a:lnTo>
                  <a:lnTo>
                    <a:pt x="46" y="113"/>
                  </a:lnTo>
                  <a:lnTo>
                    <a:pt x="43" y="126"/>
                  </a:lnTo>
                  <a:lnTo>
                    <a:pt x="42" y="139"/>
                  </a:lnTo>
                  <a:lnTo>
                    <a:pt x="39" y="180"/>
                  </a:lnTo>
                  <a:lnTo>
                    <a:pt x="35" y="221"/>
                  </a:lnTo>
                  <a:lnTo>
                    <a:pt x="26" y="308"/>
                  </a:lnTo>
                  <a:lnTo>
                    <a:pt x="15" y="401"/>
                  </a:lnTo>
                  <a:lnTo>
                    <a:pt x="3" y="498"/>
                  </a:lnTo>
                  <a:lnTo>
                    <a:pt x="1" y="513"/>
                  </a:lnTo>
                  <a:lnTo>
                    <a:pt x="0" y="527"/>
                  </a:lnTo>
                  <a:lnTo>
                    <a:pt x="0" y="539"/>
                  </a:lnTo>
                  <a:lnTo>
                    <a:pt x="0" y="551"/>
                  </a:lnTo>
                  <a:lnTo>
                    <a:pt x="1" y="561"/>
                  </a:lnTo>
                  <a:lnTo>
                    <a:pt x="3" y="570"/>
                  </a:lnTo>
                  <a:lnTo>
                    <a:pt x="5" y="578"/>
                  </a:lnTo>
                  <a:lnTo>
                    <a:pt x="7" y="585"/>
                  </a:lnTo>
                  <a:lnTo>
                    <a:pt x="11" y="591"/>
                  </a:lnTo>
                  <a:lnTo>
                    <a:pt x="14" y="596"/>
                  </a:lnTo>
                  <a:lnTo>
                    <a:pt x="19" y="601"/>
                  </a:lnTo>
                  <a:lnTo>
                    <a:pt x="23" y="604"/>
                  </a:lnTo>
                  <a:lnTo>
                    <a:pt x="29" y="607"/>
                  </a:lnTo>
                  <a:lnTo>
                    <a:pt x="34" y="609"/>
                  </a:lnTo>
                  <a:lnTo>
                    <a:pt x="40" y="610"/>
                  </a:lnTo>
                  <a:lnTo>
                    <a:pt x="47" y="611"/>
                  </a:lnTo>
                  <a:lnTo>
                    <a:pt x="54" y="611"/>
                  </a:lnTo>
                  <a:lnTo>
                    <a:pt x="61" y="610"/>
                  </a:lnTo>
                  <a:lnTo>
                    <a:pt x="68" y="609"/>
                  </a:lnTo>
                  <a:lnTo>
                    <a:pt x="76" y="608"/>
                  </a:lnTo>
                  <a:lnTo>
                    <a:pt x="93" y="603"/>
                  </a:lnTo>
                  <a:lnTo>
                    <a:pt x="110" y="598"/>
                  </a:lnTo>
                  <a:lnTo>
                    <a:pt x="129" y="591"/>
                  </a:lnTo>
                  <a:lnTo>
                    <a:pt x="148" y="583"/>
                  </a:lnTo>
                  <a:lnTo>
                    <a:pt x="187" y="5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400" b="1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1785031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5">
            <a:extLst>
              <a:ext uri="{FF2B5EF4-FFF2-40B4-BE49-F238E27FC236}">
                <a16:creationId xmlns:a16="http://schemas.microsoft.com/office/drawing/2014/main" id="{7C5F3E56-09D2-4D7D-8B80-F57102C7C575}"/>
              </a:ext>
            </a:extLst>
          </p:cNvPr>
          <p:cNvSpPr/>
          <p:nvPr/>
        </p:nvSpPr>
        <p:spPr>
          <a:xfrm rot="10800000">
            <a:off x="5302101" y="6537052"/>
            <a:ext cx="6889899" cy="347685"/>
          </a:xfrm>
          <a:custGeom>
            <a:avLst/>
            <a:gdLst>
              <a:gd name="connsiteX0" fmla="*/ 0 w 5178137"/>
              <a:gd name="connsiteY0" fmla="*/ 0 h 1094222"/>
              <a:gd name="connsiteX1" fmla="*/ 5178137 w 5178137"/>
              <a:gd name="connsiteY1" fmla="*/ 0 h 1094222"/>
              <a:gd name="connsiteX2" fmla="*/ 5178137 w 5178137"/>
              <a:gd name="connsiteY2" fmla="*/ 1094222 h 1094222"/>
              <a:gd name="connsiteX3" fmla="*/ 0 w 5178137"/>
              <a:gd name="connsiteY3" fmla="*/ 1094222 h 1094222"/>
              <a:gd name="connsiteX4" fmla="*/ 0 w 5178137"/>
              <a:gd name="connsiteY4" fmla="*/ 0 h 1094222"/>
              <a:gd name="connsiteX0" fmla="*/ 0 w 5178137"/>
              <a:gd name="connsiteY0" fmla="*/ 0 h 1107475"/>
              <a:gd name="connsiteX1" fmla="*/ 5178137 w 5178137"/>
              <a:gd name="connsiteY1" fmla="*/ 0 h 1107475"/>
              <a:gd name="connsiteX2" fmla="*/ 4873337 w 5178137"/>
              <a:gd name="connsiteY2" fmla="*/ 1107475 h 1107475"/>
              <a:gd name="connsiteX3" fmla="*/ 0 w 5178137"/>
              <a:gd name="connsiteY3" fmla="*/ 1094222 h 1107475"/>
              <a:gd name="connsiteX4" fmla="*/ 0 w 5178137"/>
              <a:gd name="connsiteY4" fmla="*/ 0 h 1107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78137" h="1107475">
                <a:moveTo>
                  <a:pt x="0" y="0"/>
                </a:moveTo>
                <a:lnTo>
                  <a:pt x="5178137" y="0"/>
                </a:lnTo>
                <a:lnTo>
                  <a:pt x="4873337" y="1107475"/>
                </a:lnTo>
                <a:lnTo>
                  <a:pt x="0" y="1094222"/>
                </a:lnTo>
                <a:lnTo>
                  <a:pt x="0" y="0"/>
                </a:lnTo>
                <a:close/>
              </a:path>
            </a:pathLst>
          </a:custGeom>
          <a:solidFill>
            <a:srgbClr val="D500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240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0DDA7BA-7743-4CEA-95B3-42805EAFB0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809680" y="6510312"/>
            <a:ext cx="6382320" cy="374425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4">
            <a:extLst>
              <a:ext uri="{FF2B5EF4-FFF2-40B4-BE49-F238E27FC236}">
                <a16:creationId xmlns:a16="http://schemas.microsoft.com/office/drawing/2014/main" id="{792A7965-BFFE-4778-99C3-6829F60ED4D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671421" y="1"/>
            <a:ext cx="520579" cy="366183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chemeClr val="bg1"/>
                </a:solidFill>
              </a:defRPr>
            </a:lvl1pPr>
          </a:lstStyle>
          <a:p>
            <a:fld id="{95E63616-A2E2-49CD-8B48-1F006743AC2B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329347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SIGMA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849DC93-5CBB-4C76-8CD4-2BCE47B9D203}"/>
              </a:ext>
            </a:extLst>
          </p:cNvPr>
          <p:cNvSpPr/>
          <p:nvPr/>
        </p:nvSpPr>
        <p:spPr>
          <a:xfrm>
            <a:off x="0" y="6762804"/>
            <a:ext cx="12192000" cy="106704"/>
          </a:xfrm>
          <a:prstGeom prst="rect">
            <a:avLst/>
          </a:prstGeom>
          <a:solidFill>
            <a:srgbClr val="F0523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2400"/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58D22A4B-7949-41FA-A1DE-3A0686E6F6A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671421" y="6547"/>
            <a:ext cx="520579" cy="366183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ysClr val="windowText" lastClr="000000"/>
                </a:solidFill>
              </a:defRPr>
            </a:lvl1pPr>
          </a:lstStyle>
          <a:p>
            <a:fld id="{95E63616-A2E2-49CD-8B48-1F006743AC2B}" type="slidenum">
              <a:rPr lang="en-US" smtClean="0"/>
              <a:pPr/>
              <a:t>‹Nº›</a:t>
            </a:fld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DAE5035-B125-43FE-983C-F10B94C74AD7}"/>
              </a:ext>
            </a:extLst>
          </p:cNvPr>
          <p:cNvGrpSpPr/>
          <p:nvPr/>
        </p:nvGrpSpPr>
        <p:grpSpPr>
          <a:xfrm>
            <a:off x="598153" y="1120045"/>
            <a:ext cx="5095937" cy="5104593"/>
            <a:chOff x="448614" y="840034"/>
            <a:chExt cx="3821953" cy="3828445"/>
          </a:xfrm>
        </p:grpSpPr>
        <p:graphicFrame>
          <p:nvGraphicFramePr>
            <p:cNvPr id="87" name="Content Placeholder 3">
              <a:extLst>
                <a:ext uri="{FF2B5EF4-FFF2-40B4-BE49-F238E27FC236}">
                  <a16:creationId xmlns:a16="http://schemas.microsoft.com/office/drawing/2014/main" id="{86D3238C-0C2E-4A96-8910-715823CD690B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817798995"/>
                </p:ext>
              </p:extLst>
            </p:nvPr>
          </p:nvGraphicFramePr>
          <p:xfrm>
            <a:off x="448614" y="840034"/>
            <a:ext cx="3821953" cy="348373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1619D3BA-D603-42B4-B3FD-CB72FA9AFB67}"/>
                </a:ext>
              </a:extLst>
            </p:cNvPr>
            <p:cNvSpPr txBox="1"/>
            <p:nvPr/>
          </p:nvSpPr>
          <p:spPr>
            <a:xfrm>
              <a:off x="726801" y="4253076"/>
              <a:ext cx="3460323" cy="41540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1219170">
                <a:spcBef>
                  <a:spcPts val="400"/>
                </a:spcBef>
              </a:pPr>
              <a:r>
                <a:rPr lang="en-US" sz="1333">
                  <a:solidFill>
                    <a:srgbClr val="474747"/>
                  </a:solidFill>
                  <a:latin typeface="Calibri" panose="020F0502020204030204"/>
                </a:rPr>
                <a:t>Segment 1	Segment 2	Segment 3	Segment 4</a:t>
              </a:r>
            </a:p>
            <a:p>
              <a:pPr defTabSz="1219170">
                <a:spcBef>
                  <a:spcPts val="400"/>
                </a:spcBef>
              </a:pPr>
              <a:r>
                <a:rPr lang="en-US" sz="1333">
                  <a:solidFill>
                    <a:srgbClr val="474747"/>
                  </a:solidFill>
                  <a:latin typeface="Calibri" panose="020F0502020204030204"/>
                </a:rPr>
                <a:t>Segment 5	Segment 6	Segment 7	Segment 8</a:t>
              </a:r>
            </a:p>
          </p:txBody>
        </p:sp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2579DEBA-E726-4FF8-BCB4-76962045807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8542" y="4316862"/>
              <a:ext cx="137160" cy="137160"/>
            </a:xfrm>
            <a:prstGeom prst="ellipse">
              <a:avLst/>
            </a:prstGeom>
            <a:solidFill>
              <a:srgbClr val="9D2235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AB37A38C-1D99-4942-B8D1-41A1E8F368D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8542" y="4495411"/>
              <a:ext cx="137160" cy="137160"/>
            </a:xfrm>
            <a:prstGeom prst="ellipse">
              <a:avLst/>
            </a:prstGeom>
            <a:solidFill>
              <a:srgbClr val="FFC72C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D5CE2BFE-EB24-4C29-81D4-6AB0B009500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565821" y="4316862"/>
              <a:ext cx="137160" cy="137160"/>
            </a:xfrm>
            <a:prstGeom prst="ellipse">
              <a:avLst/>
            </a:prstGeom>
            <a:solidFill>
              <a:srgbClr val="D50032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" name="Oval 91">
              <a:extLst>
                <a:ext uri="{FF2B5EF4-FFF2-40B4-BE49-F238E27FC236}">
                  <a16:creationId xmlns:a16="http://schemas.microsoft.com/office/drawing/2014/main" id="{809AA273-3668-46AD-B6EC-4C2278A292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565821" y="4495411"/>
              <a:ext cx="137160" cy="137160"/>
            </a:xfrm>
            <a:prstGeom prst="ellipse">
              <a:avLst/>
            </a:prstGeom>
            <a:solidFill>
              <a:srgbClr val="7A9A01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F48CDB9B-730E-4CD1-817E-A0ECABB4AE8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78054" y="4316862"/>
              <a:ext cx="137160" cy="137160"/>
            </a:xfrm>
            <a:prstGeom prst="ellipse">
              <a:avLst/>
            </a:prstGeom>
            <a:solidFill>
              <a:srgbClr val="E04E39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Oval 93">
              <a:extLst>
                <a:ext uri="{FF2B5EF4-FFF2-40B4-BE49-F238E27FC236}">
                  <a16:creationId xmlns:a16="http://schemas.microsoft.com/office/drawing/2014/main" id="{693D9C3A-5613-4D11-A7DD-90B7E1C0B83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78054" y="4495411"/>
              <a:ext cx="137160" cy="137160"/>
            </a:xfrm>
            <a:prstGeom prst="ellipse">
              <a:avLst/>
            </a:prstGeom>
            <a:solidFill>
              <a:srgbClr val="B7BF10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Oval 94">
              <a:extLst>
                <a:ext uri="{FF2B5EF4-FFF2-40B4-BE49-F238E27FC236}">
                  <a16:creationId xmlns:a16="http://schemas.microsoft.com/office/drawing/2014/main" id="{B0892C58-3E0E-4928-A3FF-9C4EBBA3DE2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392454" y="4316862"/>
              <a:ext cx="137160" cy="137160"/>
            </a:xfrm>
            <a:prstGeom prst="ellipse">
              <a:avLst/>
            </a:prstGeom>
            <a:solidFill>
              <a:srgbClr val="EF9600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12B4CC6B-DABB-48A6-A328-BE3200C823B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392454" y="4495411"/>
              <a:ext cx="137160" cy="137160"/>
            </a:xfrm>
            <a:prstGeom prst="ellipse">
              <a:avLst/>
            </a:prstGeom>
            <a:solidFill>
              <a:srgbClr val="BF9474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97" name="Content Placeholder 5">
            <a:extLst>
              <a:ext uri="{FF2B5EF4-FFF2-40B4-BE49-F238E27FC236}">
                <a16:creationId xmlns:a16="http://schemas.microsoft.com/office/drawing/2014/main" id="{67BA4E3E-7532-4375-9B42-A8D6C4067FF3}"/>
              </a:ext>
            </a:extLst>
          </p:cNvPr>
          <p:cNvSpPr txBox="1">
            <a:spLocks/>
          </p:cNvSpPr>
          <p:nvPr/>
        </p:nvSpPr>
        <p:spPr>
          <a:xfrm>
            <a:off x="36314" y="1120045"/>
            <a:ext cx="6322713" cy="30572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133" dirty="0">
                <a:solidFill>
                  <a:srgbClr val="000000"/>
                </a:solidFill>
              </a:rPr>
              <a:t>Chart title goes here</a:t>
            </a:r>
          </a:p>
        </p:txBody>
      </p:sp>
      <p:graphicFrame>
        <p:nvGraphicFramePr>
          <p:cNvPr id="98" name="Content Placeholder 3">
            <a:extLst>
              <a:ext uri="{FF2B5EF4-FFF2-40B4-BE49-F238E27FC236}">
                <a16:creationId xmlns:a16="http://schemas.microsoft.com/office/drawing/2014/main" id="{00BF29D8-5CC3-40B4-BA7E-7B455626984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9582269"/>
              </p:ext>
            </p:extLst>
          </p:nvPr>
        </p:nvGraphicFramePr>
        <p:xfrm>
          <a:off x="6359027" y="1078285"/>
          <a:ext cx="5348351" cy="48750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9" name="Content Placeholder 5">
            <a:extLst>
              <a:ext uri="{FF2B5EF4-FFF2-40B4-BE49-F238E27FC236}">
                <a16:creationId xmlns:a16="http://schemas.microsoft.com/office/drawing/2014/main" id="{75DCF72A-7156-4BD8-988E-FBDBB0498868}"/>
              </a:ext>
            </a:extLst>
          </p:cNvPr>
          <p:cNvSpPr txBox="1">
            <a:spLocks/>
          </p:cNvSpPr>
          <p:nvPr/>
        </p:nvSpPr>
        <p:spPr>
          <a:xfrm>
            <a:off x="6402851" y="1169631"/>
            <a:ext cx="4618915" cy="30573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133" dirty="0">
                <a:solidFill>
                  <a:srgbClr val="000000"/>
                </a:solidFill>
                <a:latin typeface="Calibri" panose="020F0502020204030204"/>
              </a:rPr>
              <a:t>Chart title goes her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031599D-4475-4F2A-90B8-A00A96F8D640}"/>
              </a:ext>
            </a:extLst>
          </p:cNvPr>
          <p:cNvSpPr txBox="1"/>
          <p:nvPr/>
        </p:nvSpPr>
        <p:spPr>
          <a:xfrm>
            <a:off x="296603" y="492242"/>
            <a:ext cx="797376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latin typeface="Calibri" panose="020F0502020204030204" pitchFamily="34" charset="0"/>
                <a:cs typeface="Calibri" panose="020F0502020204030204" pitchFamily="34" charset="0"/>
              </a:rPr>
              <a:t>Chart specifications/ </a:t>
            </a:r>
            <a:r>
              <a:rPr lang="en-US" sz="2400" b="1" dirty="0" err="1">
                <a:latin typeface="Calibri" panose="020F0502020204030204" pitchFamily="34" charset="0"/>
                <a:cs typeface="Calibri" panose="020F0502020204030204" pitchFamily="34" charset="0"/>
              </a:rPr>
              <a:t>Especificaciones</a:t>
            </a:r>
            <a:r>
              <a:rPr lang="en-US" sz="2400" b="1" dirty="0">
                <a:latin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sz="2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ablas</a:t>
            </a:r>
            <a:endParaRPr lang="es-MX" sz="2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BD958C4-6AA1-46CA-A964-B1FFE07091B3}"/>
              </a:ext>
            </a:extLst>
          </p:cNvPr>
          <p:cNvSpPr/>
          <p:nvPr/>
        </p:nvSpPr>
        <p:spPr>
          <a:xfrm>
            <a:off x="467577" y="990641"/>
            <a:ext cx="1199984" cy="93953"/>
          </a:xfrm>
          <a:prstGeom prst="rect">
            <a:avLst/>
          </a:prstGeom>
          <a:solidFill>
            <a:srgbClr val="F05238"/>
          </a:solidFill>
          <a:ln w="2857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9FA3C506-5E67-4D95-BA71-071AC64E349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479657" y="6377611"/>
            <a:ext cx="585267" cy="341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805081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IGMA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849DC93-5CBB-4C76-8CD4-2BCE47B9D203}"/>
              </a:ext>
            </a:extLst>
          </p:cNvPr>
          <p:cNvSpPr/>
          <p:nvPr/>
        </p:nvSpPr>
        <p:spPr>
          <a:xfrm>
            <a:off x="0" y="6762804"/>
            <a:ext cx="12192000" cy="106704"/>
          </a:xfrm>
          <a:prstGeom prst="rect">
            <a:avLst/>
          </a:prstGeom>
          <a:solidFill>
            <a:srgbClr val="F0523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2400"/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58D22A4B-7949-41FA-A1DE-3A0686E6F6A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671421" y="1"/>
            <a:ext cx="520579" cy="366183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ysClr val="windowText" lastClr="000000"/>
                </a:solidFill>
              </a:defRPr>
            </a:lvl1pPr>
          </a:lstStyle>
          <a:p>
            <a:fld id="{95E63616-A2E2-49CD-8B48-1F006743AC2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F75C786-728D-49F7-8B27-BB74C5F940C6}"/>
              </a:ext>
            </a:extLst>
          </p:cNvPr>
          <p:cNvSpPr/>
          <p:nvPr/>
        </p:nvSpPr>
        <p:spPr>
          <a:xfrm>
            <a:off x="657273" y="1039554"/>
            <a:ext cx="1090895" cy="85412"/>
          </a:xfrm>
          <a:prstGeom prst="rect">
            <a:avLst/>
          </a:prstGeom>
          <a:solidFill>
            <a:srgbClr val="F05238"/>
          </a:solidFill>
          <a:ln w="2857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graphicFrame>
        <p:nvGraphicFramePr>
          <p:cNvPr id="36" name="object 19">
            <a:extLst>
              <a:ext uri="{FF2B5EF4-FFF2-40B4-BE49-F238E27FC236}">
                <a16:creationId xmlns:a16="http://schemas.microsoft.com/office/drawing/2014/main" id="{DE9D559A-9785-4AFD-942D-BB2CE26D5D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2419875"/>
              </p:ext>
            </p:extLst>
          </p:nvPr>
        </p:nvGraphicFramePr>
        <p:xfrm>
          <a:off x="8359575" y="2315030"/>
          <a:ext cx="7311198" cy="738909"/>
        </p:xfrm>
        <a:graphic>
          <a:graphicData uri="http://schemas.openxmlformats.org/drawingml/2006/table">
            <a:tbl>
              <a:tblPr firstRow="1" bandRow="1"/>
              <a:tblGrid>
                <a:gridCol w="12185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85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1853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853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1853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1853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69455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575"/>
                        </a:spcBef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gma </a:t>
                      </a:r>
                      <a:br>
                        <a:rPr lang="en-US" sz="1200" b="1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</a:br>
                      <a:r>
                        <a:rPr lang="en-US" sz="1200" b="1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Light</a:t>
                      </a:r>
                      <a:r>
                        <a:rPr lang="en-US" sz="1200" b="1" kern="12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Green</a:t>
                      </a:r>
                      <a:endParaRPr sz="120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575"/>
                        </a:spcBef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gma </a:t>
                      </a:r>
                      <a:br>
                        <a:rPr lang="en-US" sz="1200" b="1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</a:br>
                      <a:r>
                        <a:rPr lang="en-US" sz="1200" b="1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edium Gray</a:t>
                      </a:r>
                      <a:endParaRPr sz="120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575"/>
                        </a:spcBef>
                      </a:pPr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gma </a:t>
                      </a:r>
                      <a:br>
                        <a:rPr lang="en-US" sz="1200" b="1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</a:br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Light Gray</a:t>
                      </a:r>
                      <a:endParaRPr sz="1200" b="1" kern="120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334"/>
                        </a:spcBef>
                      </a:pPr>
                      <a:endParaRPr sz="1200" b="1" kern="120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334"/>
                        </a:spcBef>
                      </a:pPr>
                      <a:endParaRPr sz="12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endParaRPr sz="12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4727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140"/>
                        </a:spcBef>
                      </a:pPr>
                      <a:r>
                        <a:rPr lang="en-US" sz="12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183 G191 B16</a:t>
                      </a:r>
                      <a:endParaRPr sz="1200" kern="120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140"/>
                        </a:spcBef>
                      </a:pPr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191 G148 B116</a:t>
                      </a:r>
                      <a:endParaRPr sz="120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110"/>
                        </a:spcBef>
                      </a:pPr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220 G191 B166</a:t>
                      </a:r>
                      <a:endParaRPr sz="120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1200" kern="120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4727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140"/>
                        </a:spcBef>
                      </a:pPr>
                      <a:r>
                        <a:rPr lang="en-US" sz="12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#B7BF10</a:t>
                      </a:r>
                      <a:endParaRPr sz="1200" kern="120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140"/>
                        </a:spcBef>
                      </a:pPr>
                      <a:r>
                        <a:rPr lang="en-US" sz="12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#BF9474</a:t>
                      </a:r>
                      <a:endParaRPr sz="1200" kern="120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110"/>
                        </a:spcBef>
                      </a:pPr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#DCBFA6</a:t>
                      </a:r>
                      <a:endParaRPr sz="120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120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9" name="object 7">
            <a:extLst>
              <a:ext uri="{FF2B5EF4-FFF2-40B4-BE49-F238E27FC236}">
                <a16:creationId xmlns:a16="http://schemas.microsoft.com/office/drawing/2014/main" id="{E7D777F5-3667-43A0-8D0C-C6AFEC9260FF}"/>
              </a:ext>
            </a:extLst>
          </p:cNvPr>
          <p:cNvSpPr/>
          <p:nvPr/>
        </p:nvSpPr>
        <p:spPr>
          <a:xfrm>
            <a:off x="6886285" y="1348848"/>
            <a:ext cx="850288" cy="850288"/>
          </a:xfrm>
          <a:prstGeom prst="ellipse">
            <a:avLst/>
          </a:prstGeom>
          <a:solidFill>
            <a:srgbClr val="7A9A01"/>
          </a:solidFill>
        </p:spPr>
        <p:txBody>
          <a:bodyPr wrap="square" lIns="0" tIns="0" rIns="0" bIns="0" rtlCol="0"/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353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40" name="object 8">
            <a:extLst>
              <a:ext uri="{FF2B5EF4-FFF2-40B4-BE49-F238E27FC236}">
                <a16:creationId xmlns:a16="http://schemas.microsoft.com/office/drawing/2014/main" id="{5389A773-0C14-4B24-B27F-09538AF44533}"/>
              </a:ext>
            </a:extLst>
          </p:cNvPr>
          <p:cNvSpPr/>
          <p:nvPr/>
        </p:nvSpPr>
        <p:spPr>
          <a:xfrm>
            <a:off x="4285913" y="1348848"/>
            <a:ext cx="850288" cy="850288"/>
          </a:xfrm>
          <a:prstGeom prst="ellipse">
            <a:avLst/>
          </a:prstGeom>
          <a:solidFill>
            <a:srgbClr val="EF9600"/>
          </a:solidFill>
        </p:spPr>
        <p:txBody>
          <a:bodyPr wrap="square" lIns="0" tIns="0" rIns="0" bIns="0" rtlCol="0"/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353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41" name="object 9">
            <a:extLst>
              <a:ext uri="{FF2B5EF4-FFF2-40B4-BE49-F238E27FC236}">
                <a16:creationId xmlns:a16="http://schemas.microsoft.com/office/drawing/2014/main" id="{185765CD-D2E8-424C-AEAC-DE53A0A967A0}"/>
              </a:ext>
            </a:extLst>
          </p:cNvPr>
          <p:cNvSpPr/>
          <p:nvPr/>
        </p:nvSpPr>
        <p:spPr>
          <a:xfrm>
            <a:off x="5586099" y="1348848"/>
            <a:ext cx="850288" cy="850288"/>
          </a:xfrm>
          <a:prstGeom prst="ellipse">
            <a:avLst/>
          </a:prstGeom>
          <a:solidFill>
            <a:srgbClr val="FFC72C"/>
          </a:solidFill>
        </p:spPr>
        <p:txBody>
          <a:bodyPr wrap="square" lIns="0" tIns="0" rIns="0" bIns="0" rtlCol="0"/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353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43" name="object 17">
            <a:extLst>
              <a:ext uri="{FF2B5EF4-FFF2-40B4-BE49-F238E27FC236}">
                <a16:creationId xmlns:a16="http://schemas.microsoft.com/office/drawing/2014/main" id="{F91A5CE0-CD77-4224-BC89-4EF56EF50E92}"/>
              </a:ext>
            </a:extLst>
          </p:cNvPr>
          <p:cNvSpPr/>
          <p:nvPr/>
        </p:nvSpPr>
        <p:spPr>
          <a:xfrm>
            <a:off x="1685541" y="1350401"/>
            <a:ext cx="850288" cy="850288"/>
          </a:xfrm>
          <a:prstGeom prst="ellipse">
            <a:avLst/>
          </a:prstGeom>
          <a:solidFill>
            <a:srgbClr val="D50032"/>
          </a:solidFill>
        </p:spPr>
        <p:txBody>
          <a:bodyPr wrap="square" lIns="0" tIns="0" rIns="0" bIns="0" rtlCol="0"/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353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44" name="object 18">
            <a:extLst>
              <a:ext uri="{FF2B5EF4-FFF2-40B4-BE49-F238E27FC236}">
                <a16:creationId xmlns:a16="http://schemas.microsoft.com/office/drawing/2014/main" id="{05E61EAF-7165-4564-B319-77E9F370A4B9}"/>
              </a:ext>
            </a:extLst>
          </p:cNvPr>
          <p:cNvSpPr/>
          <p:nvPr/>
        </p:nvSpPr>
        <p:spPr>
          <a:xfrm>
            <a:off x="2985727" y="1350401"/>
            <a:ext cx="850288" cy="850288"/>
          </a:xfrm>
          <a:prstGeom prst="ellipse">
            <a:avLst/>
          </a:prstGeom>
          <a:solidFill>
            <a:srgbClr val="E04E39"/>
          </a:solidFill>
        </p:spPr>
        <p:txBody>
          <a:bodyPr wrap="square" lIns="0" tIns="0" rIns="0" bIns="0" rtlCol="0"/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353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graphicFrame>
        <p:nvGraphicFramePr>
          <p:cNvPr id="45" name="object 19">
            <a:extLst>
              <a:ext uri="{FF2B5EF4-FFF2-40B4-BE49-F238E27FC236}">
                <a16:creationId xmlns:a16="http://schemas.microsoft.com/office/drawing/2014/main" id="{F6D02C9F-C6DD-4CFB-9E6C-F89B600E9D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6941619"/>
              </p:ext>
            </p:extLst>
          </p:nvPr>
        </p:nvGraphicFramePr>
        <p:xfrm>
          <a:off x="471861" y="2315942"/>
          <a:ext cx="7643502" cy="738909"/>
        </p:xfrm>
        <a:graphic>
          <a:graphicData uri="http://schemas.openxmlformats.org/drawingml/2006/table">
            <a:tbl>
              <a:tblPr firstRow="1" bandRow="1"/>
              <a:tblGrid>
                <a:gridCol w="12739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7391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7391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7391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7391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7391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69455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575"/>
                        </a:spcBef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gma </a:t>
                      </a:r>
                      <a:br>
                        <a:rPr lang="en-US" sz="1200" b="1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</a:br>
                      <a:r>
                        <a:rPr lang="en-US" sz="1200" b="1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ark Red</a:t>
                      </a:r>
                      <a:endParaRPr sz="120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575"/>
                        </a:spcBef>
                      </a:pPr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gma </a:t>
                      </a:r>
                      <a:br>
                        <a:rPr lang="en-US" sz="1200" b="1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</a:br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d</a:t>
                      </a:r>
                      <a:endParaRPr sz="1200" b="1" kern="120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575"/>
                        </a:spcBef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gma </a:t>
                      </a:r>
                      <a:br>
                        <a:rPr lang="en-US" sz="1200" b="1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</a:br>
                      <a:r>
                        <a:rPr lang="en-US" sz="1200" b="1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range</a:t>
                      </a:r>
                      <a:endParaRPr sz="120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334"/>
                        </a:spcBef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gma </a:t>
                      </a:r>
                      <a:br>
                        <a:rPr lang="en-US" sz="1200" b="1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</a:br>
                      <a:r>
                        <a:rPr lang="en-US" sz="1200" b="1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Light Orange</a:t>
                      </a:r>
                      <a:endParaRPr sz="120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334"/>
                        </a:spcBef>
                      </a:pPr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gma </a:t>
                      </a:r>
                      <a:br>
                        <a:rPr lang="en-US" sz="1200" b="1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</a:br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Yellow</a:t>
                      </a:r>
                      <a:endParaRPr sz="1200" b="1" kern="120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gma </a:t>
                      </a:r>
                      <a:br>
                        <a:rPr lang="en-US" sz="1200" b="1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</a:br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reen</a:t>
                      </a:r>
                      <a:endParaRPr sz="1200" b="1" kern="120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4727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140"/>
                        </a:spcBef>
                      </a:pPr>
                      <a:r>
                        <a:rPr lang="en-US" sz="12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157 G34 B53</a:t>
                      </a:r>
                      <a:endParaRPr sz="1200" kern="120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140"/>
                        </a:spcBef>
                      </a:pPr>
                      <a:r>
                        <a:rPr lang="en-US" sz="12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213 G0 B50</a:t>
                      </a:r>
                      <a:endParaRPr sz="1200" kern="120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110"/>
                        </a:spcBef>
                      </a:pPr>
                      <a:r>
                        <a:rPr lang="en-US" sz="12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224 G78 B57</a:t>
                      </a:r>
                      <a:endParaRPr sz="1200" kern="120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r>
                        <a:rPr lang="en-US" sz="12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239 G150 B0</a:t>
                      </a:r>
                      <a:endParaRPr sz="1200" kern="120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r>
                        <a:rPr lang="en-US" sz="12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255 G199 B44</a:t>
                      </a:r>
                      <a:endParaRPr sz="1200" kern="120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r>
                        <a:rPr lang="en-US" sz="12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122 G154 B1</a:t>
                      </a:r>
                      <a:endParaRPr sz="1200" kern="120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4727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140"/>
                        </a:spcBef>
                      </a:pPr>
                      <a:r>
                        <a:rPr lang="en-US" sz="12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#9D2235</a:t>
                      </a:r>
                      <a:endParaRPr sz="1200" kern="120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140"/>
                        </a:spcBef>
                      </a:pPr>
                      <a:r>
                        <a:rPr lang="en-US" sz="12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#D50032</a:t>
                      </a:r>
                      <a:endParaRPr sz="1200" kern="120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110"/>
                        </a:spcBef>
                      </a:pPr>
                      <a:r>
                        <a:rPr lang="en-US" sz="12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#E04E39</a:t>
                      </a:r>
                      <a:endParaRPr sz="1200" kern="120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r>
                        <a:rPr lang="en-US" sz="12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#EF9600</a:t>
                      </a:r>
                      <a:endParaRPr sz="1200" kern="120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r>
                        <a:rPr lang="en-US" sz="12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#FFC72C</a:t>
                      </a:r>
                      <a:endParaRPr sz="1200" kern="120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#7A9A01</a:t>
                      </a:r>
                      <a:endParaRPr sz="120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46" name="object 9">
            <a:extLst>
              <a:ext uri="{FF2B5EF4-FFF2-40B4-BE49-F238E27FC236}">
                <a16:creationId xmlns:a16="http://schemas.microsoft.com/office/drawing/2014/main" id="{06263CF3-D2CF-46CF-8614-9F7431AFAA24}"/>
              </a:ext>
            </a:extLst>
          </p:cNvPr>
          <p:cNvSpPr/>
          <p:nvPr/>
        </p:nvSpPr>
        <p:spPr>
          <a:xfrm>
            <a:off x="385356" y="1350401"/>
            <a:ext cx="850288" cy="850288"/>
          </a:xfrm>
          <a:prstGeom prst="ellipse">
            <a:avLst/>
          </a:prstGeom>
          <a:solidFill>
            <a:srgbClr val="9D2235"/>
          </a:solidFill>
        </p:spPr>
        <p:txBody>
          <a:bodyPr wrap="square" lIns="0" tIns="0" rIns="0" bIns="0" rtlCol="0"/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353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47" name="object 17">
            <a:extLst>
              <a:ext uri="{FF2B5EF4-FFF2-40B4-BE49-F238E27FC236}">
                <a16:creationId xmlns:a16="http://schemas.microsoft.com/office/drawing/2014/main" id="{CC423B5F-6866-4781-B652-54FF472C2B24}"/>
              </a:ext>
            </a:extLst>
          </p:cNvPr>
          <p:cNvSpPr/>
          <p:nvPr/>
        </p:nvSpPr>
        <p:spPr>
          <a:xfrm>
            <a:off x="9576475" y="1337415"/>
            <a:ext cx="850288" cy="850288"/>
          </a:xfrm>
          <a:prstGeom prst="ellipse">
            <a:avLst/>
          </a:prstGeom>
          <a:solidFill>
            <a:srgbClr val="BF9474"/>
          </a:solidFill>
        </p:spPr>
        <p:txBody>
          <a:bodyPr wrap="square" lIns="0" tIns="0" rIns="0" bIns="0" rtlCol="0"/>
          <a:lstStyle/>
          <a:p>
            <a:pPr defTabSz="1219170"/>
            <a:endParaRPr sz="2353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8" name="object 9">
            <a:extLst>
              <a:ext uri="{FF2B5EF4-FFF2-40B4-BE49-F238E27FC236}">
                <a16:creationId xmlns:a16="http://schemas.microsoft.com/office/drawing/2014/main" id="{0F044A22-0A1F-4745-9E31-8F872B7573FC}"/>
              </a:ext>
            </a:extLst>
          </p:cNvPr>
          <p:cNvSpPr/>
          <p:nvPr/>
        </p:nvSpPr>
        <p:spPr>
          <a:xfrm>
            <a:off x="8276289" y="1337415"/>
            <a:ext cx="850288" cy="850288"/>
          </a:xfrm>
          <a:prstGeom prst="ellipse">
            <a:avLst/>
          </a:prstGeom>
          <a:solidFill>
            <a:srgbClr val="B7BF10"/>
          </a:solidFill>
        </p:spPr>
        <p:txBody>
          <a:bodyPr wrap="square" lIns="0" tIns="0" rIns="0" bIns="0" rtlCol="0"/>
          <a:lstStyle/>
          <a:p>
            <a:pPr defTabSz="1219170"/>
            <a:endParaRPr sz="2353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0" name="object 18">
            <a:extLst>
              <a:ext uri="{FF2B5EF4-FFF2-40B4-BE49-F238E27FC236}">
                <a16:creationId xmlns:a16="http://schemas.microsoft.com/office/drawing/2014/main" id="{DB309510-E7D5-4DB6-8006-62F722262BCB}"/>
              </a:ext>
            </a:extLst>
          </p:cNvPr>
          <p:cNvSpPr/>
          <p:nvPr/>
        </p:nvSpPr>
        <p:spPr>
          <a:xfrm>
            <a:off x="10876660" y="1337415"/>
            <a:ext cx="850288" cy="850288"/>
          </a:xfrm>
          <a:prstGeom prst="ellipse">
            <a:avLst/>
          </a:prstGeom>
          <a:solidFill>
            <a:srgbClr val="DCBFA6"/>
          </a:solidFill>
        </p:spPr>
        <p:txBody>
          <a:bodyPr wrap="square" lIns="0" tIns="0" rIns="0" bIns="0" rtlCol="0"/>
          <a:lstStyle/>
          <a:p>
            <a:pPr defTabSz="1219170"/>
            <a:endParaRPr sz="2353">
              <a:solidFill>
                <a:prstClr val="black"/>
              </a:solidFill>
              <a:latin typeface="Calibri" panose="020F0502020204030204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616827D-4A79-470E-B8B8-316EE82A6A3A}"/>
              </a:ext>
            </a:extLst>
          </p:cNvPr>
          <p:cNvGrpSpPr/>
          <p:nvPr/>
        </p:nvGrpSpPr>
        <p:grpSpPr>
          <a:xfrm>
            <a:off x="2120915" y="3214141"/>
            <a:ext cx="8213213" cy="3341692"/>
            <a:chOff x="1017751" y="1598332"/>
            <a:chExt cx="10033256" cy="4082209"/>
          </a:xfrm>
        </p:grpSpPr>
        <p:pic>
          <p:nvPicPr>
            <p:cNvPr id="60" name="Picture 59">
              <a:extLst>
                <a:ext uri="{FF2B5EF4-FFF2-40B4-BE49-F238E27FC236}">
                  <a16:creationId xmlns:a16="http://schemas.microsoft.com/office/drawing/2014/main" id="{C368C619-07BD-4F8D-A8ED-11DB440A0F9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757595" y="4369530"/>
              <a:ext cx="1203269" cy="1278473"/>
            </a:xfrm>
            <a:prstGeom prst="rect">
              <a:avLst/>
            </a:prstGeom>
          </p:spPr>
        </p:pic>
        <p:pic>
          <p:nvPicPr>
            <p:cNvPr id="61" name="Picture 60">
              <a:extLst>
                <a:ext uri="{FF2B5EF4-FFF2-40B4-BE49-F238E27FC236}">
                  <a16:creationId xmlns:a16="http://schemas.microsoft.com/office/drawing/2014/main" id="{5F60116C-A6DC-4B61-9F3C-006443CC811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885818" y="4426415"/>
              <a:ext cx="1033459" cy="1098050"/>
            </a:xfrm>
            <a:prstGeom prst="rect">
              <a:avLst/>
            </a:prstGeom>
          </p:spPr>
        </p:pic>
        <p:pic>
          <p:nvPicPr>
            <p:cNvPr id="62" name="Picture 61">
              <a:extLst>
                <a:ext uri="{FF2B5EF4-FFF2-40B4-BE49-F238E27FC236}">
                  <a16:creationId xmlns:a16="http://schemas.microsoft.com/office/drawing/2014/main" id="{971B531D-EF8E-4443-B04F-DB1F7A8B62E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019276" y="1742591"/>
              <a:ext cx="948812" cy="1008113"/>
            </a:xfrm>
            <a:prstGeom prst="rect">
              <a:avLst/>
            </a:prstGeom>
          </p:spPr>
        </p:pic>
        <p:pic>
          <p:nvPicPr>
            <p:cNvPr id="63" name="Picture 62">
              <a:extLst>
                <a:ext uri="{FF2B5EF4-FFF2-40B4-BE49-F238E27FC236}">
                  <a16:creationId xmlns:a16="http://schemas.microsoft.com/office/drawing/2014/main" id="{0141CCD6-08E6-479D-8BD5-57609AFA21D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015503" y="1780607"/>
              <a:ext cx="913033" cy="970097"/>
            </a:xfrm>
            <a:prstGeom prst="rect">
              <a:avLst/>
            </a:prstGeom>
          </p:spPr>
        </p:pic>
        <p:pic>
          <p:nvPicPr>
            <p:cNvPr id="64" name="Picture 63">
              <a:extLst>
                <a:ext uri="{FF2B5EF4-FFF2-40B4-BE49-F238E27FC236}">
                  <a16:creationId xmlns:a16="http://schemas.microsoft.com/office/drawing/2014/main" id="{1EDB056D-3740-4016-BE9E-F0865F4BA71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0070180" y="3027690"/>
              <a:ext cx="980827" cy="1042129"/>
            </a:xfrm>
            <a:prstGeom prst="rect">
              <a:avLst/>
            </a:prstGeom>
          </p:spPr>
        </p:pic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E9890E15-8CB0-44EC-9744-F95DEA78EC1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769530" y="1659580"/>
              <a:ext cx="1155233" cy="1227435"/>
            </a:xfrm>
            <a:prstGeom prst="rect">
              <a:avLst/>
            </a:prstGeom>
          </p:spPr>
        </p:pic>
        <p:pic>
          <p:nvPicPr>
            <p:cNvPr id="66" name="Picture 65">
              <a:extLst>
                <a:ext uri="{FF2B5EF4-FFF2-40B4-BE49-F238E27FC236}">
                  <a16:creationId xmlns:a16="http://schemas.microsoft.com/office/drawing/2014/main" id="{AD63F477-E114-4505-BE1F-6D246481D47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273944" y="1598332"/>
              <a:ext cx="1270525" cy="1349933"/>
            </a:xfrm>
            <a:prstGeom prst="rect">
              <a:avLst/>
            </a:prstGeom>
          </p:spPr>
        </p:pic>
        <p:pic>
          <p:nvPicPr>
            <p:cNvPr id="67" name="Picture 66">
              <a:extLst>
                <a:ext uri="{FF2B5EF4-FFF2-40B4-BE49-F238E27FC236}">
                  <a16:creationId xmlns:a16="http://schemas.microsoft.com/office/drawing/2014/main" id="{76E671DF-07E0-49D0-8CE2-F5A1487C4C1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129453" y="4507037"/>
              <a:ext cx="973586" cy="1034436"/>
            </a:xfrm>
            <a:prstGeom prst="rect">
              <a:avLst/>
            </a:prstGeom>
          </p:spPr>
        </p:pic>
        <p:pic>
          <p:nvPicPr>
            <p:cNvPr id="68" name="Picture 67">
              <a:extLst>
                <a:ext uri="{FF2B5EF4-FFF2-40B4-BE49-F238E27FC236}">
                  <a16:creationId xmlns:a16="http://schemas.microsoft.com/office/drawing/2014/main" id="{22B4CF2E-6FA4-4BE0-8070-6F331139CE6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3193233" y="4485202"/>
              <a:ext cx="1094401" cy="1162801"/>
            </a:xfrm>
            <a:prstGeom prst="rect">
              <a:avLst/>
            </a:prstGeom>
          </p:spPr>
        </p:pic>
        <p:pic>
          <p:nvPicPr>
            <p:cNvPr id="69" name="Picture 68">
              <a:extLst>
                <a:ext uri="{FF2B5EF4-FFF2-40B4-BE49-F238E27FC236}">
                  <a16:creationId xmlns:a16="http://schemas.microsoft.com/office/drawing/2014/main" id="{CD94CB8E-F8A1-4673-A2CB-EA4319CFDBA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1017751" y="1813286"/>
              <a:ext cx="1094401" cy="1162801"/>
            </a:xfrm>
            <a:prstGeom prst="rect">
              <a:avLst/>
            </a:prstGeom>
          </p:spPr>
        </p:pic>
        <p:pic>
          <p:nvPicPr>
            <p:cNvPr id="70" name="Picture 69">
              <a:extLst>
                <a:ext uri="{FF2B5EF4-FFF2-40B4-BE49-F238E27FC236}">
                  <a16:creationId xmlns:a16="http://schemas.microsoft.com/office/drawing/2014/main" id="{40C026C3-8089-4DFB-A316-D0767A15199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1065530" y="4474380"/>
              <a:ext cx="993118" cy="1055188"/>
            </a:xfrm>
            <a:prstGeom prst="rect">
              <a:avLst/>
            </a:prstGeom>
          </p:spPr>
        </p:pic>
        <p:pic>
          <p:nvPicPr>
            <p:cNvPr id="71" name="Picture 70">
              <a:extLst>
                <a:ext uri="{FF2B5EF4-FFF2-40B4-BE49-F238E27FC236}">
                  <a16:creationId xmlns:a16="http://schemas.microsoft.com/office/drawing/2014/main" id="{957BAE87-964F-4A19-AAD5-C8BF84FF4A8F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5557972" y="1790982"/>
              <a:ext cx="1094401" cy="1162801"/>
            </a:xfrm>
            <a:prstGeom prst="rect">
              <a:avLst/>
            </a:prstGeom>
          </p:spPr>
        </p:pic>
        <p:pic>
          <p:nvPicPr>
            <p:cNvPr id="72" name="Picture 71">
              <a:extLst>
                <a:ext uri="{FF2B5EF4-FFF2-40B4-BE49-F238E27FC236}">
                  <a16:creationId xmlns:a16="http://schemas.microsoft.com/office/drawing/2014/main" id="{D7296451-3654-46A5-B120-4602562AD66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5459455" y="4378672"/>
              <a:ext cx="1094401" cy="1162801"/>
            </a:xfrm>
            <a:prstGeom prst="rect">
              <a:avLst/>
            </a:prstGeom>
          </p:spPr>
        </p:pic>
        <p:pic>
          <p:nvPicPr>
            <p:cNvPr id="73" name="Picture 72">
              <a:extLst>
                <a:ext uri="{FF2B5EF4-FFF2-40B4-BE49-F238E27FC236}">
                  <a16:creationId xmlns:a16="http://schemas.microsoft.com/office/drawing/2014/main" id="{AE05664A-A43B-4E96-A250-7841D5FFD734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1515730" y="3143885"/>
              <a:ext cx="1094401" cy="1162801"/>
            </a:xfrm>
            <a:prstGeom prst="rect">
              <a:avLst/>
            </a:prstGeom>
          </p:spPr>
        </p:pic>
        <p:pic>
          <p:nvPicPr>
            <p:cNvPr id="74" name="Picture 73">
              <a:extLst>
                <a:ext uri="{FF2B5EF4-FFF2-40B4-BE49-F238E27FC236}">
                  <a16:creationId xmlns:a16="http://schemas.microsoft.com/office/drawing/2014/main" id="{FFF37B11-1E8F-4244-BB04-ADA5741CD389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6609074" y="1805280"/>
              <a:ext cx="1094401" cy="1162801"/>
            </a:xfrm>
            <a:prstGeom prst="rect">
              <a:avLst/>
            </a:prstGeom>
          </p:spPr>
        </p:pic>
        <p:pic>
          <p:nvPicPr>
            <p:cNvPr id="75" name="Picture 74">
              <a:extLst>
                <a:ext uri="{FF2B5EF4-FFF2-40B4-BE49-F238E27FC236}">
                  <a16:creationId xmlns:a16="http://schemas.microsoft.com/office/drawing/2014/main" id="{D2BBB4F8-F4D4-4E1E-B18D-662A61D705DF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6571754" y="4441430"/>
              <a:ext cx="1166222" cy="1239111"/>
            </a:xfrm>
            <a:prstGeom prst="rect">
              <a:avLst/>
            </a:prstGeom>
          </p:spPr>
        </p:pic>
        <p:pic>
          <p:nvPicPr>
            <p:cNvPr id="76" name="Picture 75">
              <a:extLst>
                <a:ext uri="{FF2B5EF4-FFF2-40B4-BE49-F238E27FC236}">
                  <a16:creationId xmlns:a16="http://schemas.microsoft.com/office/drawing/2014/main" id="{7CE3544D-1542-46AD-A7A6-D4D240640332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4444516" y="4553024"/>
              <a:ext cx="919100" cy="976544"/>
            </a:xfrm>
            <a:prstGeom prst="rect">
              <a:avLst/>
            </a:prstGeom>
          </p:spPr>
        </p:pic>
        <p:pic>
          <p:nvPicPr>
            <p:cNvPr id="77" name="Picture 76">
              <a:extLst>
                <a:ext uri="{FF2B5EF4-FFF2-40B4-BE49-F238E27FC236}">
                  <a16:creationId xmlns:a16="http://schemas.microsoft.com/office/drawing/2014/main" id="{FC21765B-B238-43C3-AC62-D4B61E7CA150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2560605" y="3042957"/>
              <a:ext cx="1094401" cy="1162801"/>
            </a:xfrm>
            <a:prstGeom prst="rect">
              <a:avLst/>
            </a:prstGeom>
          </p:spPr>
        </p:pic>
        <p:pic>
          <p:nvPicPr>
            <p:cNvPr id="78" name="Picture 77">
              <a:extLst>
                <a:ext uri="{FF2B5EF4-FFF2-40B4-BE49-F238E27FC236}">
                  <a16:creationId xmlns:a16="http://schemas.microsoft.com/office/drawing/2014/main" id="{1DAA091A-8362-4C88-9784-50799E092CA9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3076696" y="1876417"/>
              <a:ext cx="1027448" cy="1091664"/>
            </a:xfrm>
            <a:prstGeom prst="rect">
              <a:avLst/>
            </a:prstGeom>
          </p:spPr>
        </p:pic>
        <p:pic>
          <p:nvPicPr>
            <p:cNvPr id="79" name="Picture 78">
              <a:extLst>
                <a:ext uri="{FF2B5EF4-FFF2-40B4-BE49-F238E27FC236}">
                  <a16:creationId xmlns:a16="http://schemas.microsoft.com/office/drawing/2014/main" id="{76AC4780-4692-4370-B500-38F585279768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2099176" y="1816698"/>
              <a:ext cx="966605" cy="1027018"/>
            </a:xfrm>
            <a:prstGeom prst="rect">
              <a:avLst/>
            </a:prstGeom>
          </p:spPr>
        </p:pic>
        <p:pic>
          <p:nvPicPr>
            <p:cNvPr id="80" name="Picture 79">
              <a:extLst>
                <a:ext uri="{FF2B5EF4-FFF2-40B4-BE49-F238E27FC236}">
                  <a16:creationId xmlns:a16="http://schemas.microsoft.com/office/drawing/2014/main" id="{4A3666F3-24B5-4841-8D17-9036197F9734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6173585" y="3177566"/>
              <a:ext cx="899577" cy="955801"/>
            </a:xfrm>
            <a:prstGeom prst="rect">
              <a:avLst/>
            </a:prstGeom>
          </p:spPr>
        </p:pic>
        <p:pic>
          <p:nvPicPr>
            <p:cNvPr id="81" name="Picture 80">
              <a:extLst>
                <a:ext uri="{FF2B5EF4-FFF2-40B4-BE49-F238E27FC236}">
                  <a16:creationId xmlns:a16="http://schemas.microsoft.com/office/drawing/2014/main" id="{7042F83B-2923-4925-92BF-C2BC72F77F40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3816796" y="3170535"/>
              <a:ext cx="957600" cy="1017450"/>
            </a:xfrm>
            <a:prstGeom prst="rect">
              <a:avLst/>
            </a:prstGeom>
          </p:spPr>
        </p:pic>
        <p:pic>
          <p:nvPicPr>
            <p:cNvPr id="82" name="Picture 81">
              <a:extLst>
                <a:ext uri="{FF2B5EF4-FFF2-40B4-BE49-F238E27FC236}">
                  <a16:creationId xmlns:a16="http://schemas.microsoft.com/office/drawing/2014/main" id="{EB62A053-700F-411E-B2AE-6096A171B225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4953640" y="3011941"/>
              <a:ext cx="1094401" cy="1162801"/>
            </a:xfrm>
            <a:prstGeom prst="rect">
              <a:avLst/>
            </a:prstGeom>
          </p:spPr>
        </p:pic>
        <p:pic>
          <p:nvPicPr>
            <p:cNvPr id="83" name="Picture 82">
              <a:extLst>
                <a:ext uri="{FF2B5EF4-FFF2-40B4-BE49-F238E27FC236}">
                  <a16:creationId xmlns:a16="http://schemas.microsoft.com/office/drawing/2014/main" id="{873FCB3E-4A9A-4F3C-A941-44C38482C621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7087323" y="3089423"/>
              <a:ext cx="973016" cy="1033830"/>
            </a:xfrm>
            <a:prstGeom prst="rect">
              <a:avLst/>
            </a:prstGeom>
          </p:spPr>
        </p:pic>
        <p:pic>
          <p:nvPicPr>
            <p:cNvPr id="84" name="Picture 83">
              <a:extLst>
                <a:ext uri="{FF2B5EF4-FFF2-40B4-BE49-F238E27FC236}">
                  <a16:creationId xmlns:a16="http://schemas.microsoft.com/office/drawing/2014/main" id="{2594826D-A49F-4AD6-A965-720E28DC3825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7939745" y="3130394"/>
              <a:ext cx="1012107" cy="1075364"/>
            </a:xfrm>
            <a:prstGeom prst="rect">
              <a:avLst/>
            </a:prstGeom>
          </p:spPr>
        </p:pic>
        <p:pic>
          <p:nvPicPr>
            <p:cNvPr id="85" name="Picture 84">
              <a:extLst>
                <a:ext uri="{FF2B5EF4-FFF2-40B4-BE49-F238E27FC236}">
                  <a16:creationId xmlns:a16="http://schemas.microsoft.com/office/drawing/2014/main" id="{326FE8F3-3281-44C2-86B7-DB0D5D7DD5EE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9059135" y="3057312"/>
              <a:ext cx="1033459" cy="1098051"/>
            </a:xfrm>
            <a:prstGeom prst="rect">
              <a:avLst/>
            </a:prstGeom>
          </p:spPr>
        </p:pic>
        <p:pic>
          <p:nvPicPr>
            <p:cNvPr id="86" name="Picture 85">
              <a:extLst>
                <a:ext uri="{FF2B5EF4-FFF2-40B4-BE49-F238E27FC236}">
                  <a16:creationId xmlns:a16="http://schemas.microsoft.com/office/drawing/2014/main" id="{8E7F834F-2085-49AB-A7DE-F1B669324D7D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7725677" y="4360364"/>
              <a:ext cx="1239775" cy="1317261"/>
            </a:xfrm>
            <a:prstGeom prst="rect">
              <a:avLst/>
            </a:prstGeom>
          </p:spPr>
        </p:pic>
      </p:grpSp>
      <p:sp>
        <p:nvSpPr>
          <p:cNvPr id="51" name="TextBox 50">
            <a:extLst>
              <a:ext uri="{FF2B5EF4-FFF2-40B4-BE49-F238E27FC236}">
                <a16:creationId xmlns:a16="http://schemas.microsoft.com/office/drawing/2014/main" id="{BCCCC03F-3CB5-4DF1-8BCC-3F953C123208}"/>
              </a:ext>
            </a:extLst>
          </p:cNvPr>
          <p:cNvSpPr txBox="1"/>
          <p:nvPr/>
        </p:nvSpPr>
        <p:spPr>
          <a:xfrm>
            <a:off x="313410" y="453890"/>
            <a:ext cx="807258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latin typeface="Calibri" panose="020F0502020204030204" pitchFamily="34" charset="0"/>
                <a:cs typeface="Calibri" panose="020F0502020204030204" pitchFamily="34" charset="0"/>
              </a:rPr>
              <a:t>Color specifications/ </a:t>
            </a:r>
            <a:r>
              <a:rPr lang="en-US" sz="2400" b="1" dirty="0" err="1">
                <a:latin typeface="Calibri" panose="020F0502020204030204" pitchFamily="34" charset="0"/>
                <a:cs typeface="Calibri" panose="020F0502020204030204" pitchFamily="34" charset="0"/>
              </a:rPr>
              <a:t>Especificaciones</a:t>
            </a:r>
            <a:r>
              <a:rPr lang="en-US" sz="2400" b="1" dirty="0">
                <a:latin typeface="Calibri" panose="020F0502020204030204" pitchFamily="34" charset="0"/>
                <a:cs typeface="Calibri" panose="020F0502020204030204" pitchFamily="34" charset="0"/>
              </a:rPr>
              <a:t> de color</a:t>
            </a:r>
            <a:endParaRPr lang="es-MX" sz="2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id="{601464DD-5113-4B86-AECF-469698862249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11479657" y="6377611"/>
            <a:ext cx="585267" cy="341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766393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335023"/>
            <a:ext cx="5257800" cy="4791456"/>
          </a:xfrm>
        </p:spPr>
        <p:txBody>
          <a:bodyPr/>
          <a:lstStyle>
            <a:lvl1pPr>
              <a:defRPr sz="2000">
                <a:solidFill>
                  <a:srgbClr val="000000"/>
                </a:solidFill>
              </a:defRPr>
            </a:lvl1pPr>
            <a:lvl2pPr>
              <a:defRPr sz="1600">
                <a:solidFill>
                  <a:srgbClr val="333333"/>
                </a:solidFill>
              </a:defRPr>
            </a:lvl2pPr>
            <a:lvl3pPr>
              <a:defRPr sz="1600">
                <a:solidFill>
                  <a:srgbClr val="333333"/>
                </a:solidFill>
              </a:defRPr>
            </a:lvl3pPr>
            <a:lvl4pPr>
              <a:defRPr sz="1600">
                <a:solidFill>
                  <a:srgbClr val="333333"/>
                </a:solidFill>
              </a:defRPr>
            </a:lvl4pPr>
            <a:lvl5pPr>
              <a:defRPr sz="1600">
                <a:solidFill>
                  <a:srgbClr val="33333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37514" y="1335023"/>
            <a:ext cx="5255624" cy="4791456"/>
          </a:xfrm>
        </p:spPr>
        <p:txBody>
          <a:bodyPr/>
          <a:lstStyle>
            <a:lvl1pPr>
              <a:defRPr sz="2000">
                <a:solidFill>
                  <a:srgbClr val="000000"/>
                </a:solidFill>
              </a:defRPr>
            </a:lvl1pPr>
            <a:lvl2pPr>
              <a:defRPr sz="1600">
                <a:solidFill>
                  <a:srgbClr val="333333"/>
                </a:solidFill>
              </a:defRPr>
            </a:lvl2pPr>
            <a:lvl3pPr>
              <a:defRPr sz="1600">
                <a:solidFill>
                  <a:srgbClr val="333333"/>
                </a:solidFill>
              </a:defRPr>
            </a:lvl3pPr>
            <a:lvl4pPr>
              <a:defRPr sz="1600">
                <a:solidFill>
                  <a:srgbClr val="333333"/>
                </a:solidFill>
              </a:defRPr>
            </a:lvl4pPr>
            <a:lvl5pPr>
              <a:defRPr sz="1600">
                <a:solidFill>
                  <a:srgbClr val="33333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972921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40">
          <p15:clr>
            <a:srgbClr val="FBAE40"/>
          </p15:clr>
        </p15:guide>
        <p15:guide id="2" pos="3747">
          <p15:clr>
            <a:srgbClr val="FBAE40"/>
          </p15:clr>
        </p15:guide>
        <p15:guide id="3" pos="3931">
          <p15:clr>
            <a:srgbClr val="FBAE40"/>
          </p15:clr>
        </p15:guide>
        <p15:guide id="4" pos="7242">
          <p15:clr>
            <a:srgbClr val="FBAE40"/>
          </p15:clr>
        </p15:guide>
        <p15:guide id="5" pos="431">
          <p15:clr>
            <a:srgbClr val="FBAE40"/>
          </p15:clr>
        </p15:guide>
        <p15:guide id="6" orient="horz" pos="291">
          <p15:clr>
            <a:srgbClr val="FBAE40"/>
          </p15:clr>
        </p15:guide>
        <p15:guide id="7" orient="horz" pos="385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52846"/>
            <a:ext cx="10816046" cy="87956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332411"/>
            <a:ext cx="10816046" cy="4793753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rgbClr val="33333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4215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5">
          <p15:clr>
            <a:srgbClr val="FBAE40"/>
          </p15:clr>
        </p15:guide>
        <p15:guide id="2" pos="431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839">
          <p15:clr>
            <a:srgbClr val="FBAE40"/>
          </p15:clr>
        </p15:guide>
        <p15:guide id="5" orient="horz" pos="385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770539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59">
          <p15:clr>
            <a:srgbClr val="FBAE40"/>
          </p15:clr>
        </p15:guide>
        <p15:guide id="2" pos="7242">
          <p15:clr>
            <a:srgbClr val="FBAE40"/>
          </p15:clr>
        </p15:guide>
        <p15:guide id="3" pos="431">
          <p15:clr>
            <a:srgbClr val="FBAE40"/>
          </p15:clr>
        </p15:guide>
        <p15:guide id="4" orient="horz" pos="84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with Image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685800" y="2566651"/>
            <a:ext cx="6172336" cy="1463042"/>
          </a:xfrm>
        </p:spPr>
        <p:txBody>
          <a:bodyPr anchor="t"/>
          <a:lstStyle>
            <a:lvl1pPr algn="l">
              <a:lnSpc>
                <a:spcPct val="95000"/>
              </a:lnSpc>
              <a:defRPr sz="480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4049488"/>
            <a:ext cx="6172337" cy="1752600"/>
          </a:xfrm>
        </p:spPr>
        <p:txBody>
          <a:bodyPr/>
          <a:lstStyle>
            <a:lvl1pPr marL="0" indent="0" algn="l">
              <a:lnSpc>
                <a:spcPct val="95000"/>
              </a:lnSpc>
              <a:buNone/>
              <a:defRPr sz="200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C76825C-3504-A641-97DA-5A09BA346A2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5800" y="903202"/>
            <a:ext cx="2013315" cy="1144751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7B72A241-2A86-F447-8898-0D7A54CC0CF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30584" y="505708"/>
            <a:ext cx="4931764" cy="4734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34077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 with Image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685800" y="2566651"/>
            <a:ext cx="6172336" cy="1463042"/>
          </a:xfrm>
        </p:spPr>
        <p:txBody>
          <a:bodyPr anchor="t"/>
          <a:lstStyle>
            <a:lvl1pPr algn="l">
              <a:lnSpc>
                <a:spcPct val="95000"/>
              </a:lnSpc>
              <a:defRPr sz="480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4049488"/>
            <a:ext cx="6172337" cy="1752600"/>
          </a:xfrm>
        </p:spPr>
        <p:txBody>
          <a:bodyPr/>
          <a:lstStyle>
            <a:lvl1pPr marL="0" indent="0" algn="l">
              <a:lnSpc>
                <a:spcPct val="95000"/>
              </a:lnSpc>
              <a:buNone/>
              <a:defRPr sz="200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C76825C-3504-A641-97DA-5A09BA346A2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5800" y="903202"/>
            <a:ext cx="2013315" cy="114475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E3AC6C8-EFDF-1A44-A0A6-2DFAD6F004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962" t="4690" r="18330" b="8566"/>
          <a:stretch/>
        </p:blipFill>
        <p:spPr>
          <a:xfrm>
            <a:off x="6858136" y="675234"/>
            <a:ext cx="4624329" cy="4264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8194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52846"/>
            <a:ext cx="10816046" cy="87956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332411"/>
            <a:ext cx="10816046" cy="4793753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rgbClr val="333333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143064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5" userDrawn="1">
          <p15:clr>
            <a:srgbClr val="FBAE40"/>
          </p15:clr>
        </p15:guide>
        <p15:guide id="2" pos="431" userDrawn="1">
          <p15:clr>
            <a:srgbClr val="FBAE40"/>
          </p15:clr>
        </p15:guide>
        <p15:guide id="3" pos="7248" userDrawn="1">
          <p15:clr>
            <a:srgbClr val="FBAE40"/>
          </p15:clr>
        </p15:guide>
        <p15:guide id="4" orient="horz" pos="839" userDrawn="1">
          <p15:clr>
            <a:srgbClr val="FBAE40"/>
          </p15:clr>
        </p15:guide>
        <p15:guide id="5" orient="horz" pos="38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335023"/>
            <a:ext cx="5257800" cy="4791456"/>
          </a:xfrm>
        </p:spPr>
        <p:txBody>
          <a:bodyPr/>
          <a:lstStyle>
            <a:lvl1pPr>
              <a:defRPr sz="2000">
                <a:solidFill>
                  <a:srgbClr val="000000"/>
                </a:solidFill>
              </a:defRPr>
            </a:lvl1pPr>
            <a:lvl2pPr>
              <a:defRPr sz="1600">
                <a:solidFill>
                  <a:srgbClr val="333333"/>
                </a:solidFill>
              </a:defRPr>
            </a:lvl2pPr>
            <a:lvl3pPr>
              <a:defRPr sz="1600">
                <a:solidFill>
                  <a:srgbClr val="333333"/>
                </a:solidFill>
              </a:defRPr>
            </a:lvl3pPr>
            <a:lvl4pPr>
              <a:defRPr sz="1600">
                <a:solidFill>
                  <a:srgbClr val="333333"/>
                </a:solidFill>
              </a:defRPr>
            </a:lvl4pPr>
            <a:lvl5pPr>
              <a:defRPr sz="1600">
                <a:solidFill>
                  <a:srgbClr val="33333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37514" y="1335023"/>
            <a:ext cx="5255624" cy="4791456"/>
          </a:xfrm>
        </p:spPr>
        <p:txBody>
          <a:bodyPr/>
          <a:lstStyle>
            <a:lvl1pPr>
              <a:defRPr sz="2000">
                <a:solidFill>
                  <a:srgbClr val="000000"/>
                </a:solidFill>
              </a:defRPr>
            </a:lvl1pPr>
            <a:lvl2pPr>
              <a:defRPr sz="1600">
                <a:solidFill>
                  <a:srgbClr val="333333"/>
                </a:solidFill>
              </a:defRPr>
            </a:lvl2pPr>
            <a:lvl3pPr>
              <a:defRPr sz="1600">
                <a:solidFill>
                  <a:srgbClr val="333333"/>
                </a:solidFill>
              </a:defRPr>
            </a:lvl3pPr>
            <a:lvl4pPr>
              <a:defRPr sz="1600">
                <a:solidFill>
                  <a:srgbClr val="333333"/>
                </a:solidFill>
              </a:defRPr>
            </a:lvl4pPr>
            <a:lvl5pPr>
              <a:defRPr sz="1600">
                <a:solidFill>
                  <a:srgbClr val="33333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953424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40" userDrawn="1">
          <p15:clr>
            <a:srgbClr val="FBAE40"/>
          </p15:clr>
        </p15:guide>
        <p15:guide id="2" pos="3747" userDrawn="1">
          <p15:clr>
            <a:srgbClr val="FBAE40"/>
          </p15:clr>
        </p15:guide>
        <p15:guide id="3" pos="3931" userDrawn="1">
          <p15:clr>
            <a:srgbClr val="FBAE40"/>
          </p15:clr>
        </p15:guide>
        <p15:guide id="4" pos="7242" userDrawn="1">
          <p15:clr>
            <a:srgbClr val="FBAE40"/>
          </p15:clr>
        </p15:guide>
        <p15:guide id="5" pos="431" userDrawn="1">
          <p15:clr>
            <a:srgbClr val="FBAE40"/>
          </p15:clr>
        </p15:guide>
        <p15:guide id="6" orient="horz" pos="291" userDrawn="1">
          <p15:clr>
            <a:srgbClr val="FBAE40"/>
          </p15:clr>
        </p15:guide>
        <p15:guide id="7" orient="horz" pos="38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392455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59" userDrawn="1">
          <p15:clr>
            <a:srgbClr val="FBAE40"/>
          </p15:clr>
        </p15:guide>
        <p15:guide id="2" pos="7242" userDrawn="1">
          <p15:clr>
            <a:srgbClr val="FBAE40"/>
          </p15:clr>
        </p15:guide>
        <p15:guide id="3" pos="431" userDrawn="1">
          <p15:clr>
            <a:srgbClr val="FBAE40"/>
          </p15:clr>
        </p15:guide>
        <p15:guide id="4" orient="horz" pos="84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382737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5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image" Target="../media/image21.emf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5800" y="457200"/>
            <a:ext cx="10807338" cy="87956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332411"/>
            <a:ext cx="10807338" cy="47937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11157790" y="6553199"/>
            <a:ext cx="335348" cy="24622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/>
            <a:fld id="{35E3ECE0-4A80-DB41-A685-783C93444704}" type="slidenum">
              <a:rPr lang="en-US" sz="1000" smtClean="0"/>
              <a:pPr algn="r"/>
              <a:t>‹Nº›</a:t>
            </a:fld>
            <a:endParaRPr lang="en-US" sz="10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C66D8BB-681A-5A40-98D1-F7242C675D45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3589" y="6017112"/>
            <a:ext cx="1035447" cy="58874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65E950A-3086-884C-A50C-2D5DA6E2CE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702"/>
          <a:stretch/>
        </p:blipFill>
        <p:spPr>
          <a:xfrm>
            <a:off x="11459912" y="299247"/>
            <a:ext cx="732088" cy="88595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B29B1DC-A341-CE4D-BE3C-A655AD6980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64996" y="0"/>
            <a:ext cx="1126148" cy="97869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9815319-8818-4544-92AA-08FF08F933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9586" t="-12811"/>
          <a:stretch/>
        </p:blipFill>
        <p:spPr>
          <a:xfrm rot="10800000">
            <a:off x="10628070" y="470870"/>
            <a:ext cx="1303819" cy="127497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BD0E370B-E23B-2B45-94C2-F63B6E538B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0708"/>
          <a:stretch/>
        </p:blipFill>
        <p:spPr>
          <a:xfrm>
            <a:off x="9626245" y="29353"/>
            <a:ext cx="663560" cy="618683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272D00F-36F5-004D-8B0E-42F0F7F18779}"/>
              </a:ext>
            </a:extLst>
          </p:cNvPr>
          <p:cNvCxnSpPr/>
          <p:nvPr userDrawn="1"/>
        </p:nvCxnSpPr>
        <p:spPr>
          <a:xfrm>
            <a:off x="685800" y="1001841"/>
            <a:ext cx="9942270" cy="0"/>
          </a:xfrm>
          <a:prstGeom prst="line">
            <a:avLst/>
          </a:prstGeom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5" name="hl" descr="Classification: Confidential">
            <a:extLst>
              <a:ext uri="{FF2B5EF4-FFF2-40B4-BE49-F238E27FC236}">
                <a16:creationId xmlns:a16="http://schemas.microsoft.com/office/drawing/2014/main" id="{8F896221-8795-4883-93D0-BDE39622115D}"/>
              </a:ext>
            </a:extLst>
          </p:cNvPr>
          <p:cNvSpPr txBox="1"/>
          <p:nvPr userDrawn="1"/>
        </p:nvSpPr>
        <p:spPr>
          <a:xfrm>
            <a:off x="0" y="0"/>
            <a:ext cx="12192000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s-MX" sz="850" b="0" i="0" u="none" baseline="0">
                <a:solidFill>
                  <a:srgbClr val="000000"/>
                </a:solidFill>
                <a:latin typeface="Microsoft Sans Serif" panose="020B0604020202020204" pitchFamily="34" charset="0"/>
              </a:rPr>
              <a:t>Classification: Confidential</a:t>
            </a:r>
          </a:p>
        </p:txBody>
      </p:sp>
      <p:sp>
        <p:nvSpPr>
          <p:cNvPr id="7" name="MSIPCMContentMarking" descr="{&quot;HashCode&quot;:-244462861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F22C959E-CB7A-4920-9C2B-D9C6D8AD9141}"/>
              </a:ext>
            </a:extLst>
          </p:cNvPr>
          <p:cNvSpPr txBox="1"/>
          <p:nvPr userDrawn="1"/>
        </p:nvSpPr>
        <p:spPr>
          <a:xfrm>
            <a:off x="0" y="6595656"/>
            <a:ext cx="1571515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s-MX" sz="1000">
                <a:solidFill>
                  <a:srgbClr val="000000"/>
                </a:solidFill>
                <a:latin typeface="Calibri" panose="020F0502020204030204" pitchFamily="34" charset="0"/>
              </a:rPr>
              <a:t>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208952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64" r:id="rId3"/>
    <p:sldLayoutId id="2147483665" r:id="rId4"/>
    <p:sldLayoutId id="2147483670" r:id="rId5"/>
    <p:sldLayoutId id="2147483650" r:id="rId6"/>
    <p:sldLayoutId id="2147483652" r:id="rId7"/>
    <p:sldLayoutId id="2147483654" r:id="rId8"/>
    <p:sldLayoutId id="2147483655" r:id="rId9"/>
    <p:sldLayoutId id="2147483658" r:id="rId10"/>
    <p:sldLayoutId id="2147483657" r:id="rId11"/>
    <p:sldLayoutId id="2147483660" r:id="rId12"/>
    <p:sldLayoutId id="2147483662" r:id="rId13"/>
    <p:sldLayoutId id="2147483659" r:id="rId14"/>
    <p:sldLayoutId id="2147483661" r:id="rId15"/>
  </p:sldLayoutIdLst>
  <p:txStyles>
    <p:titleStyle>
      <a:lvl1pPr algn="l" defTabSz="457200" rtl="0" eaLnBrk="1" latinLnBrk="0" hangingPunct="1">
        <a:spcBef>
          <a:spcPct val="0"/>
        </a:spcBef>
        <a:buNone/>
        <a:defRPr sz="3200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ts val="300"/>
        </a:spcBef>
        <a:buFont typeface="Arial"/>
        <a:buNone/>
        <a:defRPr sz="2000" kern="1200">
          <a:solidFill>
            <a:srgbClr val="000000"/>
          </a:solidFill>
          <a:latin typeface="+mn-lt"/>
          <a:ea typeface="+mn-ea"/>
          <a:cs typeface="+mn-cs"/>
        </a:defRPr>
      </a:lvl1pPr>
      <a:lvl2pPr marL="344488" indent="-228600" algn="l" defTabSz="457200" rtl="0" eaLnBrk="1" latinLnBrk="0" hangingPunct="1">
        <a:spcBef>
          <a:spcPts val="300"/>
        </a:spcBef>
        <a:buFont typeface="Arial" charset="0"/>
        <a:buChar char="•"/>
        <a:tabLst/>
        <a:defRPr sz="1600" kern="1200">
          <a:solidFill>
            <a:srgbClr val="000000"/>
          </a:solidFill>
          <a:latin typeface="+mn-lt"/>
          <a:ea typeface="+mn-ea"/>
          <a:cs typeface="+mn-cs"/>
        </a:defRPr>
      </a:lvl2pPr>
      <a:lvl3pPr marL="571500" indent="-227013" algn="l" defTabSz="457200" rtl="0" eaLnBrk="1" latinLnBrk="0" hangingPunct="1">
        <a:spcBef>
          <a:spcPts val="300"/>
        </a:spcBef>
        <a:buFont typeface=".AppleSystemUIFont" charset="-120"/>
        <a:buChar char="-"/>
        <a:tabLst/>
        <a:defRPr sz="1600" kern="1200">
          <a:solidFill>
            <a:srgbClr val="000000"/>
          </a:solidFill>
          <a:latin typeface="+mn-lt"/>
          <a:ea typeface="+mn-ea"/>
          <a:cs typeface="+mn-cs"/>
        </a:defRPr>
      </a:lvl3pPr>
      <a:lvl4pPr marL="800100" indent="-228600" algn="l" defTabSz="457200" rtl="0" eaLnBrk="1" latinLnBrk="0" hangingPunct="1">
        <a:spcBef>
          <a:spcPts val="300"/>
        </a:spcBef>
        <a:buFont typeface="Arial" charset="0"/>
        <a:buChar char="•"/>
        <a:tabLst/>
        <a:defRPr sz="1600" kern="1200">
          <a:solidFill>
            <a:srgbClr val="000000"/>
          </a:solidFill>
          <a:latin typeface="+mn-lt"/>
          <a:ea typeface="+mn-ea"/>
          <a:cs typeface="+mn-cs"/>
        </a:defRPr>
      </a:lvl4pPr>
      <a:lvl5pPr marL="1035050" indent="-234950" algn="l" defTabSz="457200" rtl="0" eaLnBrk="1" latinLnBrk="0" hangingPunct="1">
        <a:spcBef>
          <a:spcPts val="300"/>
        </a:spcBef>
        <a:buFont typeface="ArialMT" charset="0"/>
        <a:buChar char="-"/>
        <a:tabLst/>
        <a:defRPr sz="1600" kern="1200">
          <a:solidFill>
            <a:srgbClr val="000000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69AA2C4-2AAD-46D1-BBB9-AAF3478106D5}"/>
              </a:ext>
            </a:extLst>
          </p:cNvPr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59299182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421" imgH="420" progId="TCLayout.ActiveDocument.1">
                  <p:embed/>
                </p:oleObj>
              </mc:Choice>
              <mc:Fallback>
                <p:oleObj name="think-cell Slide" r:id="rId27" imgW="421" imgH="42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69AA2C4-2AAD-46D1-BBB9-AAF3478106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6762241-D680-4751-874F-8F2B0F7D0940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933" b="1" i="0" baseline="0">
              <a:latin typeface="Franklin Gothic Medium" panose="020B0603020102020204" pitchFamily="34" charset="0"/>
              <a:ea typeface="+mj-ea"/>
              <a:cs typeface="+mj-cs"/>
              <a:sym typeface="Franklin Gothic Medium" panose="020B0603020102020204" pitchFamily="34" charset="0"/>
            </a:endParaRPr>
          </a:p>
        </p:txBody>
      </p:sp>
      <p:sp>
        <p:nvSpPr>
          <p:cNvPr id="2" name="MSIPCMContentMarking" descr="{&quot;HashCode&quot;:-244462861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C5266F60-3764-43B2-8C1B-E60F8E00462B}"/>
              </a:ext>
            </a:extLst>
          </p:cNvPr>
          <p:cNvSpPr txBox="1"/>
          <p:nvPr userDrawn="1"/>
        </p:nvSpPr>
        <p:spPr>
          <a:xfrm>
            <a:off x="0" y="6595656"/>
            <a:ext cx="1571515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s-PE" sz="1000">
                <a:solidFill>
                  <a:srgbClr val="000000"/>
                </a:solidFill>
                <a:latin typeface="Calibri" panose="020F0502020204030204" pitchFamily="34" charset="0"/>
              </a:rPr>
              <a:t>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552149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5" r:id="rId21"/>
    <p:sldLayoutId id="2147483696" r:id="rId22"/>
    <p:sldLayoutId id="2147483697" r:id="rId23"/>
  </p:sldLayoutIdLst>
  <p:hf hdr="0" ftr="0" dt="0"/>
  <p:txStyles>
    <p:titleStyle>
      <a:lvl1pPr algn="l" defTabSz="609585" rtl="0" eaLnBrk="1" latinLnBrk="0" hangingPunct="1">
        <a:spcBef>
          <a:spcPct val="0"/>
        </a:spcBef>
        <a:buNone/>
        <a:defRPr sz="2933" b="1" i="0" kern="1200">
          <a:solidFill>
            <a:schemeClr val="tx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1867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2133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sv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3" Type="http://schemas.openxmlformats.org/officeDocument/2006/relationships/image" Target="../media/image67.svg"/><Relationship Id="rId7" Type="http://schemas.openxmlformats.org/officeDocument/2006/relationships/image" Target="../media/image71.sv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70.png"/><Relationship Id="rId5" Type="http://schemas.openxmlformats.org/officeDocument/2006/relationships/image" Target="../media/image69.svg"/><Relationship Id="rId4" Type="http://schemas.openxmlformats.org/officeDocument/2006/relationships/image" Target="../media/image68.png"/><Relationship Id="rId9" Type="http://schemas.openxmlformats.org/officeDocument/2006/relationships/image" Target="../media/image73.sv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7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3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3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svg"/><Relationship Id="rId13" Type="http://schemas.openxmlformats.org/officeDocument/2006/relationships/image" Target="../media/image57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51.png"/><Relationship Id="rId12" Type="http://schemas.openxmlformats.org/officeDocument/2006/relationships/image" Target="../media/image56.sv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2.xml"/><Relationship Id="rId6" Type="http://schemas.microsoft.com/office/2007/relationships/diagramDrawing" Target="../diagrams/drawing1.xml"/><Relationship Id="rId11" Type="http://schemas.openxmlformats.org/officeDocument/2006/relationships/image" Target="../media/image55.png"/><Relationship Id="rId5" Type="http://schemas.openxmlformats.org/officeDocument/2006/relationships/diagramColors" Target="../diagrams/colors1.xml"/><Relationship Id="rId10" Type="http://schemas.openxmlformats.org/officeDocument/2006/relationships/image" Target="../media/image54.sv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53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2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3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19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2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91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2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3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19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8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2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100.png"/><Relationship Id="rId4" Type="http://schemas.openxmlformats.org/officeDocument/2006/relationships/image" Target="../media/image99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2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3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2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33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18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33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33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3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33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1.png"/><Relationship Id="rId1" Type="http://schemas.openxmlformats.org/officeDocument/2006/relationships/slideLayout" Target="../slideLayouts/slideLayout33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38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image" Target="../media/image113.pn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39">
            <a:extLst>
              <a:ext uri="{FF2B5EF4-FFF2-40B4-BE49-F238E27FC236}">
                <a16:creationId xmlns:a16="http://schemas.microsoft.com/office/drawing/2014/main" id="{B3126757-104E-4A63-BD41-5A493EA31438}"/>
              </a:ext>
            </a:extLst>
          </p:cNvPr>
          <p:cNvSpPr txBox="1"/>
          <p:nvPr/>
        </p:nvSpPr>
        <p:spPr>
          <a:xfrm>
            <a:off x="813027" y="3279139"/>
            <a:ext cx="4725638" cy="111569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874"/>
              </a:lnSpc>
            </a:pPr>
            <a:r>
              <a:rPr lang="es-PE" sz="2737" spc="-68" dirty="0">
                <a:solidFill>
                  <a:srgbClr val="09234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nrutamiento de vehículos para Lima</a:t>
            </a:r>
          </a:p>
          <a:p>
            <a:pPr algn="ctr">
              <a:lnSpc>
                <a:spcPts val="2874"/>
              </a:lnSpc>
            </a:pPr>
            <a:endParaRPr lang="en-US" sz="2737" b="1" spc="-68" dirty="0">
              <a:solidFill>
                <a:srgbClr val="09234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TextBox 39">
            <a:extLst>
              <a:ext uri="{FF2B5EF4-FFF2-40B4-BE49-F238E27FC236}">
                <a16:creationId xmlns:a16="http://schemas.microsoft.com/office/drawing/2014/main" id="{0BFF3CBA-1115-4585-9AAB-67A6E958F972}"/>
              </a:ext>
            </a:extLst>
          </p:cNvPr>
          <p:cNvSpPr txBox="1"/>
          <p:nvPr/>
        </p:nvSpPr>
        <p:spPr>
          <a:xfrm>
            <a:off x="8161871" y="3233645"/>
            <a:ext cx="2694985" cy="37189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874"/>
              </a:lnSpc>
            </a:pPr>
            <a:r>
              <a:rPr lang="en-US" sz="3200" b="1" spc="-68" dirty="0">
                <a:solidFill>
                  <a:srgbClr val="09234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I LATAM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BCDE45D7-5D3A-E3F2-05E5-56CEA81D255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MX" dirty="0"/>
              <a:t>Proyecto del curso Python Fundamentals</a:t>
            </a:r>
            <a:endParaRPr lang="es-PE" dirty="0"/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2B8FD729-DF80-DC47-079F-D3B8D6550BAD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25890" y="583689"/>
            <a:ext cx="5299911" cy="2649956"/>
          </a:xfrm>
          <a:prstGeom prst="rect">
            <a:avLst/>
          </a:prstGeom>
          <a:noFill/>
        </p:spPr>
      </p:pic>
      <p:sp>
        <p:nvSpPr>
          <p:cNvPr id="6" name="TextBox 39">
            <a:extLst>
              <a:ext uri="{FF2B5EF4-FFF2-40B4-BE49-F238E27FC236}">
                <a16:creationId xmlns:a16="http://schemas.microsoft.com/office/drawing/2014/main" id="{627FBCA2-449A-C16B-0A6E-9039928EEF8D}"/>
              </a:ext>
            </a:extLst>
          </p:cNvPr>
          <p:cNvSpPr txBox="1"/>
          <p:nvPr/>
        </p:nvSpPr>
        <p:spPr>
          <a:xfrm>
            <a:off x="243011" y="5491833"/>
            <a:ext cx="4725638" cy="37189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874"/>
              </a:lnSpc>
            </a:pPr>
            <a:r>
              <a:rPr lang="en-US" sz="2737" b="1" spc="-68" dirty="0">
                <a:solidFill>
                  <a:srgbClr val="09234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	Bruno Miranda</a:t>
            </a:r>
          </a:p>
        </p:txBody>
      </p:sp>
    </p:spTree>
    <p:extLst>
      <p:ext uri="{BB962C8B-B14F-4D97-AF65-F5344CB8AC3E}">
        <p14:creationId xmlns:p14="http://schemas.microsoft.com/office/powerpoint/2010/main" val="25366784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85AD30E0-66AB-92A2-6488-E141FD1F16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Taxonomía del proyecto</a:t>
            </a:r>
          </a:p>
        </p:txBody>
      </p:sp>
      <p:sp>
        <p:nvSpPr>
          <p:cNvPr id="5" name="Marcador de contenido 4">
            <a:extLst>
              <a:ext uri="{FF2B5EF4-FFF2-40B4-BE49-F238E27FC236}">
                <a16:creationId xmlns:a16="http://schemas.microsoft.com/office/drawing/2014/main" id="{DADAEF0A-A19D-C806-86B4-EA01D2E8AE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0648" y="1167210"/>
            <a:ext cx="5774003" cy="5559886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s-PE" sz="1400" dirty="0"/>
              <a:t>-----------	</a:t>
            </a:r>
            <a:r>
              <a:rPr lang="es-PE" sz="1400" dirty="0" err="1"/>
              <a:t>datasets</a:t>
            </a:r>
            <a:r>
              <a:rPr lang="es-PE" sz="1400" dirty="0"/>
              <a:t>-----------	-</a:t>
            </a:r>
          </a:p>
          <a:p>
            <a:pPr marL="0" indent="0">
              <a:buNone/>
            </a:pPr>
            <a:r>
              <a:rPr lang="es-PE" sz="1400" dirty="0"/>
              <a:t>	|		|---rutas.csv</a:t>
            </a:r>
          </a:p>
          <a:p>
            <a:pPr marL="0" indent="0">
              <a:buNone/>
            </a:pPr>
            <a:r>
              <a:rPr lang="es-PE" sz="1400" dirty="0"/>
              <a:t>	|</a:t>
            </a:r>
          </a:p>
          <a:p>
            <a:pPr marL="0" indent="0">
              <a:buNone/>
            </a:pPr>
            <a:r>
              <a:rPr lang="es-PE" sz="1400" dirty="0"/>
              <a:t>-----------	</a:t>
            </a:r>
            <a:r>
              <a:rPr lang="es-PE" sz="1400" dirty="0" err="1"/>
              <a:t>modulos</a:t>
            </a:r>
            <a:r>
              <a:rPr lang="es-PE" sz="1400" dirty="0"/>
              <a:t>----------	-</a:t>
            </a:r>
          </a:p>
          <a:p>
            <a:pPr marL="0" indent="0">
              <a:buNone/>
            </a:pPr>
            <a:r>
              <a:rPr lang="es-PE" sz="1400" dirty="0"/>
              <a:t>	|		|---init.py</a:t>
            </a:r>
          </a:p>
          <a:p>
            <a:pPr marL="0" indent="0">
              <a:buNone/>
            </a:pPr>
            <a:r>
              <a:rPr lang="es-PE" sz="1400" dirty="0"/>
              <a:t>	|		|---</a:t>
            </a:r>
            <a:r>
              <a:rPr lang="es-PE" sz="1400" dirty="0" err="1"/>
              <a:t>crear_clusters</a:t>
            </a:r>
            <a:r>
              <a:rPr lang="es-PE" sz="1400" dirty="0"/>
              <a:t>-----------</a:t>
            </a:r>
          </a:p>
          <a:p>
            <a:pPr marL="0" indent="0">
              <a:buNone/>
            </a:pPr>
            <a:r>
              <a:rPr lang="es-PE" sz="1400" dirty="0"/>
              <a:t>	|		|			|---init.py</a:t>
            </a:r>
          </a:p>
          <a:p>
            <a:pPr marL="0" indent="0">
              <a:buNone/>
            </a:pPr>
            <a:r>
              <a:rPr lang="es-PE" sz="1400" dirty="0"/>
              <a:t>	|		|			|---plotear_clusters.py				</a:t>
            </a:r>
          </a:p>
          <a:p>
            <a:pPr marL="0" indent="0">
              <a:buNone/>
            </a:pPr>
            <a:r>
              <a:rPr lang="es-PE" sz="1400" dirty="0"/>
              <a:t>	|		|---directorio-----------------		</a:t>
            </a:r>
          </a:p>
          <a:p>
            <a:pPr marL="0" indent="0">
              <a:buNone/>
            </a:pPr>
            <a:r>
              <a:rPr lang="es-PE" sz="1400" dirty="0"/>
              <a:t>	|		|			|---init.py</a:t>
            </a:r>
          </a:p>
          <a:p>
            <a:pPr marL="0" indent="0">
              <a:buNone/>
            </a:pPr>
            <a:r>
              <a:rPr lang="es-PE" sz="1400" dirty="0"/>
              <a:t>	|		|			|---filedialog.py	</a:t>
            </a:r>
          </a:p>
          <a:p>
            <a:pPr marL="0" indent="0">
              <a:buNone/>
            </a:pPr>
            <a:r>
              <a:rPr lang="es-PE" sz="1400" dirty="0"/>
              <a:t>	|		|---optimización-------------	</a:t>
            </a:r>
          </a:p>
          <a:p>
            <a:pPr marL="0" indent="0">
              <a:buNone/>
            </a:pPr>
            <a:r>
              <a:rPr lang="es-PE" sz="1400" dirty="0"/>
              <a:t>	|		|			|---init.py</a:t>
            </a:r>
          </a:p>
          <a:p>
            <a:pPr marL="0" indent="0">
              <a:buNone/>
            </a:pPr>
            <a:r>
              <a:rPr lang="es-PE" sz="1400" dirty="0"/>
              <a:t>	|		|			|---ruteo_vehículos.py</a:t>
            </a:r>
          </a:p>
          <a:p>
            <a:pPr marL="0" indent="0">
              <a:buNone/>
            </a:pPr>
            <a:r>
              <a:rPr lang="es-PE" sz="1400" dirty="0"/>
              <a:t>	|		|---preprocesamiento------</a:t>
            </a:r>
          </a:p>
          <a:p>
            <a:pPr marL="0" indent="0">
              <a:buNone/>
            </a:pPr>
            <a:r>
              <a:rPr lang="es-PE" sz="1400" dirty="0"/>
              <a:t>	|					|---init.py</a:t>
            </a:r>
          </a:p>
          <a:p>
            <a:pPr marL="0" indent="0">
              <a:buNone/>
            </a:pPr>
            <a:r>
              <a:rPr lang="es-PE" sz="1400" dirty="0"/>
              <a:t>	|					|---encoding.py</a:t>
            </a:r>
          </a:p>
          <a:p>
            <a:pPr marL="0" indent="0">
              <a:buNone/>
            </a:pPr>
            <a:r>
              <a:rPr lang="es-PE" sz="1400" dirty="0"/>
              <a:t>	|					|---limpieza_datos.py</a:t>
            </a:r>
          </a:p>
          <a:p>
            <a:pPr marL="0" indent="0">
              <a:buNone/>
            </a:pPr>
            <a:r>
              <a:rPr lang="es-PE" sz="1400" dirty="0"/>
              <a:t>	|</a:t>
            </a:r>
          </a:p>
          <a:p>
            <a:pPr marL="0" indent="0">
              <a:buNone/>
            </a:pPr>
            <a:r>
              <a:rPr lang="es-PE" sz="1400" dirty="0"/>
              <a:t>-----------	notebooks--------	-</a:t>
            </a:r>
          </a:p>
          <a:p>
            <a:pPr marL="0" indent="0">
              <a:buNone/>
            </a:pPr>
            <a:r>
              <a:rPr lang="es-PE" sz="1400" dirty="0"/>
              <a:t>			|---</a:t>
            </a:r>
            <a:r>
              <a:rPr lang="es-PE" sz="1400" dirty="0" err="1"/>
              <a:t>distribucion_limpieza.ipynb</a:t>
            </a:r>
            <a:endParaRPr lang="es-PE" sz="1400" dirty="0"/>
          </a:p>
          <a:p>
            <a:pPr marL="0" indent="0">
              <a:buNone/>
            </a:pPr>
            <a:r>
              <a:rPr lang="es-PE" sz="1400" dirty="0"/>
              <a:t>			|---</a:t>
            </a:r>
            <a:r>
              <a:rPr lang="es-PE" sz="1400" dirty="0" err="1"/>
              <a:t>distribución_clusters.ipynb</a:t>
            </a:r>
            <a:endParaRPr lang="es-PE" sz="1400" dirty="0"/>
          </a:p>
          <a:p>
            <a:pPr marL="0" indent="0">
              <a:buNone/>
            </a:pPr>
            <a:r>
              <a:rPr lang="es-PE" sz="1400" dirty="0"/>
              <a:t>			|---</a:t>
            </a:r>
            <a:r>
              <a:rPr lang="es-PE" sz="1400" dirty="0" err="1"/>
              <a:t>distribución_optimización.ipynb</a:t>
            </a:r>
            <a:endParaRPr lang="es-PE" sz="1400" dirty="0"/>
          </a:p>
          <a:p>
            <a:pPr marL="0" indent="0">
              <a:buNone/>
            </a:pPr>
            <a:r>
              <a:rPr lang="es-PE" sz="1400" dirty="0"/>
              <a:t>			|---</a:t>
            </a:r>
            <a:r>
              <a:rPr lang="es-PE" sz="1400" dirty="0" err="1"/>
              <a:t>distribución_prototipo.ipynb</a:t>
            </a:r>
            <a:endParaRPr lang="es-PE" sz="1400" dirty="0"/>
          </a:p>
        </p:txBody>
      </p:sp>
      <p:pic>
        <p:nvPicPr>
          <p:cNvPr id="6" name="Gráfico 5" descr="Carpeta abierta con relleno sólido">
            <a:extLst>
              <a:ext uri="{FF2B5EF4-FFF2-40B4-BE49-F238E27FC236}">
                <a16:creationId xmlns:a16="http://schemas.microsoft.com/office/drawing/2014/main" id="{C0F735D5-D7F2-17E3-5635-FC601A8E02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99858" y="1918402"/>
            <a:ext cx="2463592" cy="2463592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4E78CB36-C3B4-34D5-A944-BB8AF6DDF34C}"/>
              </a:ext>
            </a:extLst>
          </p:cNvPr>
          <p:cNvSpPr txBox="1"/>
          <p:nvPr/>
        </p:nvSpPr>
        <p:spPr>
          <a:xfrm>
            <a:off x="1237349" y="4440174"/>
            <a:ext cx="28500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dirty="0" err="1"/>
              <a:t>Proyecto_distribucion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29562988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30C3971F-3F96-B05F-6184-850C934F320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E63616-A2E2-49CD-8B48-1F006743AC2B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C177DCC6-BB2A-BE7C-6689-0A8BA642E7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Librerías usadas</a:t>
            </a:r>
          </a:p>
        </p:txBody>
      </p:sp>
      <p:graphicFrame>
        <p:nvGraphicFramePr>
          <p:cNvPr id="7" name="Tabla 5">
            <a:extLst>
              <a:ext uri="{FF2B5EF4-FFF2-40B4-BE49-F238E27FC236}">
                <a16:creationId xmlns:a16="http://schemas.microsoft.com/office/drawing/2014/main" id="{4757A710-9449-01C2-BF28-3A385E4494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2170915"/>
              </p:ext>
            </p:extLst>
          </p:nvPr>
        </p:nvGraphicFramePr>
        <p:xfrm>
          <a:off x="1946279" y="1130691"/>
          <a:ext cx="8614378" cy="5349240"/>
        </p:xfrm>
        <a:graphic>
          <a:graphicData uri="http://schemas.openxmlformats.org/drawingml/2006/table">
            <a:tbl>
              <a:tblPr firstRow="1" bandRow="1">
                <a:tableStyleId>{9DCAF9ED-07DC-4A11-8D7F-57B35C25682E}</a:tableStyleId>
              </a:tblPr>
              <a:tblGrid>
                <a:gridCol w="4089057">
                  <a:extLst>
                    <a:ext uri="{9D8B030D-6E8A-4147-A177-3AD203B41FA5}">
                      <a16:colId xmlns:a16="http://schemas.microsoft.com/office/drawing/2014/main" val="3267865376"/>
                    </a:ext>
                  </a:extLst>
                </a:gridCol>
                <a:gridCol w="4525321">
                  <a:extLst>
                    <a:ext uri="{9D8B030D-6E8A-4147-A177-3AD203B41FA5}">
                      <a16:colId xmlns:a16="http://schemas.microsoft.com/office/drawing/2014/main" val="299463358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algn="ctr" defTabSz="609585" rtl="0" eaLnBrk="1" latinLnBrk="0" hangingPunct="1"/>
                      <a:r>
                        <a:rPr lang="es-PE" sz="1600" kern="1200" dirty="0">
                          <a:solidFill>
                            <a:schemeClr val="bg1"/>
                          </a:solidFill>
                          <a:latin typeface="Abadi" panose="020B0604020202020204" pitchFamily="34" charset="0"/>
                          <a:ea typeface="+mn-ea"/>
                          <a:cs typeface="+mn-cs"/>
                        </a:rPr>
                        <a:t>Librería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609585" rtl="0" eaLnBrk="1" latinLnBrk="0" hangingPunct="1"/>
                      <a:r>
                        <a:rPr lang="es-PE" sz="1600" kern="1200" dirty="0">
                          <a:solidFill>
                            <a:schemeClr val="bg1"/>
                          </a:solidFill>
                          <a:latin typeface="Abadi" panose="020B0604020202020204" pitchFamily="34" charset="0"/>
                          <a:ea typeface="+mn-ea"/>
                          <a:cs typeface="+mn-cs"/>
                        </a:rPr>
                        <a:t>Uso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417133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609585" rtl="0" eaLnBrk="1" latinLnBrk="0" hangingPunct="1"/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202020204" pitchFamily="34" charset="0"/>
                          <a:ea typeface="+mn-ea"/>
                          <a:cs typeface="+mn-cs"/>
                        </a:rPr>
                        <a:t>panda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609585" rtl="0" eaLnBrk="1" latinLnBrk="0" hangingPunct="1"/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202020204" pitchFamily="34" charset="0"/>
                          <a:ea typeface="+mn-ea"/>
                          <a:cs typeface="+mn-cs"/>
                        </a:rPr>
                        <a:t>Manipulación de </a:t>
                      </a:r>
                      <a:r>
                        <a:rPr lang="es-PE" sz="1600" kern="1200" dirty="0" err="1">
                          <a:solidFill>
                            <a:schemeClr val="dk1"/>
                          </a:solidFill>
                          <a:latin typeface="Abadi" panose="020B0604020202020204" pitchFamily="34" charset="0"/>
                          <a:ea typeface="+mn-ea"/>
                          <a:cs typeface="+mn-cs"/>
                        </a:rPr>
                        <a:t>dataframes</a:t>
                      </a:r>
                      <a:endParaRPr lang="es-PE" sz="1600" kern="1200" dirty="0">
                        <a:solidFill>
                          <a:schemeClr val="dk1"/>
                        </a:solidFill>
                        <a:latin typeface="Abadi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798230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PE" sz="1600" dirty="0" err="1">
                          <a:latin typeface="Abadi" panose="020B0604020202020204" pitchFamily="34" charset="0"/>
                        </a:rPr>
                        <a:t>numpy</a:t>
                      </a:r>
                      <a:endParaRPr lang="es-PE" sz="1600" dirty="0">
                        <a:latin typeface="Abadi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600" dirty="0">
                          <a:latin typeface="Abadi" panose="020B0604020202020204" pitchFamily="34" charset="0"/>
                        </a:rPr>
                        <a:t>Manipulación de </a:t>
                      </a:r>
                      <a:r>
                        <a:rPr lang="es-PE" sz="1600" dirty="0" err="1">
                          <a:latin typeface="Abadi" panose="020B0604020202020204" pitchFamily="34" charset="0"/>
                        </a:rPr>
                        <a:t>arrays</a:t>
                      </a:r>
                      <a:endParaRPr lang="es-PE" sz="1600" dirty="0">
                        <a:latin typeface="Abadi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303022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PE" sz="1600" dirty="0" err="1">
                          <a:latin typeface="Abadi" panose="020B0604020202020204" pitchFamily="34" charset="0"/>
                        </a:rPr>
                        <a:t>sklearn</a:t>
                      </a:r>
                      <a:endParaRPr lang="es-PE" sz="1600" dirty="0">
                        <a:latin typeface="Abadi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600" dirty="0">
                          <a:latin typeface="Abadi" panose="020B0604020202020204" pitchFamily="34" charset="0"/>
                        </a:rPr>
                        <a:t>Preprocesamiento, </a:t>
                      </a:r>
                      <a:r>
                        <a:rPr lang="es-PE" sz="1600" dirty="0" err="1">
                          <a:latin typeface="Abadi" panose="020B0604020202020204" pitchFamily="34" charset="0"/>
                        </a:rPr>
                        <a:t>clustering</a:t>
                      </a:r>
                      <a:r>
                        <a:rPr lang="es-PE" sz="1600" dirty="0">
                          <a:latin typeface="Abadi" panose="020B0604020202020204" pitchFamily="34" charset="0"/>
                        </a:rPr>
                        <a:t>, entre otro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98581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609585" rtl="0" eaLnBrk="1" latinLnBrk="0" hangingPunct="1"/>
                      <a:r>
                        <a:rPr lang="es-PE" sz="1600" b="0" kern="1200" dirty="0" err="1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plotly</a:t>
                      </a:r>
                      <a:endParaRPr lang="es-PE" sz="1600" b="0" kern="1200" dirty="0">
                        <a:solidFill>
                          <a:schemeClr val="dk1"/>
                        </a:solidFill>
                        <a:latin typeface="Abadi" panose="020B0604020104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609585" rtl="0" eaLnBrk="1" latinLnBrk="0" hangingPunct="1"/>
                      <a:r>
                        <a:rPr lang="es-PE" sz="1600" b="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Ploteo interactivo de mapa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55981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609585" rtl="0" eaLnBrk="1" latinLnBrk="0" hangingPunct="1"/>
                      <a:r>
                        <a:rPr lang="es-PE" sz="1600" b="0" kern="1200" dirty="0" err="1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docplex</a:t>
                      </a:r>
                      <a:endParaRPr lang="es-PE" sz="1600" b="0" kern="1200" dirty="0">
                        <a:solidFill>
                          <a:schemeClr val="dk1"/>
                        </a:solidFill>
                        <a:latin typeface="Abadi" panose="020B0604020104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b="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Algoritmos de optimización para ruta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10158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609585" rtl="0" eaLnBrk="1" latinLnBrk="0" hangingPunct="1"/>
                      <a:r>
                        <a:rPr lang="es-PE" sz="1600" b="0" kern="1200" dirty="0" err="1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tkinter</a:t>
                      </a:r>
                      <a:endParaRPr lang="es-PE" sz="1600" b="0" kern="1200" dirty="0">
                        <a:solidFill>
                          <a:schemeClr val="dk1"/>
                        </a:solidFill>
                        <a:latin typeface="Abadi" panose="020B0604020104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b="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Abrir cuadros de diálogo para cargas de archiv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6698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PE" sz="1600" dirty="0" err="1">
                          <a:latin typeface="Abadi" panose="020B0604020104020204" pitchFamily="34" charset="0"/>
                        </a:rPr>
                        <a:t>ipywidgets</a:t>
                      </a:r>
                      <a:endParaRPr lang="es-PE" sz="1600" dirty="0">
                        <a:latin typeface="Abadi" panose="020B06040201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dirty="0">
                          <a:latin typeface="Abadi" panose="020B0604020104020204" pitchFamily="34" charset="0"/>
                        </a:rPr>
                        <a:t>Crear prototipo para </a:t>
                      </a:r>
                      <a:r>
                        <a:rPr lang="es-PE" sz="1600" dirty="0" err="1">
                          <a:latin typeface="Abadi" panose="020B0604020104020204" pitchFamily="34" charset="0"/>
                        </a:rPr>
                        <a:t>product</a:t>
                      </a:r>
                      <a:r>
                        <a:rPr lang="es-PE" sz="1600" dirty="0">
                          <a:latin typeface="Abadi" panose="020B0604020104020204" pitchFamily="34" charset="0"/>
                        </a:rPr>
                        <a:t> </a:t>
                      </a:r>
                      <a:r>
                        <a:rPr lang="es-PE" sz="1600" dirty="0" err="1">
                          <a:latin typeface="Abadi" panose="020B0604020104020204" pitchFamily="34" charset="0"/>
                        </a:rPr>
                        <a:t>owner</a:t>
                      </a:r>
                      <a:endParaRPr lang="es-PE" sz="1600" dirty="0">
                        <a:latin typeface="Abadi" panose="020B0604020104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13680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PE" sz="1600" dirty="0" err="1">
                          <a:latin typeface="Abadi" panose="020B0604020104020204" pitchFamily="34" charset="0"/>
                        </a:rPr>
                        <a:t>IPython</a:t>
                      </a:r>
                      <a:endParaRPr lang="es-PE" sz="1600" dirty="0">
                        <a:latin typeface="Abadi" panose="020B06040201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dirty="0">
                          <a:latin typeface="Abadi" panose="020B0604020104020204" pitchFamily="34" charset="0"/>
                        </a:rPr>
                        <a:t>Mostrar controles en </a:t>
                      </a:r>
                      <a:r>
                        <a:rPr lang="es-PE" sz="1600" dirty="0" err="1">
                          <a:latin typeface="Abadi" panose="020B0604020104020204" pitchFamily="34" charset="0"/>
                        </a:rPr>
                        <a:t>ipywidgets</a:t>
                      </a:r>
                      <a:endParaRPr lang="es-PE" sz="1600" dirty="0">
                        <a:latin typeface="Abadi" panose="020B0604020104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9489875"/>
                  </a:ext>
                </a:extLst>
              </a:tr>
              <a:tr h="236225">
                <a:tc>
                  <a:txBody>
                    <a:bodyPr/>
                    <a:lstStyle/>
                    <a:p>
                      <a:pPr algn="ctr"/>
                      <a:r>
                        <a:rPr lang="es-PE" sz="1600" kern="1200" dirty="0" err="1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matplotlib</a:t>
                      </a:r>
                      <a:endParaRPr lang="es-PE" sz="1600" kern="1200" dirty="0">
                        <a:solidFill>
                          <a:schemeClr val="dk1"/>
                        </a:solidFill>
                        <a:latin typeface="Abadi" panose="020B0604020104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Ploteo en gener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6784608"/>
                  </a:ext>
                </a:extLst>
              </a:tr>
              <a:tr h="236225">
                <a:tc>
                  <a:txBody>
                    <a:bodyPr/>
                    <a:lstStyle/>
                    <a:p>
                      <a:pPr algn="ctr"/>
                      <a:r>
                        <a:rPr lang="es-PE" sz="1600" kern="1200" dirty="0" err="1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io</a:t>
                      </a:r>
                      <a:endParaRPr lang="es-PE" sz="1600" kern="1200" dirty="0">
                        <a:solidFill>
                          <a:schemeClr val="dk1"/>
                        </a:solidFill>
                        <a:latin typeface="Abadi" panose="020B0604020104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Leer archivos binario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6709378"/>
                  </a:ext>
                </a:extLst>
              </a:tr>
              <a:tr h="236225">
                <a:tc>
                  <a:txBody>
                    <a:bodyPr/>
                    <a:lstStyle/>
                    <a:p>
                      <a:pPr algn="ctr"/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o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Cambiar directorio para llamar librería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8748295"/>
                  </a:ext>
                </a:extLst>
              </a:tr>
              <a:tr h="236225">
                <a:tc>
                  <a:txBody>
                    <a:bodyPr/>
                    <a:lstStyle/>
                    <a:p>
                      <a:pPr algn="ctr"/>
                      <a:r>
                        <a:rPr lang="es-PE" sz="1600" kern="1200" dirty="0" err="1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warnings</a:t>
                      </a:r>
                      <a:endParaRPr lang="es-PE" sz="1600" kern="1200" dirty="0">
                        <a:solidFill>
                          <a:schemeClr val="dk1"/>
                        </a:solidFill>
                        <a:latin typeface="Abadi" panose="020B0604020104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Ignorar advertencias del sistem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2225094"/>
                  </a:ext>
                </a:extLst>
              </a:tr>
              <a:tr h="236225">
                <a:tc>
                  <a:txBody>
                    <a:bodyPr/>
                    <a:lstStyle/>
                    <a:p>
                      <a:pPr algn="ctr"/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pan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Mejor visualización para </a:t>
                      </a:r>
                      <a:r>
                        <a:rPr lang="es-PE" sz="1600" kern="1200" dirty="0" err="1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dataframes</a:t>
                      </a:r>
                      <a:endParaRPr lang="es-PE" sz="1600" kern="1200" dirty="0">
                        <a:solidFill>
                          <a:schemeClr val="dk1"/>
                        </a:solidFill>
                        <a:latin typeface="Abadi" panose="020B0604020104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7427332"/>
                  </a:ext>
                </a:extLst>
              </a:tr>
              <a:tr h="236225">
                <a:tc>
                  <a:txBody>
                    <a:bodyPr/>
                    <a:lstStyle/>
                    <a:p>
                      <a:pPr algn="ctr"/>
                      <a:r>
                        <a:rPr lang="es-PE" sz="1600" kern="1200" dirty="0" err="1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modulos</a:t>
                      </a:r>
                      <a:endParaRPr lang="es-PE" sz="1600" kern="1200" dirty="0">
                        <a:solidFill>
                          <a:schemeClr val="dk1"/>
                        </a:solidFill>
                        <a:latin typeface="Abadi" panose="020B0604020104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Librerías locales para el prototip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74034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6235601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9AB1BE36-58CB-3216-4063-0F7A6A9E660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E63616-A2E2-49CD-8B48-1F006743AC2B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3A653424-4CDA-8A84-F335-F9B578607A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Proceso de desarrollo del software</a:t>
            </a:r>
          </a:p>
        </p:txBody>
      </p:sp>
      <p:pic>
        <p:nvPicPr>
          <p:cNvPr id="20" name="Gráfico 19" descr="Ilustrador con relleno sólido">
            <a:extLst>
              <a:ext uri="{FF2B5EF4-FFF2-40B4-BE49-F238E27FC236}">
                <a16:creationId xmlns:a16="http://schemas.microsoft.com/office/drawing/2014/main" id="{79AE2B4D-F739-9248-BA09-C4A2E72000C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527848" y="2714237"/>
            <a:ext cx="2312928" cy="2312928"/>
          </a:xfrm>
          <a:prstGeom prst="rect">
            <a:avLst/>
          </a:prstGeom>
        </p:spPr>
      </p:pic>
      <p:sp>
        <p:nvSpPr>
          <p:cNvPr id="24" name="Flecha: a la derecha 23">
            <a:extLst>
              <a:ext uri="{FF2B5EF4-FFF2-40B4-BE49-F238E27FC236}">
                <a16:creationId xmlns:a16="http://schemas.microsoft.com/office/drawing/2014/main" id="{9A8320B6-75FB-081C-9D4B-5C8A082DCB8A}"/>
              </a:ext>
            </a:extLst>
          </p:cNvPr>
          <p:cNvSpPr/>
          <p:nvPr/>
        </p:nvSpPr>
        <p:spPr>
          <a:xfrm>
            <a:off x="6355737" y="3586692"/>
            <a:ext cx="887150" cy="546265"/>
          </a:xfrm>
          <a:prstGeom prst="rightArrow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grpSp>
        <p:nvGrpSpPr>
          <p:cNvPr id="29" name="Grupo 28">
            <a:extLst>
              <a:ext uri="{FF2B5EF4-FFF2-40B4-BE49-F238E27FC236}">
                <a16:creationId xmlns:a16="http://schemas.microsoft.com/office/drawing/2014/main" id="{70AE2E76-01EA-7CFA-0CDA-4AE38A7AFFF8}"/>
              </a:ext>
            </a:extLst>
          </p:cNvPr>
          <p:cNvGrpSpPr/>
          <p:nvPr/>
        </p:nvGrpSpPr>
        <p:grpSpPr>
          <a:xfrm>
            <a:off x="2079375" y="1184380"/>
            <a:ext cx="3727215" cy="1831713"/>
            <a:chOff x="849441" y="986497"/>
            <a:chExt cx="4708211" cy="2313817"/>
          </a:xfrm>
        </p:grpSpPr>
        <p:pic>
          <p:nvPicPr>
            <p:cNvPr id="5" name="Gráfico 4" descr="Notas adhesivas 3 con relleno sólido">
              <a:extLst>
                <a:ext uri="{FF2B5EF4-FFF2-40B4-BE49-F238E27FC236}">
                  <a16:creationId xmlns:a16="http://schemas.microsoft.com/office/drawing/2014/main" id="{51780122-FA84-A8DE-0467-B5D4F83CDD0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849441" y="1221897"/>
              <a:ext cx="1835971" cy="1835971"/>
            </a:xfrm>
            <a:prstGeom prst="rect">
              <a:avLst/>
            </a:prstGeom>
          </p:spPr>
        </p:pic>
        <p:grpSp>
          <p:nvGrpSpPr>
            <p:cNvPr id="9" name="Grupo 8">
              <a:extLst>
                <a:ext uri="{FF2B5EF4-FFF2-40B4-BE49-F238E27FC236}">
                  <a16:creationId xmlns:a16="http://schemas.microsoft.com/office/drawing/2014/main" id="{8BF15342-4508-2B1F-70BB-46C6B04F5425}"/>
                </a:ext>
              </a:extLst>
            </p:cNvPr>
            <p:cNvGrpSpPr/>
            <p:nvPr/>
          </p:nvGrpSpPr>
          <p:grpSpPr>
            <a:xfrm>
              <a:off x="3264253" y="986497"/>
              <a:ext cx="2293399" cy="2313817"/>
              <a:chOff x="147657" y="-571791"/>
              <a:chExt cx="4461297" cy="4461297"/>
            </a:xfrm>
          </p:grpSpPr>
          <p:pic>
            <p:nvPicPr>
              <p:cNvPr id="10" name="Gráfico 9" descr="Tabla con relleno sólido">
                <a:extLst>
                  <a:ext uri="{FF2B5EF4-FFF2-40B4-BE49-F238E27FC236}">
                    <a16:creationId xmlns:a16="http://schemas.microsoft.com/office/drawing/2014/main" id="{60B64334-332E-E799-6C2B-19F3B7D1885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rcRect/>
              <a:stretch/>
            </p:blipFill>
            <p:spPr>
              <a:xfrm>
                <a:off x="147657" y="-571791"/>
                <a:ext cx="4461297" cy="4461297"/>
              </a:xfrm>
              <a:prstGeom prst="rect">
                <a:avLst/>
              </a:prstGeom>
            </p:spPr>
          </p:pic>
          <p:pic>
            <p:nvPicPr>
              <p:cNvPr id="11" name="Gráfico 10" descr="Carpeta abierta con relleno sólido">
                <a:extLst>
                  <a:ext uri="{FF2B5EF4-FFF2-40B4-BE49-F238E27FC236}">
                    <a16:creationId xmlns:a16="http://schemas.microsoft.com/office/drawing/2014/main" id="{2AFA84A3-0E8E-327E-4475-C08A9F811C2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984670" y="583470"/>
                <a:ext cx="610797" cy="610797"/>
              </a:xfrm>
              <a:prstGeom prst="rect">
                <a:avLst/>
              </a:prstGeom>
            </p:spPr>
          </p:pic>
          <p:pic>
            <p:nvPicPr>
              <p:cNvPr id="12" name="Gráfico 11" descr="Carpeta abierta con relleno sólido">
                <a:extLst>
                  <a:ext uri="{FF2B5EF4-FFF2-40B4-BE49-F238E27FC236}">
                    <a16:creationId xmlns:a16="http://schemas.microsoft.com/office/drawing/2014/main" id="{8BC4F28F-08E4-DE7C-F05F-08DFF37A8FC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984670" y="1353458"/>
                <a:ext cx="610797" cy="610797"/>
              </a:xfrm>
              <a:prstGeom prst="rect">
                <a:avLst/>
              </a:prstGeom>
            </p:spPr>
          </p:pic>
          <p:pic>
            <p:nvPicPr>
              <p:cNvPr id="13" name="Gráfico 12" descr="Carpeta abierta con relleno sólido">
                <a:extLst>
                  <a:ext uri="{FF2B5EF4-FFF2-40B4-BE49-F238E27FC236}">
                    <a16:creationId xmlns:a16="http://schemas.microsoft.com/office/drawing/2014/main" id="{092679C4-E770-69E2-2743-A8317117BB6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984670" y="2092189"/>
                <a:ext cx="610797" cy="610797"/>
              </a:xfrm>
              <a:prstGeom prst="rect">
                <a:avLst/>
              </a:prstGeom>
            </p:spPr>
          </p:pic>
          <p:pic>
            <p:nvPicPr>
              <p:cNvPr id="14" name="Gráfico 13" descr="Carpeta abierta con relleno sólido">
                <a:extLst>
                  <a:ext uri="{FF2B5EF4-FFF2-40B4-BE49-F238E27FC236}">
                    <a16:creationId xmlns:a16="http://schemas.microsoft.com/office/drawing/2014/main" id="{27B0E1BE-2FF9-5CF5-6ECF-44DC71FCC8B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2097039" y="575543"/>
                <a:ext cx="610797" cy="610797"/>
              </a:xfrm>
              <a:prstGeom prst="rect">
                <a:avLst/>
              </a:prstGeom>
            </p:spPr>
          </p:pic>
          <p:pic>
            <p:nvPicPr>
              <p:cNvPr id="15" name="Gráfico 14" descr="Carpeta abierta con relleno sólido">
                <a:extLst>
                  <a:ext uri="{FF2B5EF4-FFF2-40B4-BE49-F238E27FC236}">
                    <a16:creationId xmlns:a16="http://schemas.microsoft.com/office/drawing/2014/main" id="{0C3E4373-BF04-0797-7F20-076838EE4EE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2108062" y="1353458"/>
                <a:ext cx="610797" cy="610797"/>
              </a:xfrm>
              <a:prstGeom prst="rect">
                <a:avLst/>
              </a:prstGeom>
            </p:spPr>
          </p:pic>
          <p:pic>
            <p:nvPicPr>
              <p:cNvPr id="16" name="Gráfico 15" descr="Carpeta abierta con relleno sólido">
                <a:extLst>
                  <a:ext uri="{FF2B5EF4-FFF2-40B4-BE49-F238E27FC236}">
                    <a16:creationId xmlns:a16="http://schemas.microsoft.com/office/drawing/2014/main" id="{4129626A-1E09-E886-ABFB-4680CF87CE2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2089848" y="2098189"/>
                <a:ext cx="610797" cy="610797"/>
              </a:xfrm>
              <a:prstGeom prst="rect">
                <a:avLst/>
              </a:prstGeom>
            </p:spPr>
          </p:pic>
          <p:pic>
            <p:nvPicPr>
              <p:cNvPr id="17" name="Gráfico 16" descr="Carpeta abierta con relleno sólido">
                <a:extLst>
                  <a:ext uri="{FF2B5EF4-FFF2-40B4-BE49-F238E27FC236}">
                    <a16:creationId xmlns:a16="http://schemas.microsoft.com/office/drawing/2014/main" id="{7A91AC0F-EDE8-0E82-E6DE-DDF7CBBAA1D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239450" y="583470"/>
                <a:ext cx="610797" cy="610797"/>
              </a:xfrm>
              <a:prstGeom prst="rect">
                <a:avLst/>
              </a:prstGeom>
            </p:spPr>
          </p:pic>
          <p:pic>
            <p:nvPicPr>
              <p:cNvPr id="18" name="Gráfico 17" descr="Carpeta abierta con relleno sólido">
                <a:extLst>
                  <a:ext uri="{FF2B5EF4-FFF2-40B4-BE49-F238E27FC236}">
                    <a16:creationId xmlns:a16="http://schemas.microsoft.com/office/drawing/2014/main" id="{7F8AD9FA-FC1C-4FD2-5D0E-2FD63B48E25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240793" y="1346667"/>
                <a:ext cx="610797" cy="610797"/>
              </a:xfrm>
              <a:prstGeom prst="rect">
                <a:avLst/>
              </a:prstGeom>
            </p:spPr>
          </p:pic>
          <p:pic>
            <p:nvPicPr>
              <p:cNvPr id="19" name="Gráfico 18" descr="Carpeta abierta con relleno sólido">
                <a:extLst>
                  <a:ext uri="{FF2B5EF4-FFF2-40B4-BE49-F238E27FC236}">
                    <a16:creationId xmlns:a16="http://schemas.microsoft.com/office/drawing/2014/main" id="{685FAD43-C377-4407-4319-3E9B8D82035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232259" y="2092189"/>
                <a:ext cx="610797" cy="610797"/>
              </a:xfrm>
              <a:prstGeom prst="rect">
                <a:avLst/>
              </a:prstGeom>
            </p:spPr>
          </p:pic>
        </p:grpSp>
        <p:sp>
          <p:nvSpPr>
            <p:cNvPr id="23" name="Flecha: a la derecha 22">
              <a:extLst>
                <a:ext uri="{FF2B5EF4-FFF2-40B4-BE49-F238E27FC236}">
                  <a16:creationId xmlns:a16="http://schemas.microsoft.com/office/drawing/2014/main" id="{07BDAC6A-EAFE-8E4E-BE6A-3C0EA8B9F536}"/>
                </a:ext>
              </a:extLst>
            </p:cNvPr>
            <p:cNvSpPr/>
            <p:nvPr/>
          </p:nvSpPr>
          <p:spPr>
            <a:xfrm>
              <a:off x="2747584" y="1985012"/>
              <a:ext cx="557615" cy="343353"/>
            </a:xfrm>
            <a:prstGeom prst="rightArrow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</p:grpSp>
      <p:sp>
        <p:nvSpPr>
          <p:cNvPr id="25" name="CuadroTexto 24">
            <a:extLst>
              <a:ext uri="{FF2B5EF4-FFF2-40B4-BE49-F238E27FC236}">
                <a16:creationId xmlns:a16="http://schemas.microsoft.com/office/drawing/2014/main" id="{6160EF56-DAEC-8F72-CD71-735BEE1C9312}"/>
              </a:ext>
            </a:extLst>
          </p:cNvPr>
          <p:cNvSpPr txBox="1"/>
          <p:nvPr/>
        </p:nvSpPr>
        <p:spPr>
          <a:xfrm>
            <a:off x="1570488" y="6156037"/>
            <a:ext cx="24665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1400" dirty="0"/>
              <a:t>Desarrollar código de prueba y librerías a partir de este</a:t>
            </a:r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F50C976C-9A28-4D1D-6C4D-BFB013B4AD4C}"/>
              </a:ext>
            </a:extLst>
          </p:cNvPr>
          <p:cNvSpPr txBox="1"/>
          <p:nvPr/>
        </p:nvSpPr>
        <p:spPr>
          <a:xfrm>
            <a:off x="3833392" y="6169073"/>
            <a:ext cx="240877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1400" dirty="0"/>
              <a:t>Empaquetar las funciones y subirlas a librerías</a:t>
            </a: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5ECE1C21-3156-D328-85EE-108CE2A312A9}"/>
              </a:ext>
            </a:extLst>
          </p:cNvPr>
          <p:cNvSpPr txBox="1"/>
          <p:nvPr/>
        </p:nvSpPr>
        <p:spPr>
          <a:xfrm>
            <a:off x="7534954" y="5102618"/>
            <a:ext cx="39857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dirty="0"/>
              <a:t>Llamar funciones desde el prototipo</a:t>
            </a:r>
          </a:p>
        </p:txBody>
      </p:sp>
      <p:grpSp>
        <p:nvGrpSpPr>
          <p:cNvPr id="44" name="Grupo 43">
            <a:extLst>
              <a:ext uri="{FF2B5EF4-FFF2-40B4-BE49-F238E27FC236}">
                <a16:creationId xmlns:a16="http://schemas.microsoft.com/office/drawing/2014/main" id="{F9406240-5EF4-F13E-9367-6505F329ACF3}"/>
              </a:ext>
            </a:extLst>
          </p:cNvPr>
          <p:cNvGrpSpPr/>
          <p:nvPr/>
        </p:nvGrpSpPr>
        <p:grpSpPr>
          <a:xfrm>
            <a:off x="2077035" y="2897601"/>
            <a:ext cx="3727215" cy="1831713"/>
            <a:chOff x="849441" y="986497"/>
            <a:chExt cx="4708211" cy="2313817"/>
          </a:xfrm>
        </p:grpSpPr>
        <p:pic>
          <p:nvPicPr>
            <p:cNvPr id="45" name="Gráfico 44" descr="Notas adhesivas 3 con relleno sólido">
              <a:extLst>
                <a:ext uri="{FF2B5EF4-FFF2-40B4-BE49-F238E27FC236}">
                  <a16:creationId xmlns:a16="http://schemas.microsoft.com/office/drawing/2014/main" id="{C3AB1750-0469-31BC-1AA1-AEC86E4F44C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849441" y="1221897"/>
              <a:ext cx="1835971" cy="1835971"/>
            </a:xfrm>
            <a:prstGeom prst="rect">
              <a:avLst/>
            </a:prstGeom>
          </p:spPr>
        </p:pic>
        <p:grpSp>
          <p:nvGrpSpPr>
            <p:cNvPr id="46" name="Grupo 45">
              <a:extLst>
                <a:ext uri="{FF2B5EF4-FFF2-40B4-BE49-F238E27FC236}">
                  <a16:creationId xmlns:a16="http://schemas.microsoft.com/office/drawing/2014/main" id="{B4F13F74-6CC5-E753-7A66-114138A3D38A}"/>
                </a:ext>
              </a:extLst>
            </p:cNvPr>
            <p:cNvGrpSpPr/>
            <p:nvPr/>
          </p:nvGrpSpPr>
          <p:grpSpPr>
            <a:xfrm>
              <a:off x="3264253" y="986497"/>
              <a:ext cx="2293399" cy="2313817"/>
              <a:chOff x="147657" y="-571791"/>
              <a:chExt cx="4461297" cy="4461297"/>
            </a:xfrm>
          </p:grpSpPr>
          <p:pic>
            <p:nvPicPr>
              <p:cNvPr id="48" name="Gráfico 47" descr="Tabla con relleno sólido">
                <a:extLst>
                  <a:ext uri="{FF2B5EF4-FFF2-40B4-BE49-F238E27FC236}">
                    <a16:creationId xmlns:a16="http://schemas.microsoft.com/office/drawing/2014/main" id="{69B38290-9164-C7EA-D5B8-69211C26C2E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rcRect/>
              <a:stretch/>
            </p:blipFill>
            <p:spPr>
              <a:xfrm>
                <a:off x="147657" y="-571791"/>
                <a:ext cx="4461297" cy="4461297"/>
              </a:xfrm>
              <a:prstGeom prst="rect">
                <a:avLst/>
              </a:prstGeom>
            </p:spPr>
          </p:pic>
          <p:pic>
            <p:nvPicPr>
              <p:cNvPr id="49" name="Gráfico 48" descr="Carpeta abierta con relleno sólido">
                <a:extLst>
                  <a:ext uri="{FF2B5EF4-FFF2-40B4-BE49-F238E27FC236}">
                    <a16:creationId xmlns:a16="http://schemas.microsoft.com/office/drawing/2014/main" id="{5F1C2C7C-FC26-6E1B-6FCE-27F944AEBD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984670" y="583470"/>
                <a:ext cx="610797" cy="610797"/>
              </a:xfrm>
              <a:prstGeom prst="rect">
                <a:avLst/>
              </a:prstGeom>
            </p:spPr>
          </p:pic>
          <p:pic>
            <p:nvPicPr>
              <p:cNvPr id="50" name="Gráfico 49" descr="Carpeta abierta con relleno sólido">
                <a:extLst>
                  <a:ext uri="{FF2B5EF4-FFF2-40B4-BE49-F238E27FC236}">
                    <a16:creationId xmlns:a16="http://schemas.microsoft.com/office/drawing/2014/main" id="{E8C107F4-5CA0-E14A-E814-8036BD45239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984670" y="1353458"/>
                <a:ext cx="610797" cy="610797"/>
              </a:xfrm>
              <a:prstGeom prst="rect">
                <a:avLst/>
              </a:prstGeom>
            </p:spPr>
          </p:pic>
          <p:pic>
            <p:nvPicPr>
              <p:cNvPr id="51" name="Gráfico 50" descr="Carpeta abierta con relleno sólido">
                <a:extLst>
                  <a:ext uri="{FF2B5EF4-FFF2-40B4-BE49-F238E27FC236}">
                    <a16:creationId xmlns:a16="http://schemas.microsoft.com/office/drawing/2014/main" id="{F56F5D48-1E70-6654-410C-6B31A57DBC2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984670" y="2092189"/>
                <a:ext cx="610797" cy="610797"/>
              </a:xfrm>
              <a:prstGeom prst="rect">
                <a:avLst/>
              </a:prstGeom>
            </p:spPr>
          </p:pic>
          <p:pic>
            <p:nvPicPr>
              <p:cNvPr id="52" name="Gráfico 51" descr="Carpeta abierta con relleno sólido">
                <a:extLst>
                  <a:ext uri="{FF2B5EF4-FFF2-40B4-BE49-F238E27FC236}">
                    <a16:creationId xmlns:a16="http://schemas.microsoft.com/office/drawing/2014/main" id="{3F10CB10-0D3E-31C8-51CC-F67426141D0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2097039" y="575543"/>
                <a:ext cx="610797" cy="610797"/>
              </a:xfrm>
              <a:prstGeom prst="rect">
                <a:avLst/>
              </a:prstGeom>
            </p:spPr>
          </p:pic>
          <p:pic>
            <p:nvPicPr>
              <p:cNvPr id="53" name="Gráfico 52" descr="Carpeta abierta con relleno sólido">
                <a:extLst>
                  <a:ext uri="{FF2B5EF4-FFF2-40B4-BE49-F238E27FC236}">
                    <a16:creationId xmlns:a16="http://schemas.microsoft.com/office/drawing/2014/main" id="{CA1F8A6D-ACFC-B868-FBD8-AE2BBDA6896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2108062" y="1353458"/>
                <a:ext cx="610797" cy="610797"/>
              </a:xfrm>
              <a:prstGeom prst="rect">
                <a:avLst/>
              </a:prstGeom>
            </p:spPr>
          </p:pic>
          <p:pic>
            <p:nvPicPr>
              <p:cNvPr id="54" name="Gráfico 53" descr="Carpeta abierta con relleno sólido">
                <a:extLst>
                  <a:ext uri="{FF2B5EF4-FFF2-40B4-BE49-F238E27FC236}">
                    <a16:creationId xmlns:a16="http://schemas.microsoft.com/office/drawing/2014/main" id="{4D14C182-0654-0EA1-4E97-C9E635FF516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2089848" y="2098189"/>
                <a:ext cx="610797" cy="610797"/>
              </a:xfrm>
              <a:prstGeom prst="rect">
                <a:avLst/>
              </a:prstGeom>
            </p:spPr>
          </p:pic>
          <p:pic>
            <p:nvPicPr>
              <p:cNvPr id="55" name="Gráfico 54" descr="Carpeta abierta con relleno sólido">
                <a:extLst>
                  <a:ext uri="{FF2B5EF4-FFF2-40B4-BE49-F238E27FC236}">
                    <a16:creationId xmlns:a16="http://schemas.microsoft.com/office/drawing/2014/main" id="{7F4D4921-DB89-82C9-BBCC-1A260F870A6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239450" y="583470"/>
                <a:ext cx="610797" cy="610797"/>
              </a:xfrm>
              <a:prstGeom prst="rect">
                <a:avLst/>
              </a:prstGeom>
            </p:spPr>
          </p:pic>
          <p:pic>
            <p:nvPicPr>
              <p:cNvPr id="56" name="Gráfico 55" descr="Carpeta abierta con relleno sólido">
                <a:extLst>
                  <a:ext uri="{FF2B5EF4-FFF2-40B4-BE49-F238E27FC236}">
                    <a16:creationId xmlns:a16="http://schemas.microsoft.com/office/drawing/2014/main" id="{C7F64300-44FD-A198-C446-6C638D14BCE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240793" y="1346667"/>
                <a:ext cx="610797" cy="610797"/>
              </a:xfrm>
              <a:prstGeom prst="rect">
                <a:avLst/>
              </a:prstGeom>
            </p:spPr>
          </p:pic>
          <p:pic>
            <p:nvPicPr>
              <p:cNvPr id="57" name="Gráfico 56" descr="Carpeta abierta con relleno sólido">
                <a:extLst>
                  <a:ext uri="{FF2B5EF4-FFF2-40B4-BE49-F238E27FC236}">
                    <a16:creationId xmlns:a16="http://schemas.microsoft.com/office/drawing/2014/main" id="{942C043C-B9B7-9A9C-F436-61D97CA36DF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232259" y="2092189"/>
                <a:ext cx="610797" cy="610797"/>
              </a:xfrm>
              <a:prstGeom prst="rect">
                <a:avLst/>
              </a:prstGeom>
            </p:spPr>
          </p:pic>
        </p:grpSp>
        <p:sp>
          <p:nvSpPr>
            <p:cNvPr id="47" name="Flecha: a la derecha 46">
              <a:extLst>
                <a:ext uri="{FF2B5EF4-FFF2-40B4-BE49-F238E27FC236}">
                  <a16:creationId xmlns:a16="http://schemas.microsoft.com/office/drawing/2014/main" id="{D8407504-A2F0-4345-2865-477DA43F9497}"/>
                </a:ext>
              </a:extLst>
            </p:cNvPr>
            <p:cNvSpPr/>
            <p:nvPr/>
          </p:nvSpPr>
          <p:spPr>
            <a:xfrm>
              <a:off x="2747584" y="1985012"/>
              <a:ext cx="557615" cy="343353"/>
            </a:xfrm>
            <a:prstGeom prst="rightArrow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</p:grpSp>
      <p:grpSp>
        <p:nvGrpSpPr>
          <p:cNvPr id="72" name="Grupo 71">
            <a:extLst>
              <a:ext uri="{FF2B5EF4-FFF2-40B4-BE49-F238E27FC236}">
                <a16:creationId xmlns:a16="http://schemas.microsoft.com/office/drawing/2014/main" id="{2454C457-09E3-A48E-42F3-24868120D171}"/>
              </a:ext>
            </a:extLst>
          </p:cNvPr>
          <p:cNvGrpSpPr/>
          <p:nvPr/>
        </p:nvGrpSpPr>
        <p:grpSpPr>
          <a:xfrm>
            <a:off x="2079375" y="4529291"/>
            <a:ext cx="3727215" cy="1831713"/>
            <a:chOff x="849441" y="986497"/>
            <a:chExt cx="4708211" cy="2313817"/>
          </a:xfrm>
        </p:grpSpPr>
        <p:pic>
          <p:nvPicPr>
            <p:cNvPr id="73" name="Gráfico 72" descr="Notas adhesivas 3 con relleno sólido">
              <a:extLst>
                <a:ext uri="{FF2B5EF4-FFF2-40B4-BE49-F238E27FC236}">
                  <a16:creationId xmlns:a16="http://schemas.microsoft.com/office/drawing/2014/main" id="{8F419AFC-9DA1-C6F2-652C-BE289CDCA8B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849441" y="1221897"/>
              <a:ext cx="1835971" cy="1835971"/>
            </a:xfrm>
            <a:prstGeom prst="rect">
              <a:avLst/>
            </a:prstGeom>
          </p:spPr>
        </p:pic>
        <p:grpSp>
          <p:nvGrpSpPr>
            <p:cNvPr id="74" name="Grupo 73">
              <a:extLst>
                <a:ext uri="{FF2B5EF4-FFF2-40B4-BE49-F238E27FC236}">
                  <a16:creationId xmlns:a16="http://schemas.microsoft.com/office/drawing/2014/main" id="{29EC3F4F-4BDE-C2A2-9A7A-35025D0BE9E7}"/>
                </a:ext>
              </a:extLst>
            </p:cNvPr>
            <p:cNvGrpSpPr/>
            <p:nvPr/>
          </p:nvGrpSpPr>
          <p:grpSpPr>
            <a:xfrm>
              <a:off x="3264253" y="986497"/>
              <a:ext cx="2293399" cy="2313817"/>
              <a:chOff x="147657" y="-571791"/>
              <a:chExt cx="4461297" cy="4461297"/>
            </a:xfrm>
          </p:grpSpPr>
          <p:pic>
            <p:nvPicPr>
              <p:cNvPr id="76" name="Gráfico 75" descr="Tabla con relleno sólido">
                <a:extLst>
                  <a:ext uri="{FF2B5EF4-FFF2-40B4-BE49-F238E27FC236}">
                    <a16:creationId xmlns:a16="http://schemas.microsoft.com/office/drawing/2014/main" id="{EC23C2AF-13DF-B1DA-1BB4-18ACC404F19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rcRect/>
              <a:stretch/>
            </p:blipFill>
            <p:spPr>
              <a:xfrm>
                <a:off x="147657" y="-571791"/>
                <a:ext cx="4461297" cy="4461297"/>
              </a:xfrm>
              <a:prstGeom prst="rect">
                <a:avLst/>
              </a:prstGeom>
            </p:spPr>
          </p:pic>
          <p:pic>
            <p:nvPicPr>
              <p:cNvPr id="77" name="Gráfico 76" descr="Carpeta abierta con relleno sólido">
                <a:extLst>
                  <a:ext uri="{FF2B5EF4-FFF2-40B4-BE49-F238E27FC236}">
                    <a16:creationId xmlns:a16="http://schemas.microsoft.com/office/drawing/2014/main" id="{B32F815D-9964-3EA3-5005-D86A50A52D3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984670" y="583470"/>
                <a:ext cx="610797" cy="610797"/>
              </a:xfrm>
              <a:prstGeom prst="rect">
                <a:avLst/>
              </a:prstGeom>
            </p:spPr>
          </p:pic>
          <p:pic>
            <p:nvPicPr>
              <p:cNvPr id="78" name="Gráfico 77" descr="Carpeta abierta con relleno sólido">
                <a:extLst>
                  <a:ext uri="{FF2B5EF4-FFF2-40B4-BE49-F238E27FC236}">
                    <a16:creationId xmlns:a16="http://schemas.microsoft.com/office/drawing/2014/main" id="{8A99399B-0BB3-3775-302D-C898C25398D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984670" y="1353458"/>
                <a:ext cx="610797" cy="610797"/>
              </a:xfrm>
              <a:prstGeom prst="rect">
                <a:avLst/>
              </a:prstGeom>
            </p:spPr>
          </p:pic>
          <p:pic>
            <p:nvPicPr>
              <p:cNvPr id="79" name="Gráfico 78" descr="Carpeta abierta con relleno sólido">
                <a:extLst>
                  <a:ext uri="{FF2B5EF4-FFF2-40B4-BE49-F238E27FC236}">
                    <a16:creationId xmlns:a16="http://schemas.microsoft.com/office/drawing/2014/main" id="{CDAFB0F5-EDA6-AB25-32AD-CC1554BD0D9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984670" y="2092189"/>
                <a:ext cx="610797" cy="610797"/>
              </a:xfrm>
              <a:prstGeom prst="rect">
                <a:avLst/>
              </a:prstGeom>
            </p:spPr>
          </p:pic>
          <p:pic>
            <p:nvPicPr>
              <p:cNvPr id="80" name="Gráfico 79" descr="Carpeta abierta con relleno sólido">
                <a:extLst>
                  <a:ext uri="{FF2B5EF4-FFF2-40B4-BE49-F238E27FC236}">
                    <a16:creationId xmlns:a16="http://schemas.microsoft.com/office/drawing/2014/main" id="{83D17129-52B6-2804-0289-EB3097D489A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2097039" y="575543"/>
                <a:ext cx="610797" cy="610797"/>
              </a:xfrm>
              <a:prstGeom prst="rect">
                <a:avLst/>
              </a:prstGeom>
            </p:spPr>
          </p:pic>
          <p:pic>
            <p:nvPicPr>
              <p:cNvPr id="81" name="Gráfico 80" descr="Carpeta abierta con relleno sólido">
                <a:extLst>
                  <a:ext uri="{FF2B5EF4-FFF2-40B4-BE49-F238E27FC236}">
                    <a16:creationId xmlns:a16="http://schemas.microsoft.com/office/drawing/2014/main" id="{B1537B10-DFA0-C524-6D73-7D22173B16F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2108062" y="1353458"/>
                <a:ext cx="610797" cy="610797"/>
              </a:xfrm>
              <a:prstGeom prst="rect">
                <a:avLst/>
              </a:prstGeom>
            </p:spPr>
          </p:pic>
          <p:pic>
            <p:nvPicPr>
              <p:cNvPr id="82" name="Gráfico 81" descr="Carpeta abierta con relleno sólido">
                <a:extLst>
                  <a:ext uri="{FF2B5EF4-FFF2-40B4-BE49-F238E27FC236}">
                    <a16:creationId xmlns:a16="http://schemas.microsoft.com/office/drawing/2014/main" id="{02B92314-A176-0D33-FC75-F45772F9893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2089848" y="2098189"/>
                <a:ext cx="610797" cy="610797"/>
              </a:xfrm>
              <a:prstGeom prst="rect">
                <a:avLst/>
              </a:prstGeom>
            </p:spPr>
          </p:pic>
          <p:pic>
            <p:nvPicPr>
              <p:cNvPr id="83" name="Gráfico 82" descr="Carpeta abierta con relleno sólido">
                <a:extLst>
                  <a:ext uri="{FF2B5EF4-FFF2-40B4-BE49-F238E27FC236}">
                    <a16:creationId xmlns:a16="http://schemas.microsoft.com/office/drawing/2014/main" id="{DAF0DE7A-0857-05B7-8E8F-95F2C80BB63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239450" y="583470"/>
                <a:ext cx="610797" cy="610797"/>
              </a:xfrm>
              <a:prstGeom prst="rect">
                <a:avLst/>
              </a:prstGeom>
            </p:spPr>
          </p:pic>
          <p:pic>
            <p:nvPicPr>
              <p:cNvPr id="84" name="Gráfico 83" descr="Carpeta abierta con relleno sólido">
                <a:extLst>
                  <a:ext uri="{FF2B5EF4-FFF2-40B4-BE49-F238E27FC236}">
                    <a16:creationId xmlns:a16="http://schemas.microsoft.com/office/drawing/2014/main" id="{9D0311DC-2608-BE35-F29A-E80C174645A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240793" y="1346667"/>
                <a:ext cx="610797" cy="610797"/>
              </a:xfrm>
              <a:prstGeom prst="rect">
                <a:avLst/>
              </a:prstGeom>
            </p:spPr>
          </p:pic>
          <p:pic>
            <p:nvPicPr>
              <p:cNvPr id="85" name="Gráfico 84" descr="Carpeta abierta con relleno sólido">
                <a:extLst>
                  <a:ext uri="{FF2B5EF4-FFF2-40B4-BE49-F238E27FC236}">
                    <a16:creationId xmlns:a16="http://schemas.microsoft.com/office/drawing/2014/main" id="{CBA61F19-E7DD-8D5D-E44B-FC6C848ED6B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232259" y="2092189"/>
                <a:ext cx="610797" cy="610797"/>
              </a:xfrm>
              <a:prstGeom prst="rect">
                <a:avLst/>
              </a:prstGeom>
            </p:spPr>
          </p:pic>
        </p:grpSp>
        <p:sp>
          <p:nvSpPr>
            <p:cNvPr id="75" name="Flecha: a la derecha 74">
              <a:extLst>
                <a:ext uri="{FF2B5EF4-FFF2-40B4-BE49-F238E27FC236}">
                  <a16:creationId xmlns:a16="http://schemas.microsoft.com/office/drawing/2014/main" id="{55B72A81-9DFC-3D4C-14A3-7E828A2904F2}"/>
                </a:ext>
              </a:extLst>
            </p:cNvPr>
            <p:cNvSpPr/>
            <p:nvPr/>
          </p:nvSpPr>
          <p:spPr>
            <a:xfrm>
              <a:off x="2747584" y="1985012"/>
              <a:ext cx="557615" cy="343353"/>
            </a:xfrm>
            <a:prstGeom prst="rightArrow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</p:grpSp>
      <p:sp>
        <p:nvSpPr>
          <p:cNvPr id="87" name="Flecha: a la derecha 86">
            <a:extLst>
              <a:ext uri="{FF2B5EF4-FFF2-40B4-BE49-F238E27FC236}">
                <a16:creationId xmlns:a16="http://schemas.microsoft.com/office/drawing/2014/main" id="{7EA07FE4-EC32-F2F4-F2BE-CB70348DA6E8}"/>
              </a:ext>
            </a:extLst>
          </p:cNvPr>
          <p:cNvSpPr/>
          <p:nvPr/>
        </p:nvSpPr>
        <p:spPr>
          <a:xfrm rot="1800000">
            <a:off x="6355737" y="2022815"/>
            <a:ext cx="887150" cy="546265"/>
          </a:xfrm>
          <a:prstGeom prst="rightArrow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88" name="Flecha: a la derecha 87">
            <a:extLst>
              <a:ext uri="{FF2B5EF4-FFF2-40B4-BE49-F238E27FC236}">
                <a16:creationId xmlns:a16="http://schemas.microsoft.com/office/drawing/2014/main" id="{830C5302-5CDC-3BAF-1569-68645F606C0E}"/>
              </a:ext>
            </a:extLst>
          </p:cNvPr>
          <p:cNvSpPr/>
          <p:nvPr/>
        </p:nvSpPr>
        <p:spPr>
          <a:xfrm rot="19800000">
            <a:off x="6355738" y="5046625"/>
            <a:ext cx="887150" cy="546265"/>
          </a:xfrm>
          <a:prstGeom prst="rightArrow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89" name="Gráfico 88" descr="Notas adhesivas 3 con relleno sólido">
            <a:extLst>
              <a:ext uri="{FF2B5EF4-FFF2-40B4-BE49-F238E27FC236}">
                <a16:creationId xmlns:a16="http://schemas.microsoft.com/office/drawing/2014/main" id="{32FCE309-FC7A-F3E8-4F71-9499AF097A9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7320026" y="2883586"/>
            <a:ext cx="1955412" cy="1955411"/>
          </a:xfrm>
          <a:prstGeom prst="rect">
            <a:avLst/>
          </a:prstGeom>
        </p:spPr>
      </p:pic>
      <p:sp>
        <p:nvSpPr>
          <p:cNvPr id="90" name="CuadroTexto 89">
            <a:extLst>
              <a:ext uri="{FF2B5EF4-FFF2-40B4-BE49-F238E27FC236}">
                <a16:creationId xmlns:a16="http://schemas.microsoft.com/office/drawing/2014/main" id="{BA8259FE-A1A1-2050-86DD-5D334829D85C}"/>
              </a:ext>
            </a:extLst>
          </p:cNvPr>
          <p:cNvSpPr txBox="1"/>
          <p:nvPr/>
        </p:nvSpPr>
        <p:spPr>
          <a:xfrm>
            <a:off x="314257" y="1880507"/>
            <a:ext cx="14534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2000" b="1" dirty="0">
                <a:solidFill>
                  <a:schemeClr val="bg2">
                    <a:lumMod val="50000"/>
                  </a:schemeClr>
                </a:solidFill>
              </a:rPr>
              <a:t>LIMPIEZA</a:t>
            </a:r>
          </a:p>
        </p:txBody>
      </p:sp>
      <p:sp>
        <p:nvSpPr>
          <p:cNvPr id="91" name="CuadroTexto 90">
            <a:extLst>
              <a:ext uri="{FF2B5EF4-FFF2-40B4-BE49-F238E27FC236}">
                <a16:creationId xmlns:a16="http://schemas.microsoft.com/office/drawing/2014/main" id="{5E9AFB4A-6579-49D7-FAE5-61447A8A81D0}"/>
              </a:ext>
            </a:extLst>
          </p:cNvPr>
          <p:cNvSpPr txBox="1"/>
          <p:nvPr/>
        </p:nvSpPr>
        <p:spPr>
          <a:xfrm>
            <a:off x="210409" y="3586692"/>
            <a:ext cx="17125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2000" b="1" dirty="0">
                <a:solidFill>
                  <a:schemeClr val="bg2">
                    <a:lumMod val="50000"/>
                  </a:schemeClr>
                </a:solidFill>
              </a:rPr>
              <a:t>CLUSTERING</a:t>
            </a:r>
          </a:p>
        </p:txBody>
      </p:sp>
      <p:sp>
        <p:nvSpPr>
          <p:cNvPr id="92" name="CuadroTexto 91">
            <a:extLst>
              <a:ext uri="{FF2B5EF4-FFF2-40B4-BE49-F238E27FC236}">
                <a16:creationId xmlns:a16="http://schemas.microsoft.com/office/drawing/2014/main" id="{3153A386-45BB-C832-9578-408681057AD2}"/>
              </a:ext>
            </a:extLst>
          </p:cNvPr>
          <p:cNvSpPr txBox="1"/>
          <p:nvPr/>
        </p:nvSpPr>
        <p:spPr>
          <a:xfrm>
            <a:off x="177254" y="5287284"/>
            <a:ext cx="186516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2000" b="1" dirty="0">
                <a:solidFill>
                  <a:schemeClr val="bg2">
                    <a:lumMod val="50000"/>
                  </a:schemeClr>
                </a:solidFill>
              </a:rPr>
              <a:t>OPTIMIZACIÓN</a:t>
            </a:r>
          </a:p>
        </p:txBody>
      </p:sp>
    </p:spTree>
    <p:extLst>
      <p:ext uri="{BB962C8B-B14F-4D97-AF65-F5344CB8AC3E}">
        <p14:creationId xmlns:p14="http://schemas.microsoft.com/office/powerpoint/2010/main" val="142209072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A787CBCF-61E6-BFAF-72A3-670132A408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3227" y="3171326"/>
            <a:ext cx="4691968" cy="2203511"/>
          </a:xfrm>
        </p:spPr>
        <p:txBody>
          <a:bodyPr/>
          <a:lstStyle/>
          <a:p>
            <a:pPr defTabSz="457200">
              <a:lnSpc>
                <a:spcPts val="2874"/>
              </a:lnSpc>
            </a:pPr>
            <a:r>
              <a:rPr lang="es-MX" sz="3200" spc="-68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IMPIEZA</a:t>
            </a:r>
            <a:endParaRPr lang="es-PE" sz="3200" spc="-68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C8577706-F1FB-7638-78EE-4C8DAFBB556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2599" y="6057875"/>
            <a:ext cx="10905837" cy="546100"/>
          </a:xfrm>
        </p:spPr>
        <p:txBody>
          <a:bodyPr/>
          <a:lstStyle/>
          <a:p>
            <a:r>
              <a:rPr lang="es-MX" dirty="0"/>
              <a:t>Exploración del </a:t>
            </a:r>
            <a:r>
              <a:rPr lang="es-MX" dirty="0" err="1"/>
              <a:t>dataframe</a:t>
            </a:r>
            <a:r>
              <a:rPr lang="es-MX" dirty="0"/>
              <a:t>, diccionario de datos, preprocesamiento</a:t>
            </a:r>
            <a:endParaRPr lang="es-PE" dirty="0"/>
          </a:p>
        </p:txBody>
      </p:sp>
      <p:pic>
        <p:nvPicPr>
          <p:cNvPr id="4098" name="Picture 2" descr="Data Cleaning: The Most Important Step in Machine Learning">
            <a:extLst>
              <a:ext uri="{FF2B5EF4-FFF2-40B4-BE49-F238E27FC236}">
                <a16:creationId xmlns:a16="http://schemas.microsoft.com/office/drawing/2014/main" id="{D448297A-02F5-1DD0-9217-CC370D6C6E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297" y="1616479"/>
            <a:ext cx="6200476" cy="237200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706825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EEB3A816-A9AD-E33E-620C-BBCFF2D59F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E63616-A2E2-49CD-8B48-1F006743AC2B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C49EEF36-C1C9-9A67-095E-A70CB12DBE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Diccionario de datos</a:t>
            </a:r>
          </a:p>
        </p:txBody>
      </p:sp>
      <p:graphicFrame>
        <p:nvGraphicFramePr>
          <p:cNvPr id="7" name="Tabla 5">
            <a:extLst>
              <a:ext uri="{FF2B5EF4-FFF2-40B4-BE49-F238E27FC236}">
                <a16:creationId xmlns:a16="http://schemas.microsoft.com/office/drawing/2014/main" id="{73136D1B-A990-7C1C-2B16-024B7A17A9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0864256"/>
              </p:ext>
            </p:extLst>
          </p:nvPr>
        </p:nvGraphicFramePr>
        <p:xfrm>
          <a:off x="1946279" y="1062578"/>
          <a:ext cx="8614378" cy="5466080"/>
        </p:xfrm>
        <a:graphic>
          <a:graphicData uri="http://schemas.openxmlformats.org/drawingml/2006/table">
            <a:tbl>
              <a:tblPr firstRow="1" bandRow="1">
                <a:tableStyleId>{9DCAF9ED-07DC-4A11-8D7F-57B35C25682E}</a:tableStyleId>
              </a:tblPr>
              <a:tblGrid>
                <a:gridCol w="4089057">
                  <a:extLst>
                    <a:ext uri="{9D8B030D-6E8A-4147-A177-3AD203B41FA5}">
                      <a16:colId xmlns:a16="http://schemas.microsoft.com/office/drawing/2014/main" val="3267865376"/>
                    </a:ext>
                  </a:extLst>
                </a:gridCol>
                <a:gridCol w="4525321">
                  <a:extLst>
                    <a:ext uri="{9D8B030D-6E8A-4147-A177-3AD203B41FA5}">
                      <a16:colId xmlns:a16="http://schemas.microsoft.com/office/drawing/2014/main" val="299463358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algn="ctr" defTabSz="609585" rtl="0" eaLnBrk="1" latinLnBrk="0" hangingPunct="1"/>
                      <a:r>
                        <a:rPr lang="es-PE" sz="1600" kern="1200" dirty="0">
                          <a:solidFill>
                            <a:schemeClr val="bg1"/>
                          </a:solidFill>
                          <a:latin typeface="Abadi" panose="020B0604020202020204" pitchFamily="34" charset="0"/>
                          <a:ea typeface="+mn-ea"/>
                          <a:cs typeface="+mn-cs"/>
                        </a:rPr>
                        <a:t>Variab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609585" rtl="0" eaLnBrk="1" latinLnBrk="0" hangingPunct="1"/>
                      <a:r>
                        <a:rPr lang="es-PE" sz="1600" kern="1200" dirty="0">
                          <a:solidFill>
                            <a:schemeClr val="bg1"/>
                          </a:solidFill>
                          <a:latin typeface="Abadi" panose="020B0604020202020204" pitchFamily="34" charset="0"/>
                          <a:ea typeface="+mn-ea"/>
                          <a:cs typeface="+mn-cs"/>
                        </a:rPr>
                        <a:t>Descripció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417133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609585" rtl="0" eaLnBrk="1" latinLnBrk="0" hangingPunct="1"/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202020204" pitchFamily="34" charset="0"/>
                          <a:ea typeface="+mn-ea"/>
                          <a:cs typeface="+mn-cs"/>
                        </a:rPr>
                        <a:t>Fech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609585" rtl="0" eaLnBrk="1" latinLnBrk="0" hangingPunct="1"/>
                      <a:r>
                        <a:rPr lang="es-PE" sz="1600" kern="1200" dirty="0" err="1">
                          <a:solidFill>
                            <a:schemeClr val="dk1"/>
                          </a:solidFill>
                          <a:latin typeface="Abadi" panose="020B0604020202020204" pitchFamily="34" charset="0"/>
                          <a:ea typeface="+mn-ea"/>
                          <a:cs typeface="+mn-cs"/>
                        </a:rPr>
                        <a:t>Datetime</a:t>
                      </a:r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202020204" pitchFamily="34" charset="0"/>
                          <a:ea typeface="+mn-ea"/>
                          <a:cs typeface="+mn-cs"/>
                        </a:rPr>
                        <a:t> del pedido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798230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PE" sz="1600" dirty="0">
                          <a:latin typeface="Abadi" panose="020B0604020202020204" pitchFamily="34" charset="0"/>
                        </a:rPr>
                        <a:t>Ce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600" dirty="0">
                          <a:latin typeface="Abadi" panose="020B0604020202020204" pitchFamily="34" charset="0"/>
                        </a:rPr>
                        <a:t>Socieda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303022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PE" sz="1600" dirty="0">
                          <a:latin typeface="Abadi" panose="020B0604020202020204" pitchFamily="34" charset="0"/>
                        </a:rPr>
                        <a:t>Dí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600" dirty="0">
                          <a:latin typeface="Abadi" panose="020B0604020202020204" pitchFamily="34" charset="0"/>
                        </a:rPr>
                        <a:t>Día de la semana de lunes a sábad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98581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609585" rtl="0" eaLnBrk="1" latinLnBrk="0" hangingPunct="1"/>
                      <a:r>
                        <a:rPr lang="es-PE" sz="1600" b="0" kern="1200" dirty="0" err="1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Interlocut</a:t>
                      </a:r>
                      <a:endParaRPr lang="es-PE" sz="1600" b="0" kern="1200" dirty="0">
                        <a:solidFill>
                          <a:schemeClr val="dk1"/>
                        </a:solidFill>
                        <a:latin typeface="Abadi" panose="020B060402010402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609585" rtl="0" eaLnBrk="1" latinLnBrk="0" hangingPunct="1"/>
                      <a:r>
                        <a:rPr lang="es-PE" sz="1600" b="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Ruta de distribución actu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55981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609585" rtl="0" eaLnBrk="1" latinLnBrk="0" hangingPunct="1"/>
                      <a:r>
                        <a:rPr lang="es-PE" sz="1600" b="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Distrit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b="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Distrito donde se encuentra punto de ven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10158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609585" rtl="0" eaLnBrk="1" latinLnBrk="0" hangingPunct="1"/>
                      <a:r>
                        <a:rPr lang="es-PE" sz="1600" b="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Clien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b="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Código de cliente al cual pertenece punto de ven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6698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PE" sz="1600" dirty="0" err="1">
                          <a:latin typeface="Abadi" panose="020B0604020104020204" pitchFamily="34" charset="0"/>
                        </a:rPr>
                        <a:t>D.Solic</a:t>
                      </a:r>
                      <a:r>
                        <a:rPr lang="es-PE" sz="1600" dirty="0">
                          <a:latin typeface="Abadi" panose="020B0604020104020204" pitchFamily="34" charset="0"/>
                        </a:rPr>
                        <a:t>/</a:t>
                      </a:r>
                      <a:r>
                        <a:rPr lang="es-PE" sz="1600" dirty="0" err="1">
                          <a:latin typeface="Abadi" panose="020B0604020104020204" pitchFamily="34" charset="0"/>
                        </a:rPr>
                        <a:t>Ct</a:t>
                      </a:r>
                      <a:endParaRPr lang="es-PE" sz="1600" dirty="0">
                        <a:latin typeface="Abadi" panose="020B06040201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dirty="0">
                          <a:latin typeface="Abadi" panose="020B0604020104020204" pitchFamily="34" charset="0"/>
                        </a:rPr>
                        <a:t>Crear prototipo para </a:t>
                      </a:r>
                      <a:r>
                        <a:rPr lang="es-PE" sz="1600" dirty="0" err="1">
                          <a:latin typeface="Abadi" panose="020B0604020104020204" pitchFamily="34" charset="0"/>
                        </a:rPr>
                        <a:t>product</a:t>
                      </a:r>
                      <a:r>
                        <a:rPr lang="es-PE" sz="1600" dirty="0">
                          <a:latin typeface="Abadi" panose="020B0604020104020204" pitchFamily="34" charset="0"/>
                        </a:rPr>
                        <a:t> </a:t>
                      </a:r>
                      <a:r>
                        <a:rPr lang="es-PE" sz="1600" dirty="0" err="1">
                          <a:latin typeface="Abadi" panose="020B0604020104020204" pitchFamily="34" charset="0"/>
                        </a:rPr>
                        <a:t>owner</a:t>
                      </a:r>
                      <a:endParaRPr lang="es-PE" sz="1600" dirty="0">
                        <a:latin typeface="Abadi" panose="020B0604020104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13680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PE" sz="1600" dirty="0">
                          <a:latin typeface="Abadi" panose="020B0604020104020204" pitchFamily="34" charset="0"/>
                        </a:rPr>
                        <a:t>Direcció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dirty="0">
                          <a:latin typeface="Abadi" panose="020B0604020104020204" pitchFamily="34" charset="0"/>
                        </a:rPr>
                        <a:t>Dirección del punto de ven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9489875"/>
                  </a:ext>
                </a:extLst>
              </a:tr>
              <a:tr h="236225">
                <a:tc>
                  <a:txBody>
                    <a:bodyPr/>
                    <a:lstStyle/>
                    <a:p>
                      <a:pPr algn="ctr"/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Latitu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Coordenada latitud del punto de ven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6784608"/>
                  </a:ext>
                </a:extLst>
              </a:tr>
              <a:tr h="236225">
                <a:tc>
                  <a:txBody>
                    <a:bodyPr/>
                    <a:lstStyle/>
                    <a:p>
                      <a:pPr algn="ctr"/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Longitu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Coordenada longitud del punto de ven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6709378"/>
                  </a:ext>
                </a:extLst>
              </a:tr>
              <a:tr h="236225">
                <a:tc>
                  <a:txBody>
                    <a:bodyPr/>
                    <a:lstStyle/>
                    <a:p>
                      <a:pPr algn="ctr"/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Pedid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Volumen en kg pedido por el clien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8748295"/>
                  </a:ext>
                </a:extLst>
              </a:tr>
              <a:tr h="236225">
                <a:tc>
                  <a:txBody>
                    <a:bodyPr/>
                    <a:lstStyle/>
                    <a:p>
                      <a:pPr algn="ctr"/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Re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Volumen en kg que se puede despacha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2225094"/>
                  </a:ext>
                </a:extLst>
              </a:tr>
              <a:tr h="236225">
                <a:tc>
                  <a:txBody>
                    <a:bodyPr/>
                    <a:lstStyle/>
                    <a:p>
                      <a:pPr algn="ctr"/>
                      <a:r>
                        <a:rPr lang="es-PE" sz="1600" kern="1200" dirty="0" err="1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T.Ruta</a:t>
                      </a:r>
                      <a:endParaRPr lang="es-PE" sz="1600" kern="1200" dirty="0">
                        <a:solidFill>
                          <a:schemeClr val="dk1"/>
                        </a:solidFill>
                        <a:latin typeface="Abadi" panose="020B060402010402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Tipo de ruta al cual pertenece el cliente: </a:t>
                      </a:r>
                      <a:r>
                        <a:rPr lang="es-PE" sz="1600" kern="1200" dirty="0" err="1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R.Primaria</a:t>
                      </a:r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, </a:t>
                      </a:r>
                      <a:r>
                        <a:rPr lang="es-PE" sz="1600" kern="1200" dirty="0" err="1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R.Secundaria</a:t>
                      </a:r>
                      <a:endParaRPr lang="es-PE" sz="1600" kern="1200" dirty="0">
                        <a:solidFill>
                          <a:schemeClr val="dk1"/>
                        </a:solidFill>
                        <a:latin typeface="Abadi" panose="020B0604020104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74273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2971645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4C1484BD-5735-59C3-61B5-96E5FC37DFA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E63616-A2E2-49CD-8B48-1F006743AC2B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2BE2F4DD-5902-DBAF-52E1-88CF913C6E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Carga y exploración inicial del </a:t>
            </a:r>
            <a:r>
              <a:rPr lang="es-PE" dirty="0" err="1"/>
              <a:t>dataframe</a:t>
            </a:r>
            <a:endParaRPr lang="es-PE" dirty="0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C6F0FDEA-E6D2-D90D-C283-7D8BBB009A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25012" y="2144109"/>
            <a:ext cx="3001115" cy="3092365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7F0A570A-8CF7-247D-0E18-BB114C885A4B}"/>
              </a:ext>
            </a:extLst>
          </p:cNvPr>
          <p:cNvSpPr txBox="1"/>
          <p:nvPr/>
        </p:nvSpPr>
        <p:spPr>
          <a:xfrm>
            <a:off x="5425012" y="5697330"/>
            <a:ext cx="29807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dirty="0" err="1"/>
              <a:t>Shape</a:t>
            </a:r>
            <a:r>
              <a:rPr lang="es-PE" dirty="0"/>
              <a:t> de (5565,14)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9A222395-3C3E-3361-6672-BE6E154C4893}"/>
              </a:ext>
            </a:extLst>
          </p:cNvPr>
          <p:cNvSpPr txBox="1"/>
          <p:nvPr/>
        </p:nvSpPr>
        <p:spPr>
          <a:xfrm>
            <a:off x="8804982" y="5749926"/>
            <a:ext cx="29807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dirty="0"/>
              <a:t>Valores nulos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8EE1DF10-2637-4043-F89D-A9B9C69B2E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0344" y="2020095"/>
            <a:ext cx="2609984" cy="3283119"/>
          </a:xfrm>
          <a:prstGeom prst="rect">
            <a:avLst/>
          </a:prstGeom>
        </p:spPr>
      </p:pic>
      <p:pic>
        <p:nvPicPr>
          <p:cNvPr id="14" name="Imagen 13">
            <a:extLst>
              <a:ext uri="{FF2B5EF4-FFF2-40B4-BE49-F238E27FC236}">
                <a16:creationId xmlns:a16="http://schemas.microsoft.com/office/drawing/2014/main" id="{E6FA6A7A-3C4E-EE52-1810-D48C04F8AF7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6006" y="2061432"/>
            <a:ext cx="4654789" cy="3257717"/>
          </a:xfrm>
          <a:prstGeom prst="rect">
            <a:avLst/>
          </a:prstGeom>
        </p:spPr>
      </p:pic>
      <p:sp>
        <p:nvSpPr>
          <p:cNvPr id="15" name="CuadroTexto 14">
            <a:extLst>
              <a:ext uri="{FF2B5EF4-FFF2-40B4-BE49-F238E27FC236}">
                <a16:creationId xmlns:a16="http://schemas.microsoft.com/office/drawing/2014/main" id="{F7D1D98C-B6B2-AEC3-8E43-5A42F122A28F}"/>
              </a:ext>
            </a:extLst>
          </p:cNvPr>
          <p:cNvSpPr txBox="1"/>
          <p:nvPr/>
        </p:nvSpPr>
        <p:spPr>
          <a:xfrm>
            <a:off x="754320" y="5697330"/>
            <a:ext cx="29807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dirty="0"/>
              <a:t>Leer con </a:t>
            </a:r>
            <a:r>
              <a:rPr lang="es-PE" dirty="0" err="1"/>
              <a:t>pd.read_excel</a:t>
            </a:r>
            <a:r>
              <a:rPr lang="es-PE" dirty="0"/>
              <a:t>()</a:t>
            </a:r>
          </a:p>
        </p:txBody>
      </p:sp>
    </p:spTree>
    <p:extLst>
      <p:ext uri="{BB962C8B-B14F-4D97-AF65-F5344CB8AC3E}">
        <p14:creationId xmlns:p14="http://schemas.microsoft.com/office/powerpoint/2010/main" val="363580500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59249DEC-78E7-2ED0-8564-E2C494E5B1F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E63616-A2E2-49CD-8B48-1F006743AC2B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E189DBA7-AEF8-A667-6286-350D9BB7F1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Funciones creadas para la limpieza</a:t>
            </a:r>
          </a:p>
        </p:txBody>
      </p:sp>
      <p:grpSp>
        <p:nvGrpSpPr>
          <p:cNvPr id="9" name="Grupo 8">
            <a:extLst>
              <a:ext uri="{FF2B5EF4-FFF2-40B4-BE49-F238E27FC236}">
                <a16:creationId xmlns:a16="http://schemas.microsoft.com/office/drawing/2014/main" id="{4150A90C-DA8A-3FDD-A0C5-0C16F25E0D05}"/>
              </a:ext>
            </a:extLst>
          </p:cNvPr>
          <p:cNvGrpSpPr/>
          <p:nvPr/>
        </p:nvGrpSpPr>
        <p:grpSpPr>
          <a:xfrm>
            <a:off x="2201737" y="1334733"/>
            <a:ext cx="7788526" cy="5352054"/>
            <a:chOff x="347392" y="1112041"/>
            <a:chExt cx="7788526" cy="5352054"/>
          </a:xfrm>
        </p:grpSpPr>
        <p:pic>
          <p:nvPicPr>
            <p:cNvPr id="6" name="Imagen 5">
              <a:extLst>
                <a:ext uri="{FF2B5EF4-FFF2-40B4-BE49-F238E27FC236}">
                  <a16:creationId xmlns:a16="http://schemas.microsoft.com/office/drawing/2014/main" id="{4E2B1FC5-F834-706B-1925-870E44ECFC8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47392" y="1112041"/>
              <a:ext cx="3225256" cy="1846342"/>
            </a:xfrm>
            <a:prstGeom prst="rect">
              <a:avLst/>
            </a:prstGeom>
          </p:spPr>
        </p:pic>
        <p:pic>
          <p:nvPicPr>
            <p:cNvPr id="8" name="Imagen 7">
              <a:extLst>
                <a:ext uri="{FF2B5EF4-FFF2-40B4-BE49-F238E27FC236}">
                  <a16:creationId xmlns:a16="http://schemas.microsoft.com/office/drawing/2014/main" id="{A12824C5-FF5F-866C-3B49-4ACC674BE99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47392" y="2958383"/>
              <a:ext cx="7788526" cy="35057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1785925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08ACC403-A957-37A3-6AFD-CCE76F8C808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PE" dirty="0"/>
              <a:t>Uso de las funciones de limpieza</a:t>
            </a:r>
          </a:p>
        </p:txBody>
      </p:sp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EE424DCB-67F2-F738-C5E9-982407F40BF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E63616-A2E2-49CD-8B48-1F006743AC2B}" type="slidenum">
              <a:rPr lang="en-US" smtClean="0"/>
              <a:pPr/>
              <a:t>17</a:t>
            </a:fld>
            <a:endParaRPr lang="en-US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0CC4C66C-0918-8E05-0432-ED6067076E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2780" y="489569"/>
            <a:ext cx="9506439" cy="2343270"/>
          </a:xfrm>
          <a:prstGeom prst="rect">
            <a:avLst/>
          </a:prstGeom>
        </p:spPr>
      </p:pic>
      <p:sp>
        <p:nvSpPr>
          <p:cNvPr id="8" name="Flecha: hacia abajo 7">
            <a:extLst>
              <a:ext uri="{FF2B5EF4-FFF2-40B4-BE49-F238E27FC236}">
                <a16:creationId xmlns:a16="http://schemas.microsoft.com/office/drawing/2014/main" id="{63548A17-C1A1-AD2B-9B87-3CCC5F638576}"/>
              </a:ext>
            </a:extLst>
          </p:cNvPr>
          <p:cNvSpPr/>
          <p:nvPr/>
        </p:nvSpPr>
        <p:spPr>
          <a:xfrm>
            <a:off x="5822866" y="3202542"/>
            <a:ext cx="546265" cy="653143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F70F399E-E71F-ACA8-EF3A-60B4BB0B79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73452" y="4296640"/>
            <a:ext cx="4991357" cy="1454225"/>
          </a:xfrm>
          <a:prstGeom prst="rect">
            <a:avLst/>
          </a:prstGeom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4A007C39-B78D-0315-00FA-0D1584171F85}"/>
              </a:ext>
            </a:extLst>
          </p:cNvPr>
          <p:cNvSpPr txBox="1"/>
          <p:nvPr/>
        </p:nvSpPr>
        <p:spPr>
          <a:xfrm>
            <a:off x="4605644" y="2800607"/>
            <a:ext cx="29807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dirty="0" err="1"/>
              <a:t>Dataframe</a:t>
            </a:r>
            <a:r>
              <a:rPr lang="es-PE" dirty="0"/>
              <a:t> inicial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A9CC6EBC-03A4-4196-048E-D24561EB42AE}"/>
              </a:ext>
            </a:extLst>
          </p:cNvPr>
          <p:cNvSpPr txBox="1"/>
          <p:nvPr/>
        </p:nvSpPr>
        <p:spPr>
          <a:xfrm>
            <a:off x="4605644" y="5822176"/>
            <a:ext cx="29807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dirty="0" err="1"/>
              <a:t>Dataframe</a:t>
            </a:r>
            <a:r>
              <a:rPr lang="es-PE" dirty="0"/>
              <a:t> limpio</a:t>
            </a:r>
          </a:p>
        </p:txBody>
      </p:sp>
    </p:spTree>
    <p:extLst>
      <p:ext uri="{BB962C8B-B14F-4D97-AF65-F5344CB8AC3E}">
        <p14:creationId xmlns:p14="http://schemas.microsoft.com/office/powerpoint/2010/main" val="77059931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B0AA7D11-9508-81A6-7BBF-864CDC18447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E63616-A2E2-49CD-8B48-1F006743AC2B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0F95DFA5-428B-31B0-ABCB-10C12AD488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Funciones y clases creadas para el </a:t>
            </a:r>
            <a:r>
              <a:rPr lang="es-PE" dirty="0" err="1"/>
              <a:t>encoding</a:t>
            </a:r>
            <a:endParaRPr lang="es-PE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E8B1D352-3DBB-067B-216E-64CEE45BF9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24236" y="1580171"/>
            <a:ext cx="8143528" cy="4839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583425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08ACC403-A957-37A3-6AFD-CCE76F8C808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PE" dirty="0"/>
              <a:t>Uso de las funciones y clases para el </a:t>
            </a:r>
            <a:r>
              <a:rPr lang="es-PE" dirty="0" err="1"/>
              <a:t>encoding</a:t>
            </a:r>
            <a:endParaRPr lang="es-PE" dirty="0"/>
          </a:p>
        </p:txBody>
      </p:sp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EE424DCB-67F2-F738-C5E9-982407F40BF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E63616-A2E2-49CD-8B48-1F006743AC2B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8" name="Flecha: hacia abajo 7">
            <a:extLst>
              <a:ext uri="{FF2B5EF4-FFF2-40B4-BE49-F238E27FC236}">
                <a16:creationId xmlns:a16="http://schemas.microsoft.com/office/drawing/2014/main" id="{63548A17-C1A1-AD2B-9B87-3CCC5F638576}"/>
              </a:ext>
            </a:extLst>
          </p:cNvPr>
          <p:cNvSpPr/>
          <p:nvPr/>
        </p:nvSpPr>
        <p:spPr>
          <a:xfrm>
            <a:off x="5822866" y="3202542"/>
            <a:ext cx="546265" cy="653143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F70F399E-E71F-ACA8-EF3A-60B4BB0B79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0700" y="761671"/>
            <a:ext cx="7170600" cy="2089144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6A083E84-4EAC-02CC-5A85-25A5013A62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07574" y="4007186"/>
            <a:ext cx="6780709" cy="2089143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7535A921-4A32-FA89-53A1-4C8D0C5EA3A5}"/>
              </a:ext>
            </a:extLst>
          </p:cNvPr>
          <p:cNvSpPr txBox="1"/>
          <p:nvPr/>
        </p:nvSpPr>
        <p:spPr>
          <a:xfrm>
            <a:off x="4605644" y="2800607"/>
            <a:ext cx="29807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dirty="0" err="1"/>
              <a:t>Dataframe</a:t>
            </a:r>
            <a:r>
              <a:rPr lang="es-PE" dirty="0"/>
              <a:t> limpio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EBE78280-131A-FAAD-F563-1043B926F1F3}"/>
              </a:ext>
            </a:extLst>
          </p:cNvPr>
          <p:cNvSpPr txBox="1"/>
          <p:nvPr/>
        </p:nvSpPr>
        <p:spPr>
          <a:xfrm>
            <a:off x="4605643" y="6063164"/>
            <a:ext cx="29807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dirty="0" err="1"/>
              <a:t>Dataframe</a:t>
            </a:r>
            <a:r>
              <a:rPr lang="es-PE" dirty="0"/>
              <a:t> escalado</a:t>
            </a:r>
          </a:p>
        </p:txBody>
      </p:sp>
    </p:spTree>
    <p:extLst>
      <p:ext uri="{BB962C8B-B14F-4D97-AF65-F5344CB8AC3E}">
        <p14:creationId xmlns:p14="http://schemas.microsoft.com/office/powerpoint/2010/main" val="31614835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73C26C85-3319-E4DF-0B88-1311BDCFB87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E63616-A2E2-49CD-8B48-1F006743AC2B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3B62D8A6-822F-AAFA-4009-C7C73877A1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INDICE</a:t>
            </a:r>
            <a:endParaRPr lang="es-PE" dirty="0"/>
          </a:p>
        </p:txBody>
      </p:sp>
      <p:grpSp>
        <p:nvGrpSpPr>
          <p:cNvPr id="19" name="Grupo 18">
            <a:extLst>
              <a:ext uri="{FF2B5EF4-FFF2-40B4-BE49-F238E27FC236}">
                <a16:creationId xmlns:a16="http://schemas.microsoft.com/office/drawing/2014/main" id="{1F6A253B-176E-B884-E8A5-EAEAF1E2D6BC}"/>
              </a:ext>
            </a:extLst>
          </p:cNvPr>
          <p:cNvGrpSpPr/>
          <p:nvPr/>
        </p:nvGrpSpPr>
        <p:grpSpPr>
          <a:xfrm>
            <a:off x="3182776" y="1118334"/>
            <a:ext cx="8128000" cy="5418667"/>
            <a:chOff x="1966685" y="1120882"/>
            <a:chExt cx="8128000" cy="5418667"/>
          </a:xfrm>
        </p:grpSpPr>
        <p:graphicFrame>
          <p:nvGraphicFramePr>
            <p:cNvPr id="4" name="Diagrama 3">
              <a:extLst>
                <a:ext uri="{FF2B5EF4-FFF2-40B4-BE49-F238E27FC236}">
                  <a16:creationId xmlns:a16="http://schemas.microsoft.com/office/drawing/2014/main" id="{61B55E45-E69E-FCA9-8F59-CA3C3D7A11B8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628171851"/>
                </p:ext>
              </p:extLst>
            </p:nvPr>
          </p:nvGraphicFramePr>
          <p:xfrm>
            <a:off x="1966685" y="1120882"/>
            <a:ext cx="8128000" cy="541866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pic>
          <p:nvPicPr>
            <p:cNvPr id="16" name="Gráfico 15" descr="Hombre programador con relleno sólido">
              <a:extLst>
                <a:ext uri="{FF2B5EF4-FFF2-40B4-BE49-F238E27FC236}">
                  <a16:creationId xmlns:a16="http://schemas.microsoft.com/office/drawing/2014/main" id="{EF17BF1D-6D48-AC24-92A0-3819AE06082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2572660" y="3251918"/>
              <a:ext cx="1055915" cy="1055915"/>
            </a:xfrm>
            <a:prstGeom prst="rect">
              <a:avLst/>
            </a:prstGeom>
          </p:spPr>
        </p:pic>
        <p:pic>
          <p:nvPicPr>
            <p:cNvPr id="17" name="Gráfico 16" descr="Ilustrador con relleno sólido">
              <a:extLst>
                <a:ext uri="{FF2B5EF4-FFF2-40B4-BE49-F238E27FC236}">
                  <a16:creationId xmlns:a16="http://schemas.microsoft.com/office/drawing/2014/main" id="{6D95FA32-AF24-8827-882D-D8012D78A1A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/>
          </p:blipFill>
          <p:spPr>
            <a:xfrm>
              <a:off x="2190107" y="4906905"/>
              <a:ext cx="1055915" cy="1055915"/>
            </a:xfrm>
            <a:prstGeom prst="rect">
              <a:avLst/>
            </a:prstGeom>
          </p:spPr>
        </p:pic>
        <p:pic>
          <p:nvPicPr>
            <p:cNvPr id="18" name="Gráfico 17" descr="Camión con relleno sólido">
              <a:extLst>
                <a:ext uri="{FF2B5EF4-FFF2-40B4-BE49-F238E27FC236}">
                  <a16:creationId xmlns:a16="http://schemas.microsoft.com/office/drawing/2014/main" id="{29601D9D-94AD-2328-AB6C-B8600311342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/>
          </p:blipFill>
          <p:spPr>
            <a:xfrm>
              <a:off x="2205835" y="1635466"/>
              <a:ext cx="1055915" cy="1055915"/>
            </a:xfrm>
            <a:prstGeom prst="rect">
              <a:avLst/>
            </a:prstGeom>
          </p:spPr>
        </p:pic>
      </p:grpSp>
      <p:pic>
        <p:nvPicPr>
          <p:cNvPr id="3074" name="Picture 2" descr="Sigma Alimentos | Somos una compañía global dedicada a ofrecer los  alimentos favoritos de las comunidades. Con presencia en 18 países,  ofrecemos productos de calidad en diversas categorías y precios.">
            <a:extLst>
              <a:ext uri="{FF2B5EF4-FFF2-40B4-BE49-F238E27FC236}">
                <a16:creationId xmlns:a16="http://schemas.microsoft.com/office/drawing/2014/main" id="{E9584CBF-82C6-D25A-D76F-02846F8EF5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269" y="3003074"/>
            <a:ext cx="2381250" cy="1352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398214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B0AA7D11-9508-81A6-7BBF-864CDC18447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E63616-A2E2-49CD-8B48-1F006743AC2B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0F95DFA5-428B-31B0-ABCB-10C12AD488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Funciones creadas para el </a:t>
            </a:r>
            <a:r>
              <a:rPr lang="es-PE" dirty="0" err="1"/>
              <a:t>plot</a:t>
            </a:r>
            <a:r>
              <a:rPr lang="es-PE" dirty="0"/>
              <a:t> del </a:t>
            </a:r>
            <a:r>
              <a:rPr lang="es-PE" dirty="0" err="1"/>
              <a:t>rawmap</a:t>
            </a:r>
            <a:endParaRPr lang="es-PE" dirty="0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7A2D783D-CF64-2A3B-C63C-4E3C24C139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0812" y="1200253"/>
            <a:ext cx="7489453" cy="5329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067979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08ACC403-A957-37A3-6AFD-CCE76F8C808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PE" dirty="0"/>
              <a:t>Uso de las función para el </a:t>
            </a:r>
            <a:r>
              <a:rPr lang="es-PE" dirty="0" err="1"/>
              <a:t>raw_map</a:t>
            </a:r>
            <a:endParaRPr lang="es-PE" dirty="0"/>
          </a:p>
        </p:txBody>
      </p:sp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EE424DCB-67F2-F738-C5E9-982407F40BF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E63616-A2E2-49CD-8B48-1F006743AC2B}" type="slidenum">
              <a:rPr lang="en-US" smtClean="0"/>
              <a:pPr/>
              <a:t>21</a:t>
            </a:fld>
            <a:endParaRPr lang="en-US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6C28B852-AEBB-6E30-1EA7-809DB1D6E6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6910" y="1509482"/>
            <a:ext cx="5016758" cy="3340272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3EA12657-D6C6-A373-83B4-C5977907EB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95636" y="1509482"/>
            <a:ext cx="5010407" cy="3340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141764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Clustering Analysis | JacobSoft">
            <a:extLst>
              <a:ext uri="{FF2B5EF4-FFF2-40B4-BE49-F238E27FC236}">
                <a16:creationId xmlns:a16="http://schemas.microsoft.com/office/drawing/2014/main" id="{2969F65D-9B74-0D64-CD88-E6BE9B436F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3465" y="1653776"/>
            <a:ext cx="6010139" cy="233470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ítulo 3">
            <a:extLst>
              <a:ext uri="{FF2B5EF4-FFF2-40B4-BE49-F238E27FC236}">
                <a16:creationId xmlns:a16="http://schemas.microsoft.com/office/drawing/2014/main" id="{A787CBCF-61E6-BFAF-72A3-670132A408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3227" y="3171326"/>
            <a:ext cx="4691968" cy="2203511"/>
          </a:xfrm>
        </p:spPr>
        <p:txBody>
          <a:bodyPr/>
          <a:lstStyle/>
          <a:p>
            <a:pPr defTabSz="457200">
              <a:lnSpc>
                <a:spcPts val="2874"/>
              </a:lnSpc>
            </a:pPr>
            <a:r>
              <a:rPr lang="es-MX" sz="3200" spc="-68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LUSTERING</a:t>
            </a:r>
            <a:endParaRPr lang="es-PE" sz="3200" spc="-68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C8577706-F1FB-7638-78EE-4C8DAFBB556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2599" y="6057875"/>
            <a:ext cx="10905837" cy="546100"/>
          </a:xfrm>
        </p:spPr>
        <p:txBody>
          <a:bodyPr/>
          <a:lstStyle/>
          <a:p>
            <a:r>
              <a:rPr lang="es-MX" dirty="0"/>
              <a:t>Aprendizaje no supervisado para obtener agrupaciones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148766114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EEB3A816-A9AD-E33E-620C-BBCFF2D59F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E63616-A2E2-49CD-8B48-1F006743AC2B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C49EEF36-C1C9-9A67-095E-A70CB12DBE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Datos del negocio para el </a:t>
            </a:r>
            <a:r>
              <a:rPr lang="es-PE" dirty="0" err="1"/>
              <a:t>clustering</a:t>
            </a:r>
            <a:endParaRPr lang="es-PE" dirty="0"/>
          </a:p>
        </p:txBody>
      </p:sp>
      <p:graphicFrame>
        <p:nvGraphicFramePr>
          <p:cNvPr id="7" name="Tabla 5">
            <a:extLst>
              <a:ext uri="{FF2B5EF4-FFF2-40B4-BE49-F238E27FC236}">
                <a16:creationId xmlns:a16="http://schemas.microsoft.com/office/drawing/2014/main" id="{73136D1B-A990-7C1C-2B16-024B7A17A9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2612528"/>
              </p:ext>
            </p:extLst>
          </p:nvPr>
        </p:nvGraphicFramePr>
        <p:xfrm>
          <a:off x="1788811" y="1264458"/>
          <a:ext cx="8614378" cy="3032760"/>
        </p:xfrm>
        <a:graphic>
          <a:graphicData uri="http://schemas.openxmlformats.org/drawingml/2006/table">
            <a:tbl>
              <a:tblPr firstRow="1" bandRow="1">
                <a:tableStyleId>{9DCAF9ED-07DC-4A11-8D7F-57B35C25682E}</a:tableStyleId>
              </a:tblPr>
              <a:tblGrid>
                <a:gridCol w="4089057">
                  <a:extLst>
                    <a:ext uri="{9D8B030D-6E8A-4147-A177-3AD203B41FA5}">
                      <a16:colId xmlns:a16="http://schemas.microsoft.com/office/drawing/2014/main" val="3267865376"/>
                    </a:ext>
                  </a:extLst>
                </a:gridCol>
                <a:gridCol w="4525321">
                  <a:extLst>
                    <a:ext uri="{9D8B030D-6E8A-4147-A177-3AD203B41FA5}">
                      <a16:colId xmlns:a16="http://schemas.microsoft.com/office/drawing/2014/main" val="299463358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algn="ctr" defTabSz="609585" rtl="0" eaLnBrk="1" latinLnBrk="0" hangingPunct="1"/>
                      <a:r>
                        <a:rPr lang="es-PE" sz="1600" kern="1200" dirty="0">
                          <a:solidFill>
                            <a:schemeClr val="bg1"/>
                          </a:solidFill>
                          <a:latin typeface="Abadi" panose="020B0604020202020204" pitchFamily="34" charset="0"/>
                          <a:ea typeface="+mn-ea"/>
                          <a:cs typeface="+mn-cs"/>
                        </a:rPr>
                        <a:t>Variab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609585" rtl="0" eaLnBrk="1" latinLnBrk="0" hangingPunct="1"/>
                      <a:r>
                        <a:rPr lang="es-PE" sz="1600" kern="1200" dirty="0">
                          <a:solidFill>
                            <a:schemeClr val="bg1"/>
                          </a:solidFill>
                          <a:latin typeface="Abadi" panose="020B0604020202020204" pitchFamily="34" charset="0"/>
                          <a:ea typeface="+mn-ea"/>
                          <a:cs typeface="+mn-cs"/>
                        </a:rPr>
                        <a:t>Descripció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417133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609585" rtl="0" eaLnBrk="1" latinLnBrk="0" hangingPunct="1"/>
                      <a:r>
                        <a:rPr lang="es-PE" sz="1600" b="0" kern="1200" dirty="0" err="1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Interlocut</a:t>
                      </a:r>
                      <a:endParaRPr lang="es-PE" sz="1600" b="0" kern="1200" dirty="0">
                        <a:solidFill>
                          <a:schemeClr val="dk1"/>
                        </a:solidFill>
                        <a:latin typeface="Abadi" panose="020B060402010402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609585" rtl="0" eaLnBrk="1" latinLnBrk="0" hangingPunct="1"/>
                      <a:r>
                        <a:rPr lang="es-PE" sz="1600" b="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Ruta de distribución actu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55981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609585" rtl="0" eaLnBrk="1" latinLnBrk="0" hangingPunct="1"/>
                      <a:r>
                        <a:rPr lang="es-PE" sz="1600" b="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Distrit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b="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Distrito donde se encuentra punto de ven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10158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609585" rtl="0" eaLnBrk="1" latinLnBrk="0" hangingPunct="1"/>
                      <a:r>
                        <a:rPr lang="es-PE" sz="1600" b="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Clien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b="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Código de cliente al cual pertenece punto de ven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6698180"/>
                  </a:ext>
                </a:extLst>
              </a:tr>
              <a:tr h="236225">
                <a:tc>
                  <a:txBody>
                    <a:bodyPr/>
                    <a:lstStyle/>
                    <a:p>
                      <a:pPr algn="ctr"/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Latitu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Coordenada latitud del punto de ven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6784608"/>
                  </a:ext>
                </a:extLst>
              </a:tr>
              <a:tr h="236225">
                <a:tc>
                  <a:txBody>
                    <a:bodyPr/>
                    <a:lstStyle/>
                    <a:p>
                      <a:pPr algn="ctr"/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Longitu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Coordenada longitud del punto de ven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6709378"/>
                  </a:ext>
                </a:extLst>
              </a:tr>
              <a:tr h="236225">
                <a:tc>
                  <a:txBody>
                    <a:bodyPr/>
                    <a:lstStyle/>
                    <a:p>
                      <a:pPr algn="ctr"/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Re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Volumen en kg que se puede despacha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2225094"/>
                  </a:ext>
                </a:extLst>
              </a:tr>
              <a:tr h="236225">
                <a:tc>
                  <a:txBody>
                    <a:bodyPr/>
                    <a:lstStyle/>
                    <a:p>
                      <a:pPr algn="ctr"/>
                      <a:r>
                        <a:rPr lang="es-PE" sz="1600" kern="1200" dirty="0" err="1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n_camiones</a:t>
                      </a:r>
                      <a:endParaRPr lang="es-PE" sz="1600" kern="1200" dirty="0">
                        <a:solidFill>
                          <a:schemeClr val="dk1"/>
                        </a:solidFill>
                        <a:latin typeface="Abadi" panose="020B060402010402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Número de </a:t>
                      </a:r>
                      <a:r>
                        <a:rPr lang="es-PE" sz="1600" kern="1200" dirty="0" err="1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clusters</a:t>
                      </a:r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 para las agrupacion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7427332"/>
                  </a:ext>
                </a:extLst>
              </a:tr>
            </a:tbl>
          </a:graphicData>
        </a:graphic>
      </p:graphicFrame>
      <p:sp>
        <p:nvSpPr>
          <p:cNvPr id="3" name="CuadroTexto 2">
            <a:extLst>
              <a:ext uri="{FF2B5EF4-FFF2-40B4-BE49-F238E27FC236}">
                <a16:creationId xmlns:a16="http://schemas.microsoft.com/office/drawing/2014/main" id="{BC222121-1CCD-0FD9-3426-51DEE484FA00}"/>
              </a:ext>
            </a:extLst>
          </p:cNvPr>
          <p:cNvSpPr txBox="1"/>
          <p:nvPr/>
        </p:nvSpPr>
        <p:spPr>
          <a:xfrm>
            <a:off x="136803" y="4474171"/>
            <a:ext cx="413831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2000" b="1" dirty="0">
                <a:solidFill>
                  <a:schemeClr val="bg2">
                    <a:lumMod val="50000"/>
                  </a:schemeClr>
                </a:solidFill>
              </a:rPr>
              <a:t>Datos simplificados empleados:</a:t>
            </a:r>
          </a:p>
        </p:txBody>
      </p:sp>
      <p:graphicFrame>
        <p:nvGraphicFramePr>
          <p:cNvPr id="4" name="Tabla 5">
            <a:extLst>
              <a:ext uri="{FF2B5EF4-FFF2-40B4-BE49-F238E27FC236}">
                <a16:creationId xmlns:a16="http://schemas.microsoft.com/office/drawing/2014/main" id="{D7747FD4-ABB8-4EDC-2857-B33E0F8AED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3496657"/>
              </p:ext>
            </p:extLst>
          </p:nvPr>
        </p:nvGraphicFramePr>
        <p:xfrm>
          <a:off x="1788811" y="5058075"/>
          <a:ext cx="8614378" cy="1376680"/>
        </p:xfrm>
        <a:graphic>
          <a:graphicData uri="http://schemas.openxmlformats.org/drawingml/2006/table">
            <a:tbl>
              <a:tblPr firstRow="1" bandRow="1">
                <a:tableStyleId>{9DCAF9ED-07DC-4A11-8D7F-57B35C25682E}</a:tableStyleId>
              </a:tblPr>
              <a:tblGrid>
                <a:gridCol w="4089057">
                  <a:extLst>
                    <a:ext uri="{9D8B030D-6E8A-4147-A177-3AD203B41FA5}">
                      <a16:colId xmlns:a16="http://schemas.microsoft.com/office/drawing/2014/main" val="3267865376"/>
                    </a:ext>
                  </a:extLst>
                </a:gridCol>
                <a:gridCol w="4525321">
                  <a:extLst>
                    <a:ext uri="{9D8B030D-6E8A-4147-A177-3AD203B41FA5}">
                      <a16:colId xmlns:a16="http://schemas.microsoft.com/office/drawing/2014/main" val="299463358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algn="ctr" defTabSz="609585" rtl="0" eaLnBrk="1" latinLnBrk="0" hangingPunct="1"/>
                      <a:r>
                        <a:rPr lang="es-PE" sz="1600" kern="1200" dirty="0">
                          <a:solidFill>
                            <a:schemeClr val="bg1"/>
                          </a:solidFill>
                          <a:latin typeface="Abadi" panose="020B0604020202020204" pitchFamily="34" charset="0"/>
                          <a:ea typeface="+mn-ea"/>
                          <a:cs typeface="+mn-cs"/>
                        </a:rPr>
                        <a:t>Variab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609585" rtl="0" eaLnBrk="1" latinLnBrk="0" hangingPunct="1"/>
                      <a:r>
                        <a:rPr lang="es-PE" sz="1600" kern="1200" dirty="0">
                          <a:solidFill>
                            <a:schemeClr val="bg1"/>
                          </a:solidFill>
                          <a:latin typeface="Abadi" panose="020B0604020202020204" pitchFamily="34" charset="0"/>
                          <a:ea typeface="+mn-ea"/>
                          <a:cs typeface="+mn-cs"/>
                        </a:rPr>
                        <a:t>Descripció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41713367"/>
                  </a:ext>
                </a:extLst>
              </a:tr>
              <a:tr h="236225">
                <a:tc>
                  <a:txBody>
                    <a:bodyPr/>
                    <a:lstStyle/>
                    <a:p>
                      <a:pPr algn="ctr"/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Latitu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Coordenada latitud del punto de ven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6784608"/>
                  </a:ext>
                </a:extLst>
              </a:tr>
              <a:tr h="236225">
                <a:tc>
                  <a:txBody>
                    <a:bodyPr/>
                    <a:lstStyle/>
                    <a:p>
                      <a:pPr algn="ctr"/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Longitu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Coordenada longitud del punto de ven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6709378"/>
                  </a:ext>
                </a:extLst>
              </a:tr>
              <a:tr h="236225">
                <a:tc>
                  <a:txBody>
                    <a:bodyPr/>
                    <a:lstStyle/>
                    <a:p>
                      <a:pPr algn="ctr"/>
                      <a:r>
                        <a:rPr lang="es-PE" sz="1600" kern="1200" dirty="0" err="1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n_camiones</a:t>
                      </a:r>
                      <a:endParaRPr lang="es-PE" sz="1600" kern="1200" dirty="0">
                        <a:solidFill>
                          <a:schemeClr val="dk1"/>
                        </a:solidFill>
                        <a:latin typeface="Abadi" panose="020B060402010402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Número de </a:t>
                      </a:r>
                      <a:r>
                        <a:rPr lang="es-PE" sz="1600" kern="1200" dirty="0" err="1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clusters</a:t>
                      </a:r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 para las agrupacion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74273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253404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EEB3A816-A9AD-E33E-620C-BBCFF2D59F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E63616-A2E2-49CD-8B48-1F006743AC2B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C49EEF36-C1C9-9A67-095E-A70CB12DBE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Funciones para entrenar </a:t>
            </a:r>
            <a:r>
              <a:rPr lang="es-PE" dirty="0" err="1"/>
              <a:t>clusters</a:t>
            </a:r>
            <a:endParaRPr lang="es-PE" dirty="0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379481CC-1A3A-7839-B690-6BC648F174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52002" y="2181413"/>
            <a:ext cx="7487996" cy="3467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018359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08ACC403-A957-37A3-6AFD-CCE76F8C808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PE" dirty="0"/>
              <a:t>Uso de las funciones para entrenar </a:t>
            </a:r>
            <a:r>
              <a:rPr lang="es-PE" dirty="0" err="1"/>
              <a:t>clusters</a:t>
            </a:r>
            <a:endParaRPr lang="es-PE" dirty="0"/>
          </a:p>
        </p:txBody>
      </p:sp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EE424DCB-67F2-F738-C5E9-982407F40BF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E63616-A2E2-49CD-8B48-1F006743AC2B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8" name="Flecha: hacia abajo 7">
            <a:extLst>
              <a:ext uri="{FF2B5EF4-FFF2-40B4-BE49-F238E27FC236}">
                <a16:creationId xmlns:a16="http://schemas.microsoft.com/office/drawing/2014/main" id="{63548A17-C1A1-AD2B-9B87-3CCC5F638576}"/>
              </a:ext>
            </a:extLst>
          </p:cNvPr>
          <p:cNvSpPr/>
          <p:nvPr/>
        </p:nvSpPr>
        <p:spPr>
          <a:xfrm>
            <a:off x="5635829" y="2587326"/>
            <a:ext cx="546265" cy="653143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E5F02A11-7FD0-B207-8DAA-5B2FD45BD3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06528" y="3316490"/>
            <a:ext cx="4304320" cy="2344709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D8657BA7-7230-6EC4-502B-6AA951FCB5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5377" y="611949"/>
            <a:ext cx="5137483" cy="1757207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9B7FCE96-4A30-B88C-0AFB-590F11CC5D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78619" y="685817"/>
            <a:ext cx="4978656" cy="1562180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1907E051-9A4F-4295-61C8-15C72D4D72F5}"/>
              </a:ext>
            </a:extLst>
          </p:cNvPr>
          <p:cNvSpPr txBox="1"/>
          <p:nvPr/>
        </p:nvSpPr>
        <p:spPr>
          <a:xfrm>
            <a:off x="1470558" y="2407139"/>
            <a:ext cx="29807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dirty="0" err="1"/>
              <a:t>Dataframe</a:t>
            </a:r>
            <a:r>
              <a:rPr lang="es-PE" dirty="0"/>
              <a:t> del día escalado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D4EF2F81-6CD7-FE14-A564-8FAA6229CD8F}"/>
              </a:ext>
            </a:extLst>
          </p:cNvPr>
          <p:cNvSpPr txBox="1"/>
          <p:nvPr/>
        </p:nvSpPr>
        <p:spPr>
          <a:xfrm>
            <a:off x="7277593" y="2386998"/>
            <a:ext cx="29807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dirty="0" err="1"/>
              <a:t>Dataframe</a:t>
            </a:r>
            <a:r>
              <a:rPr lang="es-PE" dirty="0"/>
              <a:t> del día sin escalar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40BCFFC7-8962-17A8-6B31-76E780FA2C6E}"/>
              </a:ext>
            </a:extLst>
          </p:cNvPr>
          <p:cNvSpPr txBox="1"/>
          <p:nvPr/>
        </p:nvSpPr>
        <p:spPr>
          <a:xfrm>
            <a:off x="3629144" y="5802851"/>
            <a:ext cx="46590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dirty="0" err="1"/>
              <a:t>Dataframe</a:t>
            </a:r>
            <a:r>
              <a:rPr lang="es-PE" dirty="0"/>
              <a:t> del día sin escalar con </a:t>
            </a:r>
            <a:r>
              <a:rPr lang="es-PE" dirty="0" err="1"/>
              <a:t>clusters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123815304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EEB3A816-A9AD-E33E-620C-BBCFF2D59F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E63616-A2E2-49CD-8B48-1F006743AC2B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C49EEF36-C1C9-9A67-095E-A70CB12DBE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Funciones para plotear </a:t>
            </a:r>
            <a:r>
              <a:rPr lang="es-PE" dirty="0" err="1"/>
              <a:t>clusters</a:t>
            </a:r>
            <a:endParaRPr lang="es-PE" dirty="0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5BB25ABF-0719-3B28-077F-6861A17F08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40363" y="1392448"/>
            <a:ext cx="5711273" cy="5203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752908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6D6DEE17-6AAB-AF78-2B7C-3C35B850703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PE" dirty="0"/>
              <a:t>Uso de la </a:t>
            </a:r>
            <a:r>
              <a:rPr lang="es-PE" dirty="0" err="1"/>
              <a:t>clusterización</a:t>
            </a:r>
            <a:endParaRPr lang="es-PE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DAC4A7A6-E519-6EEF-13BB-A5CA95455A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E63616-A2E2-49CD-8B48-1F006743AC2B}" type="slidenum">
              <a:rPr lang="en-US" smtClean="0"/>
              <a:pPr/>
              <a:t>27</a:t>
            </a:fld>
            <a:endParaRPr lang="en-US" dirty="0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FCB31CC4-71C5-CCB4-8F04-1D6FF0310F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6591" y="1355608"/>
            <a:ext cx="5790289" cy="3862233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E9EA0026-47BB-49DE-6B61-8C9DF4A033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07733" y="1430723"/>
            <a:ext cx="5677676" cy="3787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193979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A787CBCF-61E6-BFAF-72A3-670132A408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3227" y="3171326"/>
            <a:ext cx="4691968" cy="2203511"/>
          </a:xfrm>
        </p:spPr>
        <p:txBody>
          <a:bodyPr/>
          <a:lstStyle/>
          <a:p>
            <a:pPr defTabSz="457200">
              <a:lnSpc>
                <a:spcPts val="2874"/>
              </a:lnSpc>
            </a:pPr>
            <a:r>
              <a:rPr lang="es-MX" sz="3200" spc="-68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PTIMIZACIÓN</a:t>
            </a:r>
            <a:endParaRPr lang="es-PE" sz="3200" spc="-68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C8577706-F1FB-7638-78EE-4C8DAFBB556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2599" y="6057875"/>
            <a:ext cx="11428352" cy="546100"/>
          </a:xfrm>
        </p:spPr>
        <p:txBody>
          <a:bodyPr/>
          <a:lstStyle/>
          <a:p>
            <a:r>
              <a:rPr lang="es-PE" dirty="0"/>
              <a:t>Restricciones de cantidad y capacidad de vehículos mediante </a:t>
            </a:r>
            <a:r>
              <a:rPr lang="es-PE" dirty="0" err="1"/>
              <a:t>cplex</a:t>
            </a:r>
            <a:r>
              <a:rPr lang="es-PE" dirty="0"/>
              <a:t> de IBM</a:t>
            </a:r>
          </a:p>
        </p:txBody>
      </p:sp>
      <p:pic>
        <p:nvPicPr>
          <p:cNvPr id="7170" name="Picture 2" descr="Optimización Web y SEO para atraer más clientes - MARATUM">
            <a:extLst>
              <a:ext uri="{FF2B5EF4-FFF2-40B4-BE49-F238E27FC236}">
                <a16:creationId xmlns:a16="http://schemas.microsoft.com/office/drawing/2014/main" id="{4815CB5B-1CD6-D767-312B-60CF7F489E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6640" y="1723633"/>
            <a:ext cx="4342410" cy="2895386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9167649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EEB3A816-A9AD-E33E-620C-BBCFF2D59F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E63616-A2E2-49CD-8B48-1F006743AC2B}" type="slidenum">
              <a:rPr lang="en-US" smtClean="0"/>
              <a:pPr/>
              <a:t>29</a:t>
            </a:fld>
            <a:endParaRPr lang="en-US"/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C49EEF36-C1C9-9A67-095E-A70CB12DBE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Datos del negocio para la optimización</a:t>
            </a:r>
          </a:p>
        </p:txBody>
      </p:sp>
      <p:graphicFrame>
        <p:nvGraphicFramePr>
          <p:cNvPr id="7" name="Tabla 5">
            <a:extLst>
              <a:ext uri="{FF2B5EF4-FFF2-40B4-BE49-F238E27FC236}">
                <a16:creationId xmlns:a16="http://schemas.microsoft.com/office/drawing/2014/main" id="{73136D1B-A990-7C1C-2B16-024B7A17A9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2346935"/>
              </p:ext>
            </p:extLst>
          </p:nvPr>
        </p:nvGraphicFramePr>
        <p:xfrm>
          <a:off x="1788811" y="1264458"/>
          <a:ext cx="8614378" cy="3032760"/>
        </p:xfrm>
        <a:graphic>
          <a:graphicData uri="http://schemas.openxmlformats.org/drawingml/2006/table">
            <a:tbl>
              <a:tblPr firstRow="1" bandRow="1">
                <a:tableStyleId>{9DCAF9ED-07DC-4A11-8D7F-57B35C25682E}</a:tableStyleId>
              </a:tblPr>
              <a:tblGrid>
                <a:gridCol w="4089057">
                  <a:extLst>
                    <a:ext uri="{9D8B030D-6E8A-4147-A177-3AD203B41FA5}">
                      <a16:colId xmlns:a16="http://schemas.microsoft.com/office/drawing/2014/main" val="3267865376"/>
                    </a:ext>
                  </a:extLst>
                </a:gridCol>
                <a:gridCol w="4525321">
                  <a:extLst>
                    <a:ext uri="{9D8B030D-6E8A-4147-A177-3AD203B41FA5}">
                      <a16:colId xmlns:a16="http://schemas.microsoft.com/office/drawing/2014/main" val="299463358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algn="ctr" defTabSz="609585" rtl="0" eaLnBrk="1" latinLnBrk="0" hangingPunct="1"/>
                      <a:r>
                        <a:rPr lang="es-PE" sz="1600" kern="1200" dirty="0">
                          <a:solidFill>
                            <a:schemeClr val="bg1"/>
                          </a:solidFill>
                          <a:latin typeface="Abadi" panose="020B0604020202020204" pitchFamily="34" charset="0"/>
                          <a:ea typeface="+mn-ea"/>
                          <a:cs typeface="+mn-cs"/>
                        </a:rPr>
                        <a:t>Variab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609585" rtl="0" eaLnBrk="1" latinLnBrk="0" hangingPunct="1"/>
                      <a:r>
                        <a:rPr lang="es-PE" sz="1600" kern="1200" dirty="0">
                          <a:solidFill>
                            <a:schemeClr val="bg1"/>
                          </a:solidFill>
                          <a:latin typeface="Abadi" panose="020B0604020202020204" pitchFamily="34" charset="0"/>
                          <a:ea typeface="+mn-ea"/>
                          <a:cs typeface="+mn-cs"/>
                        </a:rPr>
                        <a:t>Descripció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417133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609585" rtl="0" eaLnBrk="1" latinLnBrk="0" hangingPunct="1"/>
                      <a:r>
                        <a:rPr lang="es-PE" sz="1600" b="0" kern="1200" dirty="0" err="1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Interlocut</a:t>
                      </a:r>
                      <a:endParaRPr lang="es-PE" sz="1600" b="0" kern="1200" dirty="0">
                        <a:solidFill>
                          <a:schemeClr val="dk1"/>
                        </a:solidFill>
                        <a:latin typeface="Abadi" panose="020B060402010402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609585" rtl="0" eaLnBrk="1" latinLnBrk="0" hangingPunct="1"/>
                      <a:r>
                        <a:rPr lang="es-PE" sz="1600" b="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Ruta de distribución actu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55981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609585" rtl="0" eaLnBrk="1" latinLnBrk="0" hangingPunct="1"/>
                      <a:r>
                        <a:rPr lang="es-PE" sz="1600" b="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Distrit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b="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Distrito donde se encuentra punto de ven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10158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609585" rtl="0" eaLnBrk="1" latinLnBrk="0" hangingPunct="1"/>
                      <a:r>
                        <a:rPr lang="es-PE" sz="1600" b="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Clien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b="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Código de cliente al cual pertenece punto de ven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6698180"/>
                  </a:ext>
                </a:extLst>
              </a:tr>
              <a:tr h="236225">
                <a:tc>
                  <a:txBody>
                    <a:bodyPr/>
                    <a:lstStyle/>
                    <a:p>
                      <a:pPr algn="ctr"/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Latitu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Coordenada latitud del punto de ven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6784608"/>
                  </a:ext>
                </a:extLst>
              </a:tr>
              <a:tr h="236225">
                <a:tc>
                  <a:txBody>
                    <a:bodyPr/>
                    <a:lstStyle/>
                    <a:p>
                      <a:pPr algn="ctr"/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Longitu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Coordenada longitud del punto de ven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6709378"/>
                  </a:ext>
                </a:extLst>
              </a:tr>
              <a:tr h="236225">
                <a:tc>
                  <a:txBody>
                    <a:bodyPr/>
                    <a:lstStyle/>
                    <a:p>
                      <a:pPr algn="ctr"/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Re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Volumen en kg que se puede despacha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2225094"/>
                  </a:ext>
                </a:extLst>
              </a:tr>
              <a:tr h="236225">
                <a:tc>
                  <a:txBody>
                    <a:bodyPr/>
                    <a:lstStyle/>
                    <a:p>
                      <a:pPr algn="ctr"/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Capacida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Kilogramos máximos transportador por camion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7427332"/>
                  </a:ext>
                </a:extLst>
              </a:tr>
            </a:tbl>
          </a:graphicData>
        </a:graphic>
      </p:graphicFrame>
      <p:sp>
        <p:nvSpPr>
          <p:cNvPr id="3" name="CuadroTexto 2">
            <a:extLst>
              <a:ext uri="{FF2B5EF4-FFF2-40B4-BE49-F238E27FC236}">
                <a16:creationId xmlns:a16="http://schemas.microsoft.com/office/drawing/2014/main" id="{BC222121-1CCD-0FD9-3426-51DEE484FA00}"/>
              </a:ext>
            </a:extLst>
          </p:cNvPr>
          <p:cNvSpPr txBox="1"/>
          <p:nvPr/>
        </p:nvSpPr>
        <p:spPr>
          <a:xfrm>
            <a:off x="136803" y="4474171"/>
            <a:ext cx="413831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2000" b="1" dirty="0">
                <a:solidFill>
                  <a:schemeClr val="bg2">
                    <a:lumMod val="50000"/>
                  </a:schemeClr>
                </a:solidFill>
              </a:rPr>
              <a:t>Datos simplificados empleados:</a:t>
            </a:r>
          </a:p>
        </p:txBody>
      </p:sp>
      <p:graphicFrame>
        <p:nvGraphicFramePr>
          <p:cNvPr id="6" name="Tabla 5">
            <a:extLst>
              <a:ext uri="{FF2B5EF4-FFF2-40B4-BE49-F238E27FC236}">
                <a16:creationId xmlns:a16="http://schemas.microsoft.com/office/drawing/2014/main" id="{8C9D1FC2-18A8-7589-36DE-614E72E827E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7453522"/>
              </p:ext>
            </p:extLst>
          </p:nvPr>
        </p:nvGraphicFramePr>
        <p:xfrm>
          <a:off x="1788811" y="4874281"/>
          <a:ext cx="8614378" cy="1711960"/>
        </p:xfrm>
        <a:graphic>
          <a:graphicData uri="http://schemas.openxmlformats.org/drawingml/2006/table">
            <a:tbl>
              <a:tblPr firstRow="1" bandRow="1">
                <a:tableStyleId>{9DCAF9ED-07DC-4A11-8D7F-57B35C25682E}</a:tableStyleId>
              </a:tblPr>
              <a:tblGrid>
                <a:gridCol w="4089057">
                  <a:extLst>
                    <a:ext uri="{9D8B030D-6E8A-4147-A177-3AD203B41FA5}">
                      <a16:colId xmlns:a16="http://schemas.microsoft.com/office/drawing/2014/main" val="3267865376"/>
                    </a:ext>
                  </a:extLst>
                </a:gridCol>
                <a:gridCol w="4525321">
                  <a:extLst>
                    <a:ext uri="{9D8B030D-6E8A-4147-A177-3AD203B41FA5}">
                      <a16:colId xmlns:a16="http://schemas.microsoft.com/office/drawing/2014/main" val="299463358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algn="ctr" defTabSz="609585" rtl="0" eaLnBrk="1" latinLnBrk="0" hangingPunct="1"/>
                      <a:r>
                        <a:rPr lang="es-PE" sz="1600" kern="1200" dirty="0">
                          <a:solidFill>
                            <a:schemeClr val="bg1"/>
                          </a:solidFill>
                          <a:latin typeface="Abadi" panose="020B0604020202020204" pitchFamily="34" charset="0"/>
                          <a:ea typeface="+mn-ea"/>
                          <a:cs typeface="+mn-cs"/>
                        </a:rPr>
                        <a:t>Variab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609585" rtl="0" eaLnBrk="1" latinLnBrk="0" hangingPunct="1"/>
                      <a:r>
                        <a:rPr lang="es-PE" sz="1600" kern="1200" dirty="0">
                          <a:solidFill>
                            <a:schemeClr val="bg1"/>
                          </a:solidFill>
                          <a:latin typeface="Abadi" panose="020B0604020202020204" pitchFamily="34" charset="0"/>
                          <a:ea typeface="+mn-ea"/>
                          <a:cs typeface="+mn-cs"/>
                        </a:rPr>
                        <a:t>Descripció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41713367"/>
                  </a:ext>
                </a:extLst>
              </a:tr>
              <a:tr h="236225">
                <a:tc>
                  <a:txBody>
                    <a:bodyPr/>
                    <a:lstStyle/>
                    <a:p>
                      <a:pPr algn="ctr"/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Latitu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Coordenada latitud del punto de ven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6784608"/>
                  </a:ext>
                </a:extLst>
              </a:tr>
              <a:tr h="236225">
                <a:tc>
                  <a:txBody>
                    <a:bodyPr/>
                    <a:lstStyle/>
                    <a:p>
                      <a:pPr algn="ctr"/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Longitu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Coordenada longitud del punto de ven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6709378"/>
                  </a:ext>
                </a:extLst>
              </a:tr>
              <a:tr h="236225">
                <a:tc>
                  <a:txBody>
                    <a:bodyPr/>
                    <a:lstStyle/>
                    <a:p>
                      <a:pPr algn="ctr"/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Re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Volumen en kg que se puede despacha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2225094"/>
                  </a:ext>
                </a:extLst>
              </a:tr>
              <a:tr h="236225">
                <a:tc>
                  <a:txBody>
                    <a:bodyPr/>
                    <a:lstStyle/>
                    <a:p>
                      <a:pPr algn="ctr"/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Capacida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kern="1200" dirty="0">
                          <a:solidFill>
                            <a:schemeClr val="dk1"/>
                          </a:solidFill>
                          <a:latin typeface="Abadi" panose="020B0604020104020204" pitchFamily="34" charset="0"/>
                          <a:ea typeface="+mn-ea"/>
                          <a:cs typeface="+mn-cs"/>
                        </a:rPr>
                        <a:t>Kilogramos máximos transportador por camion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74273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750937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De qué manera lograr que una empresa online crezca en el mercado?">
            <a:extLst>
              <a:ext uri="{FF2B5EF4-FFF2-40B4-BE49-F238E27FC236}">
                <a16:creationId xmlns:a16="http://schemas.microsoft.com/office/drawing/2014/main" id="{1F21C762-BFBB-A4BE-3E5D-CC222026CE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alphaModFix/>
            <a:duotone>
              <a:prstClr val="black"/>
              <a:schemeClr val="accent3">
                <a:tint val="45000"/>
                <a:satMod val="400000"/>
              </a:schemeClr>
            </a:duotone>
            <a:clrChange>
              <a:clrFrom>
                <a:srgbClr val="EFF0EB"/>
              </a:clrFrom>
              <a:clrTo>
                <a:srgbClr val="EFF0E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7414" y="1866673"/>
            <a:ext cx="4970107" cy="295585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ítulo 6">
            <a:extLst>
              <a:ext uri="{FF2B5EF4-FFF2-40B4-BE49-F238E27FC236}">
                <a16:creationId xmlns:a16="http://schemas.microsoft.com/office/drawing/2014/main" id="{834DE61B-69D4-648C-09CD-329073E45B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457200">
              <a:lnSpc>
                <a:spcPts val="2874"/>
              </a:lnSpc>
            </a:pPr>
            <a:r>
              <a:rPr lang="es-MX" sz="3200" spc="-68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ontexto del caso de negocio</a:t>
            </a:r>
            <a:endParaRPr lang="es-PE" sz="3200" spc="-68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E6971E8D-A4BA-1641-A29A-4E7A935C21F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2598" y="6057875"/>
            <a:ext cx="10060993" cy="546100"/>
          </a:xfrm>
        </p:spPr>
        <p:txBody>
          <a:bodyPr/>
          <a:lstStyle/>
          <a:p>
            <a:r>
              <a:rPr lang="es-MX" dirty="0"/>
              <a:t>Situación actual y proceso a abordar</a:t>
            </a:r>
            <a:endParaRPr lang="es-PE" dirty="0"/>
          </a:p>
        </p:txBody>
      </p:sp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378960E8-FF8C-4A84-CFD3-EE28CCB7F53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71300" y="0"/>
            <a:ext cx="520700" cy="366713"/>
          </a:xfrm>
          <a:prstGeom prst="rect">
            <a:avLst/>
          </a:prstGeom>
        </p:spPr>
        <p:txBody>
          <a:bodyPr/>
          <a:lstStyle/>
          <a:p>
            <a:fld id="{95E63616-A2E2-49CD-8B48-1F006743AC2B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240463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18150590-F54F-5712-63CB-52319A28333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E63616-A2E2-49CD-8B48-1F006743AC2B}" type="slidenum">
              <a:rPr lang="en-US" smtClean="0"/>
              <a:pPr/>
              <a:t>30</a:t>
            </a:fld>
            <a:endParaRPr lang="en-US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ACBB0487-6B8B-BCB9-A592-501135E5C5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Funciones para obtener las rutas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77C520B6-D686-D961-AF76-1CBC754D74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34159" y="1091827"/>
            <a:ext cx="6923681" cy="5384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83406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6D6DEE17-6AAB-AF78-2B7C-3C35B850703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PE" dirty="0"/>
              <a:t>Uso de la función para optimización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DAC4A7A6-E519-6EEF-13BB-A5CA95455A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E63616-A2E2-49CD-8B48-1F006743AC2B}" type="slidenum">
              <a:rPr lang="en-US" smtClean="0"/>
              <a:pPr/>
              <a:t>31</a:t>
            </a:fld>
            <a:endParaRPr lang="en-US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081E9CA0-E2EE-A984-39B1-E5EF367D3B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59130" y="183092"/>
            <a:ext cx="5682331" cy="1747624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3340F549-7405-8FF3-C437-C38EEA6294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7727" y="2937250"/>
            <a:ext cx="4241205" cy="829210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6B579D32-F653-5DDC-061A-2EEA94334F62}"/>
              </a:ext>
            </a:extLst>
          </p:cNvPr>
          <p:cNvSpPr txBox="1"/>
          <p:nvPr/>
        </p:nvSpPr>
        <p:spPr>
          <a:xfrm>
            <a:off x="3159130" y="1917840"/>
            <a:ext cx="5301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dirty="0" err="1"/>
              <a:t>Dataframe</a:t>
            </a:r>
            <a:r>
              <a:rPr lang="es-PE" dirty="0"/>
              <a:t> del día sin escalar con </a:t>
            </a:r>
            <a:r>
              <a:rPr lang="es-PE" dirty="0" err="1"/>
              <a:t>cluster</a:t>
            </a:r>
            <a:r>
              <a:rPr lang="es-PE" dirty="0"/>
              <a:t> </a:t>
            </a:r>
            <a:r>
              <a:rPr lang="es-PE" dirty="0" err="1"/>
              <a:t>específicoc</a:t>
            </a:r>
            <a:endParaRPr lang="es-PE" dirty="0"/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id="{BAA30D74-6E3B-3D41-24DD-B0EB4909590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73074"/>
          <a:stretch/>
        </p:blipFill>
        <p:spPr>
          <a:xfrm>
            <a:off x="5595925" y="2931278"/>
            <a:ext cx="955296" cy="336678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35EBEA83-B920-6D6D-69E3-288D1A22EC1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97722" y="3060680"/>
            <a:ext cx="3873699" cy="368319"/>
          </a:xfrm>
          <a:prstGeom prst="rect">
            <a:avLst/>
          </a:prstGeom>
        </p:spPr>
      </p:pic>
      <p:sp>
        <p:nvSpPr>
          <p:cNvPr id="17" name="Flecha: hacia abajo 16">
            <a:extLst>
              <a:ext uri="{FF2B5EF4-FFF2-40B4-BE49-F238E27FC236}">
                <a16:creationId xmlns:a16="http://schemas.microsoft.com/office/drawing/2014/main" id="{A31C7F42-919B-2810-9A8E-9BB7D05EF496}"/>
              </a:ext>
            </a:extLst>
          </p:cNvPr>
          <p:cNvSpPr/>
          <p:nvPr/>
        </p:nvSpPr>
        <p:spPr>
          <a:xfrm>
            <a:off x="5752950" y="2314099"/>
            <a:ext cx="436118" cy="521445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8261C774-D4FB-0981-906C-4C4B2CD02B61}"/>
              </a:ext>
            </a:extLst>
          </p:cNvPr>
          <p:cNvSpPr txBox="1"/>
          <p:nvPr/>
        </p:nvSpPr>
        <p:spPr>
          <a:xfrm>
            <a:off x="0" y="3766460"/>
            <a:ext cx="5301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dirty="0"/>
              <a:t>Status de la optimización</a:t>
            </a: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633E3646-F2BD-657E-8B22-5DB3D61AFD2D}"/>
              </a:ext>
            </a:extLst>
          </p:cNvPr>
          <p:cNvSpPr txBox="1"/>
          <p:nvPr/>
        </p:nvSpPr>
        <p:spPr>
          <a:xfrm>
            <a:off x="3349745" y="6153856"/>
            <a:ext cx="5301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dirty="0"/>
              <a:t>Arcos de distribución</a:t>
            </a: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1D085FA8-919A-59DC-0210-9AD0735822FD}"/>
              </a:ext>
            </a:extLst>
          </p:cNvPr>
          <p:cNvSpPr txBox="1"/>
          <p:nvPr/>
        </p:nvSpPr>
        <p:spPr>
          <a:xfrm>
            <a:off x="7084021" y="3494726"/>
            <a:ext cx="5301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dirty="0"/>
              <a:t>Arcos ordenados</a:t>
            </a:r>
          </a:p>
        </p:txBody>
      </p:sp>
    </p:spTree>
    <p:extLst>
      <p:ext uri="{BB962C8B-B14F-4D97-AF65-F5344CB8AC3E}">
        <p14:creationId xmlns:p14="http://schemas.microsoft.com/office/powerpoint/2010/main" val="215477775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18150590-F54F-5712-63CB-52319A28333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E63616-A2E2-49CD-8B48-1F006743AC2B}" type="slidenum">
              <a:rPr lang="en-US" smtClean="0"/>
              <a:pPr/>
              <a:t>32</a:t>
            </a:fld>
            <a:endParaRPr lang="en-US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ACBB0487-6B8B-BCB9-A592-501135E5C5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Funciones para plotear mejor ruta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AC4E8198-3DAA-1207-EB72-4B852859C3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24338" y="1080654"/>
            <a:ext cx="5343324" cy="5371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32586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EFF09FF6-2EE0-DFC3-41F9-835D41F54EA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PE" dirty="0"/>
              <a:t>Uso de la función de plotear mejor ruta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F6009881-5F78-8EB9-774D-E989849FF3B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E63616-A2E2-49CD-8B48-1F006743AC2B}" type="slidenum">
              <a:rPr lang="en-US" smtClean="0"/>
              <a:pPr/>
              <a:t>33</a:t>
            </a:fld>
            <a:endParaRPr lang="en-US" dirty="0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8E72478D-5FD7-305E-96C5-8C89E7135258}"/>
              </a:ext>
            </a:extLst>
          </p:cNvPr>
          <p:cNvSpPr txBox="1"/>
          <p:nvPr/>
        </p:nvSpPr>
        <p:spPr>
          <a:xfrm>
            <a:off x="619555" y="5017028"/>
            <a:ext cx="5301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dirty="0" err="1"/>
              <a:t>Cluster</a:t>
            </a:r>
            <a:r>
              <a:rPr lang="es-PE" dirty="0"/>
              <a:t> 0 del día lunes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E8858FCE-6810-AAC6-2045-735A05D6F9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1565" y="1074290"/>
            <a:ext cx="5639090" cy="3759393"/>
          </a:xfrm>
          <a:prstGeom prst="rect">
            <a:avLst/>
          </a:prstGeom>
        </p:spPr>
      </p:pic>
      <p:pic>
        <p:nvPicPr>
          <p:cNvPr id="14" name="Imagen 13">
            <a:extLst>
              <a:ext uri="{FF2B5EF4-FFF2-40B4-BE49-F238E27FC236}">
                <a16:creationId xmlns:a16="http://schemas.microsoft.com/office/drawing/2014/main" id="{FFC72CD8-7373-5425-125A-46D2923AAD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78120" y="1074290"/>
            <a:ext cx="5645440" cy="3759393"/>
          </a:xfrm>
          <a:prstGeom prst="rect">
            <a:avLst/>
          </a:prstGeom>
        </p:spPr>
      </p:pic>
      <p:sp>
        <p:nvSpPr>
          <p:cNvPr id="15" name="CuadroTexto 14">
            <a:extLst>
              <a:ext uri="{FF2B5EF4-FFF2-40B4-BE49-F238E27FC236}">
                <a16:creationId xmlns:a16="http://schemas.microsoft.com/office/drawing/2014/main" id="{BD6E8C8F-E91E-F3E2-BB59-38258A287105}"/>
              </a:ext>
            </a:extLst>
          </p:cNvPr>
          <p:cNvSpPr txBox="1"/>
          <p:nvPr/>
        </p:nvSpPr>
        <p:spPr>
          <a:xfrm>
            <a:off x="6370321" y="4984762"/>
            <a:ext cx="5301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dirty="0"/>
              <a:t>Rutas trazadas en el mapa</a:t>
            </a:r>
          </a:p>
        </p:txBody>
      </p:sp>
    </p:spTree>
    <p:extLst>
      <p:ext uri="{BB962C8B-B14F-4D97-AF65-F5344CB8AC3E}">
        <p14:creationId xmlns:p14="http://schemas.microsoft.com/office/powerpoint/2010/main" val="129430163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18150590-F54F-5712-63CB-52319A28333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E63616-A2E2-49CD-8B48-1F006743AC2B}" type="slidenum">
              <a:rPr lang="en-US" smtClean="0"/>
              <a:pPr/>
              <a:t>34</a:t>
            </a:fld>
            <a:endParaRPr lang="en-US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ACBB0487-6B8B-BCB9-A592-501135E5C5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Funciones para exportar ruta del día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8C79F2F9-E8BB-DE1F-7E29-AD1C7A4A6B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8048" y="2123811"/>
            <a:ext cx="9195903" cy="2817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689692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EFF09FF6-2EE0-DFC3-41F9-835D41F54EA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PE" dirty="0"/>
              <a:t>Uso de la función para exportar mejor ruta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F6009881-5F78-8EB9-774D-E989849FF3B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E63616-A2E2-49CD-8B48-1F006743AC2B}" type="slidenum">
              <a:rPr lang="en-US" smtClean="0"/>
              <a:pPr/>
              <a:t>35</a:t>
            </a:fld>
            <a:endParaRPr lang="en-US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FBAF0979-13CE-4004-F678-79CF7633CC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03604" y="508974"/>
            <a:ext cx="6382320" cy="5782769"/>
          </a:xfrm>
          <a:prstGeom prst="rect">
            <a:avLst/>
          </a:prstGeom>
        </p:spPr>
      </p:pic>
      <p:cxnSp>
        <p:nvCxnSpPr>
          <p:cNvPr id="7" name="Conector recto de flecha 6">
            <a:extLst>
              <a:ext uri="{FF2B5EF4-FFF2-40B4-BE49-F238E27FC236}">
                <a16:creationId xmlns:a16="http://schemas.microsoft.com/office/drawing/2014/main" id="{7548CE10-6DFF-1D41-74A6-BB4A9F8446CC}"/>
              </a:ext>
            </a:extLst>
          </p:cNvPr>
          <p:cNvCxnSpPr/>
          <p:nvPr/>
        </p:nvCxnSpPr>
        <p:spPr>
          <a:xfrm>
            <a:off x="2113807" y="902525"/>
            <a:ext cx="1140031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" name="CuadroTexto 8">
            <a:extLst>
              <a:ext uri="{FF2B5EF4-FFF2-40B4-BE49-F238E27FC236}">
                <a16:creationId xmlns:a16="http://schemas.microsoft.com/office/drawing/2014/main" id="{81822935-4EE2-115B-AEAE-F66EDA4DA815}"/>
              </a:ext>
            </a:extLst>
          </p:cNvPr>
          <p:cNvSpPr txBox="1"/>
          <p:nvPr/>
        </p:nvSpPr>
        <p:spPr>
          <a:xfrm>
            <a:off x="-228207" y="717859"/>
            <a:ext cx="26342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dirty="0"/>
              <a:t>Orden de la ruta</a:t>
            </a:r>
          </a:p>
        </p:txBody>
      </p:sp>
    </p:spTree>
    <p:extLst>
      <p:ext uri="{BB962C8B-B14F-4D97-AF65-F5344CB8AC3E}">
        <p14:creationId xmlns:p14="http://schemas.microsoft.com/office/powerpoint/2010/main" val="384155310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 descr="≫ FrontEnd vs BackEnd: ¿qué elegir? - Codigo Correcto">
            <a:extLst>
              <a:ext uri="{FF2B5EF4-FFF2-40B4-BE49-F238E27FC236}">
                <a16:creationId xmlns:a16="http://schemas.microsoft.com/office/drawing/2014/main" id="{56C64B20-2067-036F-21DD-1D90BFEC8B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8448" y="1866673"/>
            <a:ext cx="4979073" cy="260571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ítulo 6">
            <a:extLst>
              <a:ext uri="{FF2B5EF4-FFF2-40B4-BE49-F238E27FC236}">
                <a16:creationId xmlns:a16="http://schemas.microsoft.com/office/drawing/2014/main" id="{834DE61B-69D4-648C-09CD-329073E45B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457200">
              <a:lnSpc>
                <a:spcPts val="2874"/>
              </a:lnSpc>
            </a:pPr>
            <a:r>
              <a:rPr lang="es-MX" sz="3200" spc="-68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resentación del prototipo funcional</a:t>
            </a:r>
            <a:endParaRPr lang="es-PE" sz="3200" spc="-68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E6971E8D-A4BA-1641-A29A-4E7A935C21F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2598" y="6057875"/>
            <a:ext cx="10060993" cy="546100"/>
          </a:xfrm>
        </p:spPr>
        <p:txBody>
          <a:bodyPr/>
          <a:lstStyle/>
          <a:p>
            <a:r>
              <a:rPr lang="es-MX" dirty="0"/>
              <a:t>Front-</a:t>
            </a:r>
            <a:r>
              <a:rPr lang="es-MX" dirty="0" err="1"/>
              <a:t>end</a:t>
            </a:r>
            <a:r>
              <a:rPr lang="es-MX" dirty="0"/>
              <a:t> para la generación de mejores rutas</a:t>
            </a:r>
            <a:endParaRPr lang="es-PE" dirty="0"/>
          </a:p>
        </p:txBody>
      </p:sp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378960E8-FF8C-4A84-CFD3-EE28CCB7F53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71300" y="0"/>
            <a:ext cx="520700" cy="366713"/>
          </a:xfrm>
          <a:prstGeom prst="rect">
            <a:avLst/>
          </a:prstGeom>
        </p:spPr>
        <p:txBody>
          <a:bodyPr/>
          <a:lstStyle/>
          <a:p>
            <a:fld id="{95E63616-A2E2-49CD-8B48-1F006743AC2B}" type="slidenum">
              <a:rPr lang="en-US" smtClean="0"/>
              <a:pPr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097125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5A92C91-D054-9D3E-A8DE-5A9BF67057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PE" dirty="0"/>
              <a:t>PESTAÑA INICIO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D1ED44DA-D405-9D67-5C66-5E9B450894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57952" y="287413"/>
            <a:ext cx="6076096" cy="5668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082791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5A92C91-D054-9D3E-A8DE-5A9BF67057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PE" dirty="0"/>
              <a:t>PESTAÑA MAPA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145D8AA2-AE78-55B8-3EC4-D593120044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21972" y="153803"/>
            <a:ext cx="5148055" cy="6195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775084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E25ECC50-1EAB-B1EC-1748-639DEDE433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PE" dirty="0"/>
              <a:t>PESTAÑA CLUSTERS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3CF49E3-E447-6C30-C196-631D62794A6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E63616-A2E2-49CD-8B48-1F006743AC2B}" type="slidenum">
              <a:rPr lang="en-US" smtClean="0"/>
              <a:pPr/>
              <a:t>39</a:t>
            </a:fld>
            <a:endParaRPr lang="en-US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0C782A64-15A9-1B84-215B-D97CCA536E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04840" y="569388"/>
            <a:ext cx="6382320" cy="5719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80770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5688E06B-7746-0CF7-081D-155F45442C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392" y="132618"/>
            <a:ext cx="9095188" cy="853879"/>
          </a:xfrm>
        </p:spPr>
        <p:txBody>
          <a:bodyPr/>
          <a:lstStyle/>
          <a:p>
            <a:r>
              <a:rPr lang="es-MX" dirty="0"/>
              <a:t>DIVISIÓN ACTUAL DE RUTAS DE DISTRIBUCIÓN EN LIMA</a:t>
            </a:r>
            <a:endParaRPr lang="es-PE" dirty="0"/>
          </a:p>
        </p:txBody>
      </p:sp>
      <p:pic>
        <p:nvPicPr>
          <p:cNvPr id="3076" name="Picture 4" descr="Entregas – TECGO">
            <a:extLst>
              <a:ext uri="{FF2B5EF4-FFF2-40B4-BE49-F238E27FC236}">
                <a16:creationId xmlns:a16="http://schemas.microsoft.com/office/drawing/2014/main" id="{4F24021A-0FE0-006A-A026-CD7898AF7F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3734" y="1404257"/>
            <a:ext cx="3016217" cy="4441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Signo de multiplicación 5">
            <a:extLst>
              <a:ext uri="{FF2B5EF4-FFF2-40B4-BE49-F238E27FC236}">
                <a16:creationId xmlns:a16="http://schemas.microsoft.com/office/drawing/2014/main" id="{5F22ABAB-98B9-353C-CD03-7048F25C7898}"/>
              </a:ext>
            </a:extLst>
          </p:cNvPr>
          <p:cNvSpPr/>
          <p:nvPr/>
        </p:nvSpPr>
        <p:spPr>
          <a:xfrm>
            <a:off x="3143201" y="3526813"/>
            <a:ext cx="177281" cy="195943"/>
          </a:xfrm>
          <a:prstGeom prst="mathMultiply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9" name="Signo de multiplicación 8">
            <a:extLst>
              <a:ext uri="{FF2B5EF4-FFF2-40B4-BE49-F238E27FC236}">
                <a16:creationId xmlns:a16="http://schemas.microsoft.com/office/drawing/2014/main" id="{2E620189-EC08-B569-02F7-234EAE8C18EC}"/>
              </a:ext>
            </a:extLst>
          </p:cNvPr>
          <p:cNvSpPr/>
          <p:nvPr/>
        </p:nvSpPr>
        <p:spPr>
          <a:xfrm>
            <a:off x="2714332" y="4190681"/>
            <a:ext cx="177281" cy="195943"/>
          </a:xfrm>
          <a:prstGeom prst="mathMultiply">
            <a:avLst/>
          </a:prstGeom>
          <a:solidFill>
            <a:srgbClr val="00B0F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0" name="Signo de multiplicación 9">
            <a:extLst>
              <a:ext uri="{FF2B5EF4-FFF2-40B4-BE49-F238E27FC236}">
                <a16:creationId xmlns:a16="http://schemas.microsoft.com/office/drawing/2014/main" id="{B5100489-A9F6-BEBB-029A-41F6E604D4C2}"/>
              </a:ext>
            </a:extLst>
          </p:cNvPr>
          <p:cNvSpPr/>
          <p:nvPr/>
        </p:nvSpPr>
        <p:spPr>
          <a:xfrm>
            <a:off x="3624945" y="1460175"/>
            <a:ext cx="177281" cy="195943"/>
          </a:xfrm>
          <a:prstGeom prst="mathMultiply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1" name="Signo de multiplicación 10">
            <a:extLst>
              <a:ext uri="{FF2B5EF4-FFF2-40B4-BE49-F238E27FC236}">
                <a16:creationId xmlns:a16="http://schemas.microsoft.com/office/drawing/2014/main" id="{6585DCD7-075E-A9C6-71AA-9F1FCFDB4F35}"/>
              </a:ext>
            </a:extLst>
          </p:cNvPr>
          <p:cNvSpPr/>
          <p:nvPr/>
        </p:nvSpPr>
        <p:spPr>
          <a:xfrm>
            <a:off x="3624944" y="1888845"/>
            <a:ext cx="177281" cy="195943"/>
          </a:xfrm>
          <a:prstGeom prst="mathMultiply">
            <a:avLst/>
          </a:prstGeom>
          <a:solidFill>
            <a:srgbClr val="00B0F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E0A714BA-7DDB-0AFF-EC36-328B05A0B47F}"/>
              </a:ext>
            </a:extLst>
          </p:cNvPr>
          <p:cNvSpPr txBox="1"/>
          <p:nvPr/>
        </p:nvSpPr>
        <p:spPr>
          <a:xfrm>
            <a:off x="3802225" y="1404257"/>
            <a:ext cx="17728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400" dirty="0"/>
              <a:t>Planta Ate</a:t>
            </a:r>
            <a:endParaRPr lang="es-PE" sz="1400" dirty="0"/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3504354E-44B4-46C7-7956-0D5229455720}"/>
              </a:ext>
            </a:extLst>
          </p:cNvPr>
          <p:cNvSpPr txBox="1"/>
          <p:nvPr/>
        </p:nvSpPr>
        <p:spPr>
          <a:xfrm>
            <a:off x="3802225" y="1822017"/>
            <a:ext cx="17728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400" dirty="0"/>
              <a:t>CEDI Chorrillos</a:t>
            </a:r>
            <a:endParaRPr lang="es-PE" sz="1400" dirty="0"/>
          </a:p>
        </p:txBody>
      </p:sp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id="{906BDCD4-8E72-EE1F-62A4-D910B2F2DC76}"/>
              </a:ext>
            </a:extLst>
          </p:cNvPr>
          <p:cNvCxnSpPr>
            <a:cxnSpLocks/>
          </p:cNvCxnSpPr>
          <p:nvPr/>
        </p:nvCxnSpPr>
        <p:spPr>
          <a:xfrm flipV="1">
            <a:off x="1901015" y="2920482"/>
            <a:ext cx="2913581" cy="1510539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CuadroTexto 18">
            <a:extLst>
              <a:ext uri="{FF2B5EF4-FFF2-40B4-BE49-F238E27FC236}">
                <a16:creationId xmlns:a16="http://schemas.microsoft.com/office/drawing/2014/main" id="{FF522CE4-8825-D8B8-B62B-FB9C07276E0A}"/>
              </a:ext>
            </a:extLst>
          </p:cNvPr>
          <p:cNvSpPr txBox="1"/>
          <p:nvPr/>
        </p:nvSpPr>
        <p:spPr>
          <a:xfrm>
            <a:off x="1729953" y="3980875"/>
            <a:ext cx="7993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400" dirty="0"/>
              <a:t>Norte</a:t>
            </a:r>
            <a:endParaRPr lang="es-PE" sz="1400" dirty="0"/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ED10243F-C997-9A20-1995-45B012A03D35}"/>
              </a:ext>
            </a:extLst>
          </p:cNvPr>
          <p:cNvSpPr txBox="1"/>
          <p:nvPr/>
        </p:nvSpPr>
        <p:spPr>
          <a:xfrm>
            <a:off x="2035432" y="4354403"/>
            <a:ext cx="7993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400" dirty="0"/>
              <a:t>Sur</a:t>
            </a:r>
            <a:endParaRPr lang="es-PE" sz="1400" dirty="0"/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71026248-B00A-7772-BCEF-F92F93C06E13}"/>
              </a:ext>
            </a:extLst>
          </p:cNvPr>
          <p:cNvSpPr txBox="1"/>
          <p:nvPr/>
        </p:nvSpPr>
        <p:spPr>
          <a:xfrm>
            <a:off x="6444142" y="1404257"/>
            <a:ext cx="4679302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MX" dirty="0"/>
              <a:t>ATE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MX" dirty="0"/>
              <a:t>Distribución fija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MX" dirty="0"/>
              <a:t>Cuenta con vehículo propios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MX" dirty="0"/>
              <a:t>Ate envía a Chorrillos para que este distribuya en el sur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MX" dirty="0"/>
              <a:t>Manejan SAP para asignar rutas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MX" dirty="0"/>
              <a:t>Se extienden al sur para canales FOSE y Autoservicios</a:t>
            </a:r>
          </a:p>
          <a:p>
            <a:pPr algn="just"/>
            <a:endParaRPr lang="es-MX" dirty="0"/>
          </a:p>
          <a:p>
            <a:pPr algn="just"/>
            <a:r>
              <a:rPr lang="es-MX" dirty="0"/>
              <a:t>CHORRILLOS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MX" dirty="0"/>
              <a:t>FOSE, distribución dinámica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MX" dirty="0"/>
              <a:t>Moderno y Detalle, distribución fija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MX" dirty="0"/>
              <a:t>Cuenta con vehículos alquilados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MX" dirty="0"/>
              <a:t>Manejan SAP y </a:t>
            </a:r>
            <a:r>
              <a:rPr lang="es-MX" dirty="0" err="1"/>
              <a:t>GisAT</a:t>
            </a:r>
            <a:r>
              <a:rPr lang="es-MX" dirty="0"/>
              <a:t> para asignar rutas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MX" dirty="0"/>
              <a:t>Se extienden al norte para canales FOSE y Autoservicio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PE" dirty="0"/>
          </a:p>
        </p:txBody>
      </p:sp>
      <p:sp>
        <p:nvSpPr>
          <p:cNvPr id="21" name="Rectángulo: esquinas redondeadas 20">
            <a:extLst>
              <a:ext uri="{FF2B5EF4-FFF2-40B4-BE49-F238E27FC236}">
                <a16:creationId xmlns:a16="http://schemas.microsoft.com/office/drawing/2014/main" id="{3C73716B-CF56-2320-86BE-4FE79B6BB727}"/>
              </a:ext>
            </a:extLst>
          </p:cNvPr>
          <p:cNvSpPr/>
          <p:nvPr/>
        </p:nvSpPr>
        <p:spPr>
          <a:xfrm>
            <a:off x="481546" y="2795138"/>
            <a:ext cx="1295594" cy="853879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400" dirty="0"/>
              <a:t>Canal Detalle</a:t>
            </a:r>
            <a:endParaRPr lang="es-PE" sz="1400" dirty="0"/>
          </a:p>
        </p:txBody>
      </p:sp>
      <p:sp>
        <p:nvSpPr>
          <p:cNvPr id="22" name="Rectángulo: esquinas redondeadas 21">
            <a:extLst>
              <a:ext uri="{FF2B5EF4-FFF2-40B4-BE49-F238E27FC236}">
                <a16:creationId xmlns:a16="http://schemas.microsoft.com/office/drawing/2014/main" id="{B10C525C-E4F9-CF49-FC09-A01159F01F93}"/>
              </a:ext>
            </a:extLst>
          </p:cNvPr>
          <p:cNvSpPr/>
          <p:nvPr/>
        </p:nvSpPr>
        <p:spPr>
          <a:xfrm>
            <a:off x="2066535" y="5069676"/>
            <a:ext cx="1295594" cy="853879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400" dirty="0"/>
              <a:t>Canal Detalle</a:t>
            </a:r>
            <a:endParaRPr lang="es-PE" sz="1400" dirty="0"/>
          </a:p>
        </p:txBody>
      </p:sp>
    </p:spTree>
    <p:extLst>
      <p:ext uri="{BB962C8B-B14F-4D97-AF65-F5344CB8AC3E}">
        <p14:creationId xmlns:p14="http://schemas.microsoft.com/office/powerpoint/2010/main" val="406526871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F8E70739-F6BE-5AE3-8A51-FE5FBF4E04D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PE" dirty="0"/>
              <a:t>PESTAÑA OPTIMIZACIÓN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BA119C53-1648-ED84-AA16-84E21D2A757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E63616-A2E2-49CD-8B48-1F006743AC2B}" type="slidenum">
              <a:rPr lang="en-US" smtClean="0"/>
              <a:pPr/>
              <a:t>40</a:t>
            </a:fld>
            <a:endParaRPr lang="en-US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BDCB318A-518B-A5C7-7EAF-829F00DE3D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60801" y="183091"/>
            <a:ext cx="5470398" cy="6089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93141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B520C2E6-97E2-4485-B52D-3D0A562D4BB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PE" dirty="0"/>
              <a:t>PESTAÑA RESULTADOS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B963CB00-9E67-39F3-1B6D-9F46BDB88F1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E63616-A2E2-49CD-8B48-1F006743AC2B}" type="slidenum">
              <a:rPr lang="en-US" smtClean="0"/>
              <a:pPr/>
              <a:t>41</a:t>
            </a:fld>
            <a:endParaRPr lang="en-US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21B5F307-6A56-CAD7-0364-1634C6A5B2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38356" y="183092"/>
            <a:ext cx="5742647" cy="6181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73475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4470272" y="3169411"/>
            <a:ext cx="3218815" cy="7569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s-MX" sz="4800" b="1" spc="180" dirty="0">
                <a:solidFill>
                  <a:srgbClr val="FFFFFF"/>
                </a:solidFill>
                <a:latin typeface="Calibri"/>
                <a:cs typeface="Calibri"/>
              </a:rPr>
              <a:t>DEMO</a:t>
            </a:r>
            <a:endParaRPr sz="4800" dirty="0">
              <a:latin typeface="Calibri"/>
              <a:cs typeface="Calibri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10809731" y="6024371"/>
            <a:ext cx="1170431" cy="66598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2042084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" name="object 3"/>
          <p:cNvGrpSpPr/>
          <p:nvPr/>
        </p:nvGrpSpPr>
        <p:grpSpPr>
          <a:xfrm>
            <a:off x="3262884" y="594359"/>
            <a:ext cx="5666740" cy="5669280"/>
            <a:chOff x="3262884" y="594359"/>
            <a:chExt cx="5666740" cy="5669280"/>
          </a:xfrm>
        </p:grpSpPr>
        <p:sp>
          <p:nvSpPr>
            <p:cNvPr id="4" name="object 4"/>
            <p:cNvSpPr/>
            <p:nvPr/>
          </p:nvSpPr>
          <p:spPr>
            <a:xfrm>
              <a:off x="3262884" y="594359"/>
              <a:ext cx="5666232" cy="5669280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4390644" y="3057143"/>
              <a:ext cx="3307079" cy="791210"/>
            </a:xfrm>
            <a:custGeom>
              <a:avLst/>
              <a:gdLst/>
              <a:ahLst/>
              <a:cxnLst/>
              <a:rect l="l" t="t" r="r" b="b"/>
              <a:pathLst>
                <a:path w="3307079" h="791210">
                  <a:moveTo>
                    <a:pt x="3307079" y="0"/>
                  </a:moveTo>
                  <a:lnTo>
                    <a:pt x="0" y="0"/>
                  </a:lnTo>
                  <a:lnTo>
                    <a:pt x="0" y="790955"/>
                  </a:lnTo>
                  <a:lnTo>
                    <a:pt x="3307079" y="790955"/>
                  </a:lnTo>
                  <a:lnTo>
                    <a:pt x="3307079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4470272" y="3169411"/>
            <a:ext cx="3218815" cy="7569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s-MX" sz="4800" b="1" spc="180" dirty="0">
                <a:solidFill>
                  <a:srgbClr val="FFFFFF"/>
                </a:solidFill>
                <a:latin typeface="Calibri"/>
                <a:cs typeface="Calibri"/>
              </a:rPr>
              <a:t>GRACIAS</a:t>
            </a:r>
            <a:endParaRPr sz="4800" dirty="0">
              <a:latin typeface="Calibri"/>
              <a:cs typeface="Calibri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10809731" y="6024371"/>
            <a:ext cx="1170431" cy="66598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8863346C-928B-FAFF-CF50-39B1FEAD1B3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E63616-A2E2-49CD-8B48-1F006743AC2B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Título 5">
            <a:extLst>
              <a:ext uri="{FF2B5EF4-FFF2-40B4-BE49-F238E27FC236}">
                <a16:creationId xmlns:a16="http://schemas.microsoft.com/office/drawing/2014/main" id="{73752F87-6794-76D0-B5CD-6E550A45E5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Escenarios/Procesos a abordar</a:t>
            </a:r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9C0CFDAC-0E87-C41B-E8BD-DBF7100F3CC5}"/>
              </a:ext>
            </a:extLst>
          </p:cNvPr>
          <p:cNvGrpSpPr/>
          <p:nvPr/>
        </p:nvGrpSpPr>
        <p:grpSpPr>
          <a:xfrm>
            <a:off x="1756126" y="1341005"/>
            <a:ext cx="7859251" cy="4147301"/>
            <a:chOff x="1825523" y="886815"/>
            <a:chExt cx="8282038" cy="5418667"/>
          </a:xfrm>
        </p:grpSpPr>
        <p:graphicFrame>
          <p:nvGraphicFramePr>
            <p:cNvPr id="8" name="Diagrama 7">
              <a:extLst>
                <a:ext uri="{FF2B5EF4-FFF2-40B4-BE49-F238E27FC236}">
                  <a16:creationId xmlns:a16="http://schemas.microsoft.com/office/drawing/2014/main" id="{7E43A6C9-8C73-52FF-FC2E-23437790AE2D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547132674"/>
                </p:ext>
              </p:extLst>
            </p:nvPr>
          </p:nvGraphicFramePr>
          <p:xfrm>
            <a:off x="1825523" y="886815"/>
            <a:ext cx="8128000" cy="541866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sp>
          <p:nvSpPr>
            <p:cNvPr id="10" name="Rectángulo 9">
              <a:extLst>
                <a:ext uri="{FF2B5EF4-FFF2-40B4-BE49-F238E27FC236}">
                  <a16:creationId xmlns:a16="http://schemas.microsoft.com/office/drawing/2014/main" id="{A083C3D3-334E-A099-B26D-8B0E8580F1EA}"/>
                </a:ext>
              </a:extLst>
            </p:cNvPr>
            <p:cNvSpPr/>
            <p:nvPr/>
          </p:nvSpPr>
          <p:spPr>
            <a:xfrm>
              <a:off x="7651921" y="1502657"/>
              <a:ext cx="2455640" cy="4264993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</p:grpSp>
      <p:sp>
        <p:nvSpPr>
          <p:cNvPr id="13" name="CuadroTexto 12">
            <a:extLst>
              <a:ext uri="{FF2B5EF4-FFF2-40B4-BE49-F238E27FC236}">
                <a16:creationId xmlns:a16="http://schemas.microsoft.com/office/drawing/2014/main" id="{10EC639B-F15D-C92B-6D51-946B59F3BEFD}"/>
              </a:ext>
            </a:extLst>
          </p:cNvPr>
          <p:cNvSpPr txBox="1"/>
          <p:nvPr/>
        </p:nvSpPr>
        <p:spPr>
          <a:xfrm>
            <a:off x="347392" y="5697794"/>
            <a:ext cx="100884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600" dirty="0"/>
              <a:t>Con el fin de resolver los inconvenientes en el área de distribución, todos los procesos deben ser abordados</a:t>
            </a:r>
          </a:p>
        </p:txBody>
      </p:sp>
    </p:spTree>
    <p:extLst>
      <p:ext uri="{BB962C8B-B14F-4D97-AF65-F5344CB8AC3E}">
        <p14:creationId xmlns:p14="http://schemas.microsoft.com/office/powerpoint/2010/main" val="4305891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FB1AC820-BEC5-0A35-3B5E-5F1EF7BF8D8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E63616-A2E2-49CD-8B48-1F006743AC2B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58320812-3C87-B5A5-0417-2A4DF1FB7F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Asignación de ruta fija</a:t>
            </a:r>
            <a:endParaRPr lang="es-PE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A51B1CB6-9887-FAB1-1A69-726BA1D38E5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7" b="8054"/>
          <a:stretch/>
        </p:blipFill>
        <p:spPr bwMode="auto">
          <a:xfrm>
            <a:off x="3515267" y="1293779"/>
            <a:ext cx="5161465" cy="49221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76474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4483446C-B6EB-73CD-878A-7886D4FB370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E63616-A2E2-49CD-8B48-1F006743AC2B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DD2F91FD-13F3-F8FD-75E2-9220C71B7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Asignación de ruta fija</a:t>
            </a:r>
            <a:endParaRPr lang="es-PE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48BC534E-FBB8-8A01-D3F0-4A03383F32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4187" y="1235952"/>
            <a:ext cx="11544780" cy="4549027"/>
          </a:xfrm>
          <a:prstGeom prst="rect">
            <a:avLst/>
          </a:prstGeom>
        </p:spPr>
      </p:pic>
      <p:sp>
        <p:nvSpPr>
          <p:cNvPr id="6" name="Rectángulo 5">
            <a:extLst>
              <a:ext uri="{FF2B5EF4-FFF2-40B4-BE49-F238E27FC236}">
                <a16:creationId xmlns:a16="http://schemas.microsoft.com/office/drawing/2014/main" id="{D2E72537-4171-E87D-551B-E79BE5E81D4C}"/>
              </a:ext>
            </a:extLst>
          </p:cNvPr>
          <p:cNvSpPr/>
          <p:nvPr/>
        </p:nvSpPr>
        <p:spPr>
          <a:xfrm>
            <a:off x="257039" y="2034074"/>
            <a:ext cx="709127" cy="671804"/>
          </a:xfrm>
          <a:prstGeom prst="rect">
            <a:avLst/>
          </a:prstGeom>
          <a:noFill/>
          <a:ln w="19050"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907C4F2A-5B13-1805-ACEA-1AAB8E0E5ED7}"/>
              </a:ext>
            </a:extLst>
          </p:cNvPr>
          <p:cNvSpPr/>
          <p:nvPr/>
        </p:nvSpPr>
        <p:spPr>
          <a:xfrm>
            <a:off x="3333465" y="2369976"/>
            <a:ext cx="322566" cy="149305"/>
          </a:xfrm>
          <a:prstGeom prst="rect">
            <a:avLst/>
          </a:prstGeom>
          <a:noFill/>
          <a:ln w="19050">
            <a:solidFill>
              <a:srgbClr val="00B050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07F254EF-AD63-F6E0-5ED1-45585CD3D1E0}"/>
              </a:ext>
            </a:extLst>
          </p:cNvPr>
          <p:cNvSpPr/>
          <p:nvPr/>
        </p:nvSpPr>
        <p:spPr>
          <a:xfrm>
            <a:off x="1103314" y="1959430"/>
            <a:ext cx="322566" cy="491412"/>
          </a:xfrm>
          <a:prstGeom prst="rect">
            <a:avLst/>
          </a:prstGeom>
          <a:noFill/>
          <a:ln w="19050">
            <a:solidFill>
              <a:srgbClr val="7030A0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3E267E9B-EC2E-C214-B315-C4249B7CF200}"/>
              </a:ext>
            </a:extLst>
          </p:cNvPr>
          <p:cNvSpPr/>
          <p:nvPr/>
        </p:nvSpPr>
        <p:spPr>
          <a:xfrm>
            <a:off x="409305" y="6071779"/>
            <a:ext cx="346340" cy="351453"/>
          </a:xfrm>
          <a:prstGeom prst="rect">
            <a:avLst/>
          </a:prstGeom>
          <a:noFill/>
          <a:ln w="19050"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322D49E6-1792-66D6-6113-6A38ED82CDEF}"/>
              </a:ext>
            </a:extLst>
          </p:cNvPr>
          <p:cNvSpPr/>
          <p:nvPr/>
        </p:nvSpPr>
        <p:spPr>
          <a:xfrm>
            <a:off x="2191626" y="6103629"/>
            <a:ext cx="346340" cy="351453"/>
          </a:xfrm>
          <a:prstGeom prst="rect">
            <a:avLst/>
          </a:prstGeom>
          <a:noFill/>
          <a:ln w="19050">
            <a:solidFill>
              <a:srgbClr val="7030A0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4515EFA1-3A49-4395-37BB-C363A8C28B84}"/>
              </a:ext>
            </a:extLst>
          </p:cNvPr>
          <p:cNvSpPr/>
          <p:nvPr/>
        </p:nvSpPr>
        <p:spPr>
          <a:xfrm>
            <a:off x="4237867" y="6111541"/>
            <a:ext cx="346340" cy="351453"/>
          </a:xfrm>
          <a:prstGeom prst="rect">
            <a:avLst/>
          </a:prstGeom>
          <a:noFill/>
          <a:ln w="19050">
            <a:solidFill>
              <a:srgbClr val="00B050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8DFA3110-5D21-CB2D-A0A6-A2104B766459}"/>
              </a:ext>
            </a:extLst>
          </p:cNvPr>
          <p:cNvSpPr txBox="1"/>
          <p:nvPr/>
        </p:nvSpPr>
        <p:spPr>
          <a:xfrm>
            <a:off x="861859" y="5936770"/>
            <a:ext cx="12235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dirty="0"/>
              <a:t>Horario de carga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1EA8B0E9-FE22-0323-912F-17DEB154E4E9}"/>
              </a:ext>
            </a:extLst>
          </p:cNvPr>
          <p:cNvSpPr txBox="1"/>
          <p:nvPr/>
        </p:nvSpPr>
        <p:spPr>
          <a:xfrm>
            <a:off x="2673813" y="5956189"/>
            <a:ext cx="14282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dirty="0"/>
              <a:t>Placa, chofer, auxiliar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2F4A2A20-EEDD-B746-E9B2-5659D671AA58}"/>
              </a:ext>
            </a:extLst>
          </p:cNvPr>
          <p:cNvSpPr txBox="1"/>
          <p:nvPr/>
        </p:nvSpPr>
        <p:spPr>
          <a:xfrm>
            <a:off x="4584207" y="6104388"/>
            <a:ext cx="11065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dirty="0"/>
              <a:t>Ruta</a:t>
            </a: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0928CAEE-21B2-9C8A-A1A9-437861373E5E}"/>
              </a:ext>
            </a:extLst>
          </p:cNvPr>
          <p:cNvSpPr/>
          <p:nvPr/>
        </p:nvSpPr>
        <p:spPr>
          <a:xfrm>
            <a:off x="4759325" y="2212975"/>
            <a:ext cx="269876" cy="175338"/>
          </a:xfrm>
          <a:prstGeom prst="rect">
            <a:avLst/>
          </a:prstGeom>
          <a:noFill/>
          <a:ln w="19050">
            <a:solidFill>
              <a:srgbClr val="FFFF00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222A3C59-9E41-C9CC-57F2-CB5340D06D3E}"/>
              </a:ext>
            </a:extLst>
          </p:cNvPr>
          <p:cNvSpPr/>
          <p:nvPr/>
        </p:nvSpPr>
        <p:spPr>
          <a:xfrm>
            <a:off x="3954462" y="2343943"/>
            <a:ext cx="269876" cy="175338"/>
          </a:xfrm>
          <a:prstGeom prst="rect">
            <a:avLst/>
          </a:prstGeom>
          <a:noFill/>
          <a:ln w="19050">
            <a:solidFill>
              <a:srgbClr val="00B0F0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202ED528-16CA-5144-244E-29D626AF965D}"/>
              </a:ext>
            </a:extLst>
          </p:cNvPr>
          <p:cNvSpPr/>
          <p:nvPr/>
        </p:nvSpPr>
        <p:spPr>
          <a:xfrm>
            <a:off x="4533899" y="2388313"/>
            <a:ext cx="190501" cy="130968"/>
          </a:xfrm>
          <a:prstGeom prst="rect">
            <a:avLst/>
          </a:prstGeom>
          <a:noFill/>
          <a:ln w="19050">
            <a:solidFill>
              <a:schemeClr val="accent2">
                <a:lumMod val="60000"/>
                <a:lumOff val="40000"/>
              </a:schemeClr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3687EFA7-2C0A-6911-9B2B-F010E6424E62}"/>
              </a:ext>
            </a:extLst>
          </p:cNvPr>
          <p:cNvSpPr/>
          <p:nvPr/>
        </p:nvSpPr>
        <p:spPr>
          <a:xfrm>
            <a:off x="5824954" y="6088214"/>
            <a:ext cx="346340" cy="351453"/>
          </a:xfrm>
          <a:prstGeom prst="rect">
            <a:avLst/>
          </a:prstGeom>
          <a:noFill/>
          <a:ln w="19050">
            <a:solidFill>
              <a:srgbClr val="00B0F0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A971CE9F-4A79-16B7-D7EA-9AE6E9024C1F}"/>
              </a:ext>
            </a:extLst>
          </p:cNvPr>
          <p:cNvSpPr txBox="1"/>
          <p:nvPr/>
        </p:nvSpPr>
        <p:spPr>
          <a:xfrm>
            <a:off x="6319954" y="5935078"/>
            <a:ext cx="14282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dirty="0"/>
              <a:t>Cantidad de clientes</a:t>
            </a: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50C7248B-6AC4-F9D3-443F-20BE714520B3}"/>
              </a:ext>
            </a:extLst>
          </p:cNvPr>
          <p:cNvSpPr/>
          <p:nvPr/>
        </p:nvSpPr>
        <p:spPr>
          <a:xfrm>
            <a:off x="8031065" y="6111540"/>
            <a:ext cx="346340" cy="351453"/>
          </a:xfrm>
          <a:prstGeom prst="rect">
            <a:avLst/>
          </a:prstGeom>
          <a:noFill/>
          <a:ln w="19050">
            <a:solidFill>
              <a:schemeClr val="accent2">
                <a:lumMod val="60000"/>
                <a:lumOff val="40000"/>
              </a:schemeClr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id="{5A424842-77B7-004A-C671-7DDD9377CD08}"/>
              </a:ext>
            </a:extLst>
          </p:cNvPr>
          <p:cNvSpPr txBox="1"/>
          <p:nvPr/>
        </p:nvSpPr>
        <p:spPr>
          <a:xfrm>
            <a:off x="8389228" y="5935078"/>
            <a:ext cx="14282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dirty="0"/>
              <a:t>Volumen en kg</a:t>
            </a: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BA305384-8FF9-4DB1-9860-1987EEC93109}"/>
              </a:ext>
            </a:extLst>
          </p:cNvPr>
          <p:cNvSpPr/>
          <p:nvPr/>
        </p:nvSpPr>
        <p:spPr>
          <a:xfrm>
            <a:off x="9966096" y="6123971"/>
            <a:ext cx="346340" cy="351453"/>
          </a:xfrm>
          <a:prstGeom prst="rect">
            <a:avLst/>
          </a:prstGeom>
          <a:noFill/>
          <a:ln w="19050">
            <a:solidFill>
              <a:srgbClr val="FFFF00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476B5902-576A-1E58-7629-99540EAF5288}"/>
              </a:ext>
            </a:extLst>
          </p:cNvPr>
          <p:cNvSpPr txBox="1"/>
          <p:nvPr/>
        </p:nvSpPr>
        <p:spPr>
          <a:xfrm>
            <a:off x="10405836" y="5956189"/>
            <a:ext cx="14282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dirty="0"/>
              <a:t>Hora fin de ruta</a:t>
            </a:r>
          </a:p>
        </p:txBody>
      </p:sp>
    </p:spTree>
    <p:extLst>
      <p:ext uri="{BB962C8B-B14F-4D97-AF65-F5344CB8AC3E}">
        <p14:creationId xmlns:p14="http://schemas.microsoft.com/office/powerpoint/2010/main" val="24927279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906BB5D3-5043-22EF-2EE5-8F1452F5C21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E63616-A2E2-49CD-8B48-1F006743AC2B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C1C600A1-5AD2-62A5-6517-63681614EE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Caso de estudio - Resumen</a:t>
            </a:r>
            <a:endParaRPr lang="es-PE" dirty="0"/>
          </a:p>
        </p:txBody>
      </p:sp>
      <p:sp>
        <p:nvSpPr>
          <p:cNvPr id="5" name="TextBox 25">
            <a:extLst>
              <a:ext uri="{FF2B5EF4-FFF2-40B4-BE49-F238E27FC236}">
                <a16:creationId xmlns:a16="http://schemas.microsoft.com/office/drawing/2014/main" id="{96494F7E-3CFD-3FD2-C94A-60C4FF8EF49A}"/>
              </a:ext>
            </a:extLst>
          </p:cNvPr>
          <p:cNvSpPr txBox="1"/>
          <p:nvPr/>
        </p:nvSpPr>
        <p:spPr>
          <a:xfrm>
            <a:off x="1627550" y="3182731"/>
            <a:ext cx="449875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just" defTabSz="422050">
              <a:buClr>
                <a:srgbClr val="990099"/>
              </a:buClr>
              <a:buFont typeface=".AppleSystemUIFont" charset="-120"/>
              <a:buChar char="&gt;"/>
              <a:tabLst>
                <a:tab pos="168528" algn="l"/>
              </a:tabLst>
            </a:pP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  <a:cs typeface="Trebuchet MS"/>
              </a:rPr>
              <a:t>Desarrollar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cs typeface="Trebuchet MS"/>
              </a:rPr>
              <a:t>/</a:t>
            </a: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  <a:cs typeface="Trebuchet MS"/>
              </a:rPr>
              <a:t>contratar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cs typeface="Trebuchet MS"/>
              </a:rPr>
              <a:t>/</a:t>
            </a: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  <a:cs typeface="Trebuchet MS"/>
              </a:rPr>
              <a:t>adquirir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cs typeface="Trebuchet MS"/>
              </a:rPr>
              <a:t> un Software de </a:t>
            </a: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  <a:cs typeface="Trebuchet MS"/>
              </a:rPr>
              <a:t>Ruteo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cs typeface="Trebuchet MS"/>
              </a:rPr>
              <a:t> de </a:t>
            </a: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  <a:cs typeface="Trebuchet MS"/>
              </a:rPr>
              <a:t>Vehículos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cs typeface="Trebuchet MS"/>
              </a:rPr>
              <a:t> que </a:t>
            </a: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  <a:cs typeface="Trebuchet MS"/>
              </a:rPr>
              <a:t>contemple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cs typeface="Trebuchet MS"/>
              </a:rPr>
              <a:t> las </a:t>
            </a: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  <a:cs typeface="Trebuchet MS"/>
              </a:rPr>
              <a:t>restricciones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cs typeface="Trebuchet MS"/>
              </a:rPr>
              <a:t> del </a:t>
            </a: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  <a:cs typeface="Trebuchet MS"/>
              </a:rPr>
              <a:t>área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cs typeface="Trebuchet MS"/>
              </a:rPr>
              <a:t> de </a:t>
            </a: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  <a:cs typeface="Trebuchet MS"/>
              </a:rPr>
              <a:t>distribución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cs typeface="Trebuchet MS"/>
              </a:rPr>
              <a:t> y </a:t>
            </a: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  <a:cs typeface="Trebuchet MS"/>
              </a:rPr>
              <a:t>realice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cs typeface="Trebuchet MS"/>
              </a:rPr>
              <a:t> </a:t>
            </a: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  <a:cs typeface="Trebuchet MS"/>
              </a:rPr>
              <a:t>seguimiento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cs typeface="Trebuchet MS"/>
              </a:rPr>
              <a:t>.</a:t>
            </a:r>
          </a:p>
          <a:p>
            <a:pPr marL="171450" indent="-171450" algn="just" defTabSz="422050">
              <a:buClr>
                <a:srgbClr val="990099"/>
              </a:buClr>
              <a:buFont typeface=".AppleSystemUIFont" charset="-120"/>
              <a:buChar char="&gt;"/>
              <a:tabLst>
                <a:tab pos="168528" algn="l"/>
              </a:tabLst>
            </a:pP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cs typeface="Trebuchet MS"/>
              </a:rPr>
              <a:t>Digitalizar </a:t>
            </a: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  <a:cs typeface="Trebuchet MS"/>
              </a:rPr>
              <a:t>los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cs typeface="Trebuchet MS"/>
              </a:rPr>
              <a:t> </a:t>
            </a: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  <a:cs typeface="Trebuchet MS"/>
              </a:rPr>
              <a:t>procesos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cs typeface="Trebuchet MS"/>
              </a:rPr>
              <a:t> que se </a:t>
            </a: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  <a:cs typeface="Trebuchet MS"/>
              </a:rPr>
              <a:t>llevan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cs typeface="Trebuchet MS"/>
              </a:rPr>
              <a:t> </a:t>
            </a: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  <a:cs typeface="Trebuchet MS"/>
              </a:rPr>
              <a:t>en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cs typeface="Trebuchet MS"/>
              </a:rPr>
              <a:t> la </a:t>
            </a: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  <a:cs typeface="Trebuchet MS"/>
              </a:rPr>
              <a:t>logística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cs typeface="Trebuchet MS"/>
              </a:rPr>
              <a:t> de la </a:t>
            </a: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  <a:cs typeface="Trebuchet MS"/>
              </a:rPr>
              <a:t>distribución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cs typeface="Trebuchet MS"/>
              </a:rPr>
              <a:t>.</a:t>
            </a:r>
          </a:p>
          <a:p>
            <a:pPr marL="171450" indent="-171450" algn="just" defTabSz="422050">
              <a:buClr>
                <a:srgbClr val="990099"/>
              </a:buClr>
              <a:buFont typeface=".AppleSystemUIFont" charset="-120"/>
              <a:buChar char="&gt;"/>
              <a:tabLst>
                <a:tab pos="168528" algn="l"/>
              </a:tabLst>
            </a:pP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  <a:cs typeface="Trebuchet MS"/>
              </a:rPr>
              <a:t>Trackear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cs typeface="Trebuchet MS"/>
              </a:rPr>
              <a:t> </a:t>
            </a: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  <a:cs typeface="Trebuchet MS"/>
              </a:rPr>
              <a:t>los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cs typeface="Trebuchet MS"/>
              </a:rPr>
              <a:t> </a:t>
            </a: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  <a:cs typeface="Trebuchet MS"/>
              </a:rPr>
              <a:t>vehículos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cs typeface="Trebuchet MS"/>
              </a:rPr>
              <a:t> de </a:t>
            </a: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  <a:cs typeface="Trebuchet MS"/>
              </a:rPr>
              <a:t>distribución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cs typeface="Trebuchet MS"/>
              </a:rPr>
              <a:t>.</a:t>
            </a:r>
          </a:p>
        </p:txBody>
      </p:sp>
      <p:sp>
        <p:nvSpPr>
          <p:cNvPr id="6" name="TextBox 30">
            <a:extLst>
              <a:ext uri="{FF2B5EF4-FFF2-40B4-BE49-F238E27FC236}">
                <a16:creationId xmlns:a16="http://schemas.microsoft.com/office/drawing/2014/main" id="{6CB0BB23-C602-6246-1540-DA0A7716CD30}"/>
              </a:ext>
            </a:extLst>
          </p:cNvPr>
          <p:cNvSpPr txBox="1"/>
          <p:nvPr/>
        </p:nvSpPr>
        <p:spPr>
          <a:xfrm>
            <a:off x="1597244" y="1724259"/>
            <a:ext cx="458765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just" defTabSz="422050">
              <a:buClr>
                <a:srgbClr val="990099"/>
              </a:buClr>
              <a:buFont typeface=".AppleSystemUIFont" charset="-120"/>
              <a:buChar char="&gt;"/>
              <a:tabLst>
                <a:tab pos="168528" algn="l"/>
              </a:tabLst>
            </a:pP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</a:rPr>
              <a:t>Organizar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</a:rPr>
              <a:t> un Sistema de </a:t>
            </a: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</a:rPr>
              <a:t>distribución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</a:rPr>
              <a:t>uniforme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</a:rPr>
              <a:t> para Ate y Chorrillos.</a:t>
            </a:r>
          </a:p>
          <a:p>
            <a:pPr marL="171450" indent="-171450" algn="just" defTabSz="422050">
              <a:buClr>
                <a:srgbClr val="990099"/>
              </a:buClr>
              <a:buFont typeface=".AppleSystemUIFont" charset="-120"/>
              <a:buChar char="&gt;"/>
              <a:tabLst>
                <a:tab pos="168528" algn="l"/>
              </a:tabLst>
            </a:pP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</a:rPr>
              <a:t>Reducir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</a:rPr>
              <a:t>tiempos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</a:rPr>
              <a:t> y </a:t>
            </a: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</a:rPr>
              <a:t>costos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</a:rPr>
              <a:t> de </a:t>
            </a: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</a:rPr>
              <a:t>operación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</a:rPr>
              <a:t>en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</a:rPr>
              <a:t> la </a:t>
            </a: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</a:rPr>
              <a:t>distribución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</a:rPr>
              <a:t> de </a:t>
            </a: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</a:rPr>
              <a:t>los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</a:rPr>
              <a:t>productos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</a:rPr>
              <a:t>.</a:t>
            </a:r>
          </a:p>
        </p:txBody>
      </p:sp>
      <p:sp>
        <p:nvSpPr>
          <p:cNvPr id="7" name="TextBox 31">
            <a:extLst>
              <a:ext uri="{FF2B5EF4-FFF2-40B4-BE49-F238E27FC236}">
                <a16:creationId xmlns:a16="http://schemas.microsoft.com/office/drawing/2014/main" id="{9CBEF119-6700-FF56-970D-80CD2D97126A}"/>
              </a:ext>
            </a:extLst>
          </p:cNvPr>
          <p:cNvSpPr txBox="1"/>
          <p:nvPr/>
        </p:nvSpPr>
        <p:spPr>
          <a:xfrm>
            <a:off x="1627549" y="5125836"/>
            <a:ext cx="4587653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just" defTabSz="422050">
              <a:buClr>
                <a:srgbClr val="990099"/>
              </a:buClr>
              <a:buFont typeface=".AppleSystemUIFont" charset="-120"/>
              <a:buChar char="&gt;"/>
              <a:tabLst>
                <a:tab pos="168528" algn="l"/>
              </a:tabLst>
            </a:pP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  <a:cs typeface="Trebuchet MS"/>
              </a:rPr>
              <a:t>Obtención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cs typeface="Trebuchet MS"/>
              </a:rPr>
              <a:t> de un </a:t>
            </a: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  <a:cs typeface="Trebuchet MS"/>
              </a:rPr>
              <a:t>sistema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cs typeface="Trebuchet MS"/>
              </a:rPr>
              <a:t> </a:t>
            </a: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  <a:cs typeface="Trebuchet MS"/>
              </a:rPr>
              <a:t>robusto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cs typeface="Trebuchet MS"/>
              </a:rPr>
              <a:t> de </a:t>
            </a: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  <a:cs typeface="Trebuchet MS"/>
              </a:rPr>
              <a:t>ruteo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cs typeface="Trebuchet MS"/>
              </a:rPr>
              <a:t> de </a:t>
            </a: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  <a:cs typeface="Trebuchet MS"/>
              </a:rPr>
              <a:t>vehículos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cs typeface="Trebuchet MS"/>
              </a:rPr>
              <a:t> para </a:t>
            </a: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  <a:cs typeface="Trebuchet MS"/>
              </a:rPr>
              <a:t>programar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cs typeface="Trebuchet MS"/>
              </a:rPr>
              <a:t> la </a:t>
            </a: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  <a:cs typeface="Trebuchet MS"/>
              </a:rPr>
              <a:t>distribución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cs typeface="Trebuchet MS"/>
              </a:rPr>
              <a:t>.</a:t>
            </a:r>
          </a:p>
          <a:p>
            <a:pPr marL="171450" indent="-171450" algn="just" defTabSz="422050">
              <a:buClr>
                <a:srgbClr val="990099"/>
              </a:buClr>
              <a:buFont typeface=".AppleSystemUIFont" charset="-120"/>
              <a:buChar char="&gt;"/>
              <a:tabLst>
                <a:tab pos="168528" algn="l"/>
              </a:tabLst>
            </a:pP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  <a:cs typeface="Trebuchet MS"/>
              </a:rPr>
              <a:t>Reducción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cs typeface="Trebuchet MS"/>
              </a:rPr>
              <a:t> de </a:t>
            </a: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  <a:cs typeface="Trebuchet MS"/>
              </a:rPr>
              <a:t>tiempos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cs typeface="Trebuchet MS"/>
              </a:rPr>
              <a:t> de </a:t>
            </a: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  <a:cs typeface="Trebuchet MS"/>
              </a:rPr>
              <a:t>operación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cs typeface="Trebuchet MS"/>
              </a:rPr>
              <a:t>.</a:t>
            </a:r>
          </a:p>
          <a:p>
            <a:pPr marL="171450" indent="-171450" algn="just" defTabSz="422050">
              <a:buClr>
                <a:srgbClr val="990099"/>
              </a:buClr>
              <a:buFont typeface=".AppleSystemUIFont" charset="-120"/>
              <a:buChar char="&gt;"/>
              <a:tabLst>
                <a:tab pos="168528" algn="l"/>
              </a:tabLst>
            </a:pP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  <a:cs typeface="Trebuchet MS"/>
              </a:rPr>
              <a:t>Reducción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cs typeface="Trebuchet MS"/>
              </a:rPr>
              <a:t> de horas extras </a:t>
            </a: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  <a:cs typeface="Trebuchet MS"/>
              </a:rPr>
              <a:t>pagadas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cs typeface="Trebuchet MS"/>
              </a:rPr>
              <a:t> a </a:t>
            </a: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  <a:cs typeface="Trebuchet MS"/>
              </a:rPr>
              <a:t>vendedores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cs typeface="Trebuchet MS"/>
              </a:rPr>
              <a:t>/auxiliaries.</a:t>
            </a:r>
          </a:p>
          <a:p>
            <a:pPr marL="171450" indent="-171450" algn="just" defTabSz="422050">
              <a:buClr>
                <a:srgbClr val="990099"/>
              </a:buClr>
              <a:buFont typeface=".AppleSystemUIFont" charset="-120"/>
              <a:buChar char="&gt;"/>
              <a:tabLst>
                <a:tab pos="168528" algn="l"/>
              </a:tabLst>
            </a:pP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  <a:cs typeface="Trebuchet MS"/>
              </a:rPr>
              <a:t>Reducción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cs typeface="Trebuchet MS"/>
              </a:rPr>
              <a:t> de combustible </a:t>
            </a: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  <a:cs typeface="Trebuchet MS"/>
              </a:rPr>
              <a:t>empleado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cs typeface="Trebuchet MS"/>
              </a:rPr>
              <a:t> </a:t>
            </a: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  <a:cs typeface="Trebuchet MS"/>
              </a:rPr>
              <a:t>en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cs typeface="Trebuchet MS"/>
              </a:rPr>
              <a:t> las </a:t>
            </a: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  <a:cs typeface="Trebuchet MS"/>
              </a:rPr>
              <a:t>rutas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cs typeface="Trebuchet MS"/>
              </a:rPr>
              <a:t>.</a:t>
            </a:r>
          </a:p>
          <a:p>
            <a:pPr marL="171450" indent="-171450" algn="just" defTabSz="422050">
              <a:buClr>
                <a:srgbClr val="990099"/>
              </a:buClr>
              <a:buFont typeface=".AppleSystemUIFont" charset="-120"/>
              <a:buChar char="&gt;"/>
              <a:tabLst>
                <a:tab pos="168528" algn="l"/>
              </a:tabLst>
            </a:pP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  <a:cs typeface="Trebuchet MS"/>
              </a:rPr>
              <a:t>Ahorro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cs typeface="Trebuchet MS"/>
              </a:rPr>
              <a:t> </a:t>
            </a: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  <a:cs typeface="Trebuchet MS"/>
              </a:rPr>
              <a:t>en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cs typeface="Trebuchet MS"/>
              </a:rPr>
              <a:t> </a:t>
            </a: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  <a:cs typeface="Trebuchet MS"/>
              </a:rPr>
              <a:t>costos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cs typeface="Trebuchet MS"/>
              </a:rPr>
              <a:t> de </a:t>
            </a:r>
            <a:r>
              <a:rPr lang="en-US" sz="1400" b="1" dirty="0" err="1">
                <a:solidFill>
                  <a:schemeClr val="bg2">
                    <a:lumMod val="25000"/>
                  </a:schemeClr>
                </a:solidFill>
                <a:cs typeface="Trebuchet MS"/>
              </a:rPr>
              <a:t>operación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cs typeface="Trebuchet MS"/>
              </a:rPr>
              <a:t>.</a:t>
            </a:r>
          </a:p>
        </p:txBody>
      </p:sp>
      <p:sp>
        <p:nvSpPr>
          <p:cNvPr id="8" name="33 Rectángulo redondeado">
            <a:extLst>
              <a:ext uri="{FF2B5EF4-FFF2-40B4-BE49-F238E27FC236}">
                <a16:creationId xmlns:a16="http://schemas.microsoft.com/office/drawing/2014/main" id="{D04F0563-32A6-F205-9233-8FB20489645E}"/>
              </a:ext>
            </a:extLst>
          </p:cNvPr>
          <p:cNvSpPr/>
          <p:nvPr/>
        </p:nvSpPr>
        <p:spPr>
          <a:xfrm>
            <a:off x="1627549" y="2707378"/>
            <a:ext cx="2657515" cy="369332"/>
          </a:xfrm>
          <a:prstGeom prst="roundRect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" kern="0" dirty="0">
                <a:solidFill>
                  <a:srgbClr val="FFFFFF"/>
                </a:solidFill>
                <a:latin typeface="Arial"/>
                <a:sym typeface="Gill Sans" charset="0"/>
              </a:rPr>
              <a:t>Solución</a:t>
            </a:r>
          </a:p>
        </p:txBody>
      </p:sp>
      <p:sp>
        <p:nvSpPr>
          <p:cNvPr id="9" name="33 Rectángulo redondeado">
            <a:extLst>
              <a:ext uri="{FF2B5EF4-FFF2-40B4-BE49-F238E27FC236}">
                <a16:creationId xmlns:a16="http://schemas.microsoft.com/office/drawing/2014/main" id="{FBFAF3E5-BE3D-F016-82C8-0717BD9DC91C}"/>
              </a:ext>
            </a:extLst>
          </p:cNvPr>
          <p:cNvSpPr/>
          <p:nvPr/>
        </p:nvSpPr>
        <p:spPr>
          <a:xfrm>
            <a:off x="1597244" y="1336765"/>
            <a:ext cx="2657515" cy="358775"/>
          </a:xfrm>
          <a:prstGeom prst="roundRect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ES" kern="0" dirty="0">
                <a:solidFill>
                  <a:srgbClr val="FFFFFF"/>
                </a:solidFill>
                <a:latin typeface="Arial"/>
                <a:sym typeface="Gill Sans" charset="0"/>
              </a:rPr>
              <a:t>Necesidad del negocio</a:t>
            </a:r>
          </a:p>
        </p:txBody>
      </p:sp>
      <p:sp>
        <p:nvSpPr>
          <p:cNvPr id="10" name="33 Rectángulo redondeado">
            <a:extLst>
              <a:ext uri="{FF2B5EF4-FFF2-40B4-BE49-F238E27FC236}">
                <a16:creationId xmlns:a16="http://schemas.microsoft.com/office/drawing/2014/main" id="{363AD488-0C3C-AAA8-7BE4-F70EA0BCBC4C}"/>
              </a:ext>
            </a:extLst>
          </p:cNvPr>
          <p:cNvSpPr/>
          <p:nvPr/>
        </p:nvSpPr>
        <p:spPr>
          <a:xfrm>
            <a:off x="1657855" y="4697584"/>
            <a:ext cx="2627209" cy="369332"/>
          </a:xfrm>
          <a:prstGeom prst="roundRect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" kern="0" dirty="0">
                <a:solidFill>
                  <a:srgbClr val="FFFFFF"/>
                </a:solidFill>
                <a:latin typeface="Arial"/>
                <a:sym typeface="Gill Sans" charset="0"/>
              </a:rPr>
              <a:t>Beneficios del negocio</a:t>
            </a:r>
          </a:p>
        </p:txBody>
      </p:sp>
    </p:spTree>
    <p:extLst>
      <p:ext uri="{BB962C8B-B14F-4D97-AF65-F5344CB8AC3E}">
        <p14:creationId xmlns:p14="http://schemas.microsoft.com/office/powerpoint/2010/main" val="19120507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834DE61B-69D4-648C-09CD-329073E45B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457200">
              <a:lnSpc>
                <a:spcPts val="2874"/>
              </a:lnSpc>
            </a:pPr>
            <a:r>
              <a:rPr lang="es-MX" sz="3200" spc="-68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sarrollo del proyecto</a:t>
            </a:r>
            <a:endParaRPr lang="es-PE" sz="3200" spc="-68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E6971E8D-A4BA-1641-A29A-4E7A935C21F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2598" y="6057875"/>
            <a:ext cx="10060993" cy="546100"/>
          </a:xfrm>
        </p:spPr>
        <p:txBody>
          <a:bodyPr/>
          <a:lstStyle/>
          <a:p>
            <a:r>
              <a:rPr lang="es-MX" dirty="0"/>
              <a:t>Estructura del proyecto y métodos empleados</a:t>
            </a:r>
            <a:endParaRPr lang="es-PE" dirty="0"/>
          </a:p>
        </p:txBody>
      </p:sp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378960E8-FF8C-4A84-CFD3-EE28CCB7F53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71300" y="0"/>
            <a:ext cx="520700" cy="366713"/>
          </a:xfrm>
          <a:prstGeom prst="rect">
            <a:avLst/>
          </a:prstGeom>
        </p:spPr>
        <p:txBody>
          <a:bodyPr/>
          <a:lstStyle/>
          <a:p>
            <a:fld id="{95E63616-A2E2-49CD-8B48-1F006743AC2B}" type="slidenum">
              <a:rPr lang="en-US" smtClean="0"/>
              <a:pPr/>
              <a:t>9</a:t>
            </a:fld>
            <a:endParaRPr lang="en-US"/>
          </a:p>
        </p:txBody>
      </p:sp>
      <p:pic>
        <p:nvPicPr>
          <p:cNvPr id="3" name="Picture 2" descr="El futuro del análisis de datos: 5 tendencias hacia 2022 - Opentix S.L.">
            <a:extLst>
              <a:ext uri="{FF2B5EF4-FFF2-40B4-BE49-F238E27FC236}">
                <a16:creationId xmlns:a16="http://schemas.microsoft.com/office/drawing/2014/main" id="{CCCCE013-1FDB-6A21-0A53-C9DC168EB0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7414" y="1866673"/>
            <a:ext cx="4970107" cy="248505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628119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wu1F.f6GqxO2XMcCA2pA"/>
</p:tagLst>
</file>

<file path=ppt/theme/theme1.xml><?xml version="1.0" encoding="utf-8"?>
<a:theme xmlns:a="http://schemas.openxmlformats.org/drawingml/2006/main" name="Office Theme">
  <a:themeElements>
    <a:clrScheme name="Sigma">
      <a:dk1>
        <a:srgbClr val="5E4B3C"/>
      </a:dk1>
      <a:lt1>
        <a:srgbClr val="FFFFFF"/>
      </a:lt1>
      <a:dk2>
        <a:srgbClr val="D50032"/>
      </a:dk2>
      <a:lt2>
        <a:srgbClr val="DCBFA6"/>
      </a:lt2>
      <a:accent1>
        <a:srgbClr val="9D2234"/>
      </a:accent1>
      <a:accent2>
        <a:srgbClr val="D50032"/>
      </a:accent2>
      <a:accent3>
        <a:srgbClr val="E04E38"/>
      </a:accent3>
      <a:accent4>
        <a:srgbClr val="EF9600"/>
      </a:accent4>
      <a:accent5>
        <a:srgbClr val="FFC72C"/>
      </a:accent5>
      <a:accent6>
        <a:srgbClr val="799A01"/>
      </a:accent6>
      <a:hlink>
        <a:srgbClr val="0000FF"/>
      </a:hlink>
      <a:folHlink>
        <a:srgbClr val="D5003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igma_template" id="{CBCA385C-89C1-574B-8362-8884F147D616}" vid="{21571A67-9D88-6E4F-A4EB-8A5739BCF3FF}"/>
    </a:ext>
  </a:extLst>
</a:theme>
</file>

<file path=ppt/theme/theme2.xml><?xml version="1.0" encoding="utf-8"?>
<a:theme xmlns:a="http://schemas.openxmlformats.org/drawingml/2006/main" name="Theme Sigma 2021F">
  <a:themeElements>
    <a:clrScheme name="Sig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9D2235"/>
      </a:accent1>
      <a:accent2>
        <a:srgbClr val="D50032"/>
      </a:accent2>
      <a:accent3>
        <a:srgbClr val="E04E39"/>
      </a:accent3>
      <a:accent4>
        <a:srgbClr val="EF9600"/>
      </a:accent4>
      <a:accent5>
        <a:srgbClr val="FFC72C"/>
      </a:accent5>
      <a:accent6>
        <a:srgbClr val="7A9A01"/>
      </a:accent6>
      <a:hlink>
        <a:srgbClr val="B7BF10"/>
      </a:hlink>
      <a:folHlink>
        <a:srgbClr val="BF9474"/>
      </a:folHlink>
    </a:clrScheme>
    <a:fontScheme name="Sigma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heme Sigma 2021F" id="{962E5446-8B13-46E8-B3AA-EBFC1AFA89FA}" vid="{FF36EDFB-BFBB-4C6D-960C-752B2B991A83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Sigma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9D2235"/>
    </a:accent1>
    <a:accent2>
      <a:srgbClr val="D50032"/>
    </a:accent2>
    <a:accent3>
      <a:srgbClr val="E04E39"/>
    </a:accent3>
    <a:accent4>
      <a:srgbClr val="EF9600"/>
    </a:accent4>
    <a:accent5>
      <a:srgbClr val="FFC72C"/>
    </a:accent5>
    <a:accent6>
      <a:srgbClr val="7A9A01"/>
    </a:accent6>
    <a:hlink>
      <a:srgbClr val="B7BF10"/>
    </a:hlink>
    <a:folHlink>
      <a:srgbClr val="BF9474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Sigma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9D2235"/>
    </a:accent1>
    <a:accent2>
      <a:srgbClr val="D50032"/>
    </a:accent2>
    <a:accent3>
      <a:srgbClr val="E04E39"/>
    </a:accent3>
    <a:accent4>
      <a:srgbClr val="EF9600"/>
    </a:accent4>
    <a:accent5>
      <a:srgbClr val="FFC72C"/>
    </a:accent5>
    <a:accent6>
      <a:srgbClr val="7A9A01"/>
    </a:accent6>
    <a:hlink>
      <a:srgbClr val="B7BF10"/>
    </a:hlink>
    <a:folHlink>
      <a:srgbClr val="BF9474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Application xmlns="http://www.sap.com/cof/powerpoint/application">
  <Version>2</Version>
  <Revision>2.3.0.57241</Revision>
</Application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8BFAC38E33142D49A7A372935CBB3CFC" ma:contentTypeVersion="13" ma:contentTypeDescription="Crear nuevo documento." ma:contentTypeScope="" ma:versionID="595337e8e8d5c58e5f2f3862caa09b4d">
  <xsd:schema xmlns:xsd="http://www.w3.org/2001/XMLSchema" xmlns:xs="http://www.w3.org/2001/XMLSchema" xmlns:p="http://schemas.microsoft.com/office/2006/metadata/properties" xmlns:ns3="b3490b29-6311-4cd9-93b6-499a97d14af4" xmlns:ns4="230dab07-1ee8-49d9-9e9f-0c580a493927" targetNamespace="http://schemas.microsoft.com/office/2006/metadata/properties" ma:root="true" ma:fieldsID="ac27c897f121406501d2300fb8f315f1" ns3:_="" ns4:_="">
    <xsd:import namespace="b3490b29-6311-4cd9-93b6-499a97d14af4"/>
    <xsd:import namespace="230dab07-1ee8-49d9-9e9f-0c580a49392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3490b29-6311-4cd9-93b6-499a97d14af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dab07-1ee8-49d9-9e9f-0c580a493927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Hash de la sugerencia para compartir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5.xml><?xml version="1.0" encoding="utf-8"?>
<Application xmlns="http://www.sap.com/cof/ao/powerpoint/application">
  <com.sap.ip.bi.pioneer>
    <Version>4</Version>
    <AAO_Revision>2.3.0.57241</AAO_Revision>
    <RefreshOnOpen>False</RefreshOnOpen>
    <PlanningModeSetToChangeMode>True</PlanningModeSetToChangeMode>
    <Cleaned>False</Cleaned>
    <ForcePromptOnInitialRefresh>False</ForcePromptOnInitialRefresh>
    <StorePromptsInDocument>True</StorePromptsInDocument>
    <MergeVariables>False</MergeVariables>
    <WorkingMode>Local</WorkingMode>
    <RefreshPlanningObjectsOnRefreshAll>True</RefreshPlanningObjectsOnRefreshAll>
    <Items/>
  </com.sap.ip.bi.pioneer>
</Application>
</file>

<file path=customXml/itemProps1.xml><?xml version="1.0" encoding="utf-8"?>
<ds:datastoreItem xmlns:ds="http://schemas.openxmlformats.org/officeDocument/2006/customXml" ds:itemID="{D7507E4F-A54C-4411-BBB4-C62DCEF4F9A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DCAACA3-BB81-49AC-A6C1-5A6871CA1F9F}">
  <ds:schemaRefs>
    <ds:schemaRef ds:uri="http://www.sap.com/cof/powerpoint/application"/>
  </ds:schemaRefs>
</ds:datastoreItem>
</file>

<file path=customXml/itemProps3.xml><?xml version="1.0" encoding="utf-8"?>
<ds:datastoreItem xmlns:ds="http://schemas.openxmlformats.org/officeDocument/2006/customXml" ds:itemID="{61B6375D-7AB7-41B3-8B9E-0CCEE9BFE05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3490b29-6311-4cd9-93b6-499a97d14af4"/>
    <ds:schemaRef ds:uri="230dab07-1ee8-49d9-9e9f-0c580a49392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4473F23E-5EF3-4A5A-A927-E21F4B61A626}">
  <ds:schemaRefs>
    <ds:schemaRef ds:uri="http://schemas.microsoft.com/office/2006/documentManagement/types"/>
    <ds:schemaRef ds:uri="230dab07-1ee8-49d9-9e9f-0c580a493927"/>
    <ds:schemaRef ds:uri="http://www.w3.org/XML/1998/namespace"/>
    <ds:schemaRef ds:uri="http://schemas.microsoft.com/office/2006/metadata/properties"/>
    <ds:schemaRef ds:uri="http://schemas.microsoft.com/office/infopath/2007/PartnerControls"/>
    <ds:schemaRef ds:uri="http://purl.org/dc/elements/1.1/"/>
    <ds:schemaRef ds:uri="http://purl.org/dc/dcmitype/"/>
    <ds:schemaRef ds:uri="http://schemas.openxmlformats.org/package/2006/metadata/core-properties"/>
    <ds:schemaRef ds:uri="b3490b29-6311-4cd9-93b6-499a97d14af4"/>
    <ds:schemaRef ds:uri="http://purl.org/dc/terms/"/>
  </ds:schemaRefs>
</ds:datastoreItem>
</file>

<file path=customXml/itemProps5.xml><?xml version="1.0" encoding="utf-8"?>
<ds:datastoreItem xmlns:ds="http://schemas.openxmlformats.org/officeDocument/2006/customXml" ds:itemID="{AD5DCE0C-801E-41D1-9C65-4AE4DC3E53AA}">
  <ds:schemaRefs>
    <ds:schemaRef ds:uri="http://www.sap.com/cof/ao/powerpoint/applic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5251</TotalTime>
  <Words>1241</Words>
  <Application>Microsoft Office PowerPoint</Application>
  <PresentationFormat>Panorámica</PresentationFormat>
  <Paragraphs>300</Paragraphs>
  <Slides>43</Slides>
  <Notes>1</Notes>
  <HiddenSlides>0</HiddenSlides>
  <MMClips>0</MMClips>
  <ScaleCrop>false</ScaleCrop>
  <HeadingPairs>
    <vt:vector size="8" baseType="variant">
      <vt:variant>
        <vt:lpstr>Fuentes usadas</vt:lpstr>
      </vt:variant>
      <vt:variant>
        <vt:i4>8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43</vt:i4>
      </vt:variant>
    </vt:vector>
  </HeadingPairs>
  <TitlesOfParts>
    <vt:vector size="54" baseType="lpstr">
      <vt:lpstr>.AppleSystemUIFont</vt:lpstr>
      <vt:lpstr>Abadi</vt:lpstr>
      <vt:lpstr>Arial</vt:lpstr>
      <vt:lpstr>ArialMT</vt:lpstr>
      <vt:lpstr>Calibri</vt:lpstr>
      <vt:lpstr>Franklin Gothic Medium</vt:lpstr>
      <vt:lpstr>Microsoft Sans Serif</vt:lpstr>
      <vt:lpstr>Segoe UI</vt:lpstr>
      <vt:lpstr>Office Theme</vt:lpstr>
      <vt:lpstr>Theme Sigma 2021F</vt:lpstr>
      <vt:lpstr>think-cell Slide</vt:lpstr>
      <vt:lpstr>Presentación de PowerPoint</vt:lpstr>
      <vt:lpstr>INDICE</vt:lpstr>
      <vt:lpstr>Contexto del caso de negocio</vt:lpstr>
      <vt:lpstr>DIVISIÓN ACTUAL DE RUTAS DE DISTRIBUCIÓN EN LIMA</vt:lpstr>
      <vt:lpstr>Escenarios/Procesos a abordar</vt:lpstr>
      <vt:lpstr>Asignación de ruta fija</vt:lpstr>
      <vt:lpstr>Asignación de ruta fija</vt:lpstr>
      <vt:lpstr>Caso de estudio - Resumen</vt:lpstr>
      <vt:lpstr>Desarrollo del proyecto</vt:lpstr>
      <vt:lpstr>Taxonomía del proyecto</vt:lpstr>
      <vt:lpstr>Librerías usadas</vt:lpstr>
      <vt:lpstr>Proceso de desarrollo del software</vt:lpstr>
      <vt:lpstr>LIMPIEZA</vt:lpstr>
      <vt:lpstr>Diccionario de datos</vt:lpstr>
      <vt:lpstr>Carga y exploración inicial del dataframe</vt:lpstr>
      <vt:lpstr>Funciones creadas para la limpieza</vt:lpstr>
      <vt:lpstr>Presentación de PowerPoint</vt:lpstr>
      <vt:lpstr>Funciones y clases creadas para el encoding</vt:lpstr>
      <vt:lpstr>Presentación de PowerPoint</vt:lpstr>
      <vt:lpstr>Funciones creadas para el plot del rawmap</vt:lpstr>
      <vt:lpstr>Presentación de PowerPoint</vt:lpstr>
      <vt:lpstr>CLUSTERING</vt:lpstr>
      <vt:lpstr>Datos del negocio para el clustering</vt:lpstr>
      <vt:lpstr>Funciones para entrenar clusters</vt:lpstr>
      <vt:lpstr>Presentación de PowerPoint</vt:lpstr>
      <vt:lpstr>Funciones para plotear clusters</vt:lpstr>
      <vt:lpstr>Presentación de PowerPoint</vt:lpstr>
      <vt:lpstr>OPTIMIZACIÓN</vt:lpstr>
      <vt:lpstr>Datos del negocio para la optimización</vt:lpstr>
      <vt:lpstr>Funciones para obtener las rutas</vt:lpstr>
      <vt:lpstr>Presentación de PowerPoint</vt:lpstr>
      <vt:lpstr>Funciones para plotear mejor ruta</vt:lpstr>
      <vt:lpstr>Presentación de PowerPoint</vt:lpstr>
      <vt:lpstr>Funciones para exportar ruta del día</vt:lpstr>
      <vt:lpstr>Presentación de PowerPoint</vt:lpstr>
      <vt:lpstr>Presentación del prototipo funciona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DEMO</vt:lpstr>
      <vt:lpstr>GRACIA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 goes here</dc:title>
  <dc:creator>Fernandez Cadena, Mariana Alejandra</dc:creator>
  <cp:lastModifiedBy>Miranda Quispe, Bruno Sebastian</cp:lastModifiedBy>
  <cp:revision>314</cp:revision>
  <dcterms:created xsi:type="dcterms:W3CDTF">2018-08-02T20:37:11Z</dcterms:created>
  <dcterms:modified xsi:type="dcterms:W3CDTF">2022-09-25T23:52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fc2255bd-24d5-4db1-b60a-dff11efb2c95</vt:lpwstr>
  </property>
  <property fmtid="{D5CDD505-2E9C-101B-9397-08002B2CF9AE}" pid="3" name="Classification">
    <vt:lpwstr>Confidential</vt:lpwstr>
  </property>
  <property fmtid="{D5CDD505-2E9C-101B-9397-08002B2CF9AE}" pid="4" name="ContentTypeId">
    <vt:lpwstr>0x0101008BFAC38E33142D49A7A372935CBB3CFC</vt:lpwstr>
  </property>
  <property fmtid="{D5CDD505-2E9C-101B-9397-08002B2CF9AE}" pid="5" name="MSIP_Label_608e5190-04f9-4441-aec9-827407247a1c_Enabled">
    <vt:lpwstr>true</vt:lpwstr>
  </property>
  <property fmtid="{D5CDD505-2E9C-101B-9397-08002B2CF9AE}" pid="6" name="MSIP_Label_608e5190-04f9-4441-aec9-827407247a1c_SetDate">
    <vt:lpwstr>2022-07-05T16:09:36Z</vt:lpwstr>
  </property>
  <property fmtid="{D5CDD505-2E9C-101B-9397-08002B2CF9AE}" pid="7" name="MSIP_Label_608e5190-04f9-4441-aec9-827407247a1c_Method">
    <vt:lpwstr>Standard</vt:lpwstr>
  </property>
  <property fmtid="{D5CDD505-2E9C-101B-9397-08002B2CF9AE}" pid="8" name="MSIP_Label_608e5190-04f9-4441-aec9-827407247a1c_Name">
    <vt:lpwstr>Confidential_Sigma</vt:lpwstr>
  </property>
  <property fmtid="{D5CDD505-2E9C-101B-9397-08002B2CF9AE}" pid="9" name="MSIP_Label_608e5190-04f9-4441-aec9-827407247a1c_SiteId">
    <vt:lpwstr>3205c38a-2aa0-4681-8dc0-61687b1d331b</vt:lpwstr>
  </property>
  <property fmtid="{D5CDD505-2E9C-101B-9397-08002B2CF9AE}" pid="10" name="MSIP_Label_608e5190-04f9-4441-aec9-827407247a1c_ActionId">
    <vt:lpwstr>a204bf9e-1bd6-4aa1-84e3-b2d6d8914922</vt:lpwstr>
  </property>
  <property fmtid="{D5CDD505-2E9C-101B-9397-08002B2CF9AE}" pid="11" name="MSIP_Label_608e5190-04f9-4441-aec9-827407247a1c_ContentBits">
    <vt:lpwstr>2</vt:lpwstr>
  </property>
</Properties>
</file>